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ppt/tags/tag19.xml" ContentType="application/vnd.openxmlformats-officedocument.presentationml.tags+xml"/>
  <Override PartName="/ppt/notesSlides/notesSlide13.xml" ContentType="application/vnd.openxmlformats-officedocument.presentationml.notesSlide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tags/tag21.xml" ContentType="application/vnd.openxmlformats-officedocument.presentationml.tags+xml"/>
  <Override PartName="/ppt/notesSlides/notesSlide15.xml" ContentType="application/vnd.openxmlformats-officedocument.presentationml.notesSlide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tags/tag23.xml" ContentType="application/vnd.openxmlformats-officedocument.presentationml.tags+xml"/>
  <Override PartName="/ppt/notesSlides/notesSlide17.xml" ContentType="application/vnd.openxmlformats-officedocument.presentationml.notesSlide+xml"/>
  <Override PartName="/ppt/tags/tag24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  <p:sldMasterId id="2147484783" r:id="rId5"/>
  </p:sldMasterIdLst>
  <p:notesMasterIdLst>
    <p:notesMasterId r:id="rId26"/>
  </p:notesMasterIdLst>
  <p:handoutMasterIdLst>
    <p:handoutMasterId r:id="rId27"/>
  </p:handoutMasterIdLst>
  <p:sldIdLst>
    <p:sldId id="1743" r:id="rId6"/>
    <p:sldId id="2147469428" r:id="rId7"/>
    <p:sldId id="576" r:id="rId8"/>
    <p:sldId id="2147469330" r:id="rId9"/>
    <p:sldId id="2147469430" r:id="rId10"/>
    <p:sldId id="2147469290" r:id="rId11"/>
    <p:sldId id="2147469414" r:id="rId12"/>
    <p:sldId id="2147469421" r:id="rId13"/>
    <p:sldId id="2147469422" r:id="rId14"/>
    <p:sldId id="2147469431" r:id="rId15"/>
    <p:sldId id="2147469415" r:id="rId16"/>
    <p:sldId id="2147469424" r:id="rId17"/>
    <p:sldId id="2147469425" r:id="rId18"/>
    <p:sldId id="2147469426" r:id="rId19"/>
    <p:sldId id="2147469427" r:id="rId20"/>
    <p:sldId id="2147469432" r:id="rId21"/>
    <p:sldId id="2147469433" r:id="rId22"/>
    <p:sldId id="2147469434" r:id="rId23"/>
    <p:sldId id="1771" r:id="rId24"/>
    <p:sldId id="280" r:id="rId25"/>
  </p:sldIdLst>
  <p:sldSz cx="12188825" cy="6858000"/>
  <p:notesSz cx="6797675" cy="99282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">
          <p15:clr>
            <a:srgbClr val="A4A3A4"/>
          </p15:clr>
        </p15:guide>
        <p15:guide id="2" pos="322">
          <p15:clr>
            <a:srgbClr val="A4A3A4"/>
          </p15:clr>
        </p15:guide>
        <p15:guide id="3" pos="5406">
          <p15:clr>
            <a:srgbClr val="A4A3A4"/>
          </p15:clr>
        </p15:guide>
        <p15:guide id="4" pos="429">
          <p15:clr>
            <a:srgbClr val="A4A3A4"/>
          </p15:clr>
        </p15:guide>
        <p15:guide id="5" pos="720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576023" initials="MvLC" lastIdx="10" clrIdx="0"/>
  <p:cmAuthor id="1" name="Vivienne Schneider" initials="VS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8493"/>
    <a:srgbClr val="788896"/>
    <a:srgbClr val="619428"/>
    <a:srgbClr val="434B25"/>
    <a:srgbClr val="69763A"/>
    <a:srgbClr val="F2F5F7"/>
    <a:srgbClr val="BDE3ED"/>
    <a:srgbClr val="82C8DC"/>
    <a:srgbClr val="13132D"/>
    <a:srgbClr val="F7C2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83297" autoAdjust="0"/>
  </p:normalViewPr>
  <p:slideViewPr>
    <p:cSldViewPr snapToGrid="0">
      <p:cViewPr varScale="1">
        <p:scale>
          <a:sx n="82" d="100"/>
          <a:sy n="82" d="100"/>
        </p:scale>
        <p:origin x="629" y="67"/>
      </p:cViewPr>
      <p:guideLst>
        <p:guide orient="horz" pos="381"/>
        <p:guide pos="322"/>
        <p:guide pos="5406"/>
        <p:guide pos="429"/>
        <p:guide pos="720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taliya Lopanitsyna" userId="42bb5635-5123-4423-b816-78b86e684b0a" providerId="ADAL" clId="{CCCC1552-3D91-4E6C-8243-DE8333D8CDF1}"/>
    <pc:docChg chg="undo custSel addSld delSld modSld">
      <pc:chgData name="Nataliya Lopanitsyna" userId="42bb5635-5123-4423-b816-78b86e684b0a" providerId="ADAL" clId="{CCCC1552-3D91-4E6C-8243-DE8333D8CDF1}" dt="2024-05-16T07:15:38.014" v="33" actId="47"/>
      <pc:docMkLst>
        <pc:docMk/>
      </pc:docMkLst>
      <pc:sldChg chg="modNotesTx">
        <pc:chgData name="Nataliya Lopanitsyna" userId="42bb5635-5123-4423-b816-78b86e684b0a" providerId="ADAL" clId="{CCCC1552-3D91-4E6C-8243-DE8333D8CDF1}" dt="2024-05-16T07:14:51.535" v="16" actId="20577"/>
        <pc:sldMkLst>
          <pc:docMk/>
          <pc:sldMk cId="3741176360" sldId="280"/>
        </pc:sldMkLst>
      </pc:sldChg>
      <pc:sldChg chg="modNotesTx">
        <pc:chgData name="Nataliya Lopanitsyna" userId="42bb5635-5123-4423-b816-78b86e684b0a" providerId="ADAL" clId="{CCCC1552-3D91-4E6C-8243-DE8333D8CDF1}" dt="2024-05-16T07:13:07.068" v="2" actId="20577"/>
        <pc:sldMkLst>
          <pc:docMk/>
          <pc:sldMk cId="3357323915" sldId="576"/>
        </pc:sldMkLst>
      </pc:sldChg>
      <pc:sldChg chg="modNotesTx">
        <pc:chgData name="Nataliya Lopanitsyna" userId="42bb5635-5123-4423-b816-78b86e684b0a" providerId="ADAL" clId="{CCCC1552-3D91-4E6C-8243-DE8333D8CDF1}" dt="2024-05-16T07:12:56.871" v="0" actId="20577"/>
        <pc:sldMkLst>
          <pc:docMk/>
          <pc:sldMk cId="1368891584" sldId="1743"/>
        </pc:sldMkLst>
      </pc:sldChg>
      <pc:sldChg chg="del">
        <pc:chgData name="Nataliya Lopanitsyna" userId="42bb5635-5123-4423-b816-78b86e684b0a" providerId="ADAL" clId="{CCCC1552-3D91-4E6C-8243-DE8333D8CDF1}" dt="2024-05-16T07:15:36.733" v="32" actId="47"/>
        <pc:sldMkLst>
          <pc:docMk/>
          <pc:sldMk cId="2677167527" sldId="1784"/>
        </pc:sldMkLst>
      </pc:sldChg>
      <pc:sldChg chg="del">
        <pc:chgData name="Nataliya Lopanitsyna" userId="42bb5635-5123-4423-b816-78b86e684b0a" providerId="ADAL" clId="{CCCC1552-3D91-4E6C-8243-DE8333D8CDF1}" dt="2024-05-16T07:15:38.014" v="33" actId="47"/>
        <pc:sldMkLst>
          <pc:docMk/>
          <pc:sldMk cId="2133742877" sldId="1785"/>
        </pc:sldMkLst>
      </pc:sldChg>
      <pc:sldChg chg="del">
        <pc:chgData name="Nataliya Lopanitsyna" userId="42bb5635-5123-4423-b816-78b86e684b0a" providerId="ADAL" clId="{CCCC1552-3D91-4E6C-8243-DE8333D8CDF1}" dt="2024-05-16T07:15:16.013" v="24" actId="47"/>
        <pc:sldMkLst>
          <pc:docMk/>
          <pc:sldMk cId="1882739020" sldId="9942"/>
        </pc:sldMkLst>
      </pc:sldChg>
      <pc:sldChg chg="del">
        <pc:chgData name="Nataliya Lopanitsyna" userId="42bb5635-5123-4423-b816-78b86e684b0a" providerId="ADAL" clId="{CCCC1552-3D91-4E6C-8243-DE8333D8CDF1}" dt="2024-05-16T07:15:20.594" v="26" actId="47"/>
        <pc:sldMkLst>
          <pc:docMk/>
          <pc:sldMk cId="92301107" sldId="2147373955"/>
        </pc:sldMkLst>
      </pc:sldChg>
      <pc:sldChg chg="del">
        <pc:chgData name="Nataliya Lopanitsyna" userId="42bb5635-5123-4423-b816-78b86e684b0a" providerId="ADAL" clId="{CCCC1552-3D91-4E6C-8243-DE8333D8CDF1}" dt="2024-05-16T07:15:35.393" v="31" actId="47"/>
        <pc:sldMkLst>
          <pc:docMk/>
          <pc:sldMk cId="388121262" sldId="2147469122"/>
        </pc:sldMkLst>
      </pc:sldChg>
      <pc:sldChg chg="del">
        <pc:chgData name="Nataliya Lopanitsyna" userId="42bb5635-5123-4423-b816-78b86e684b0a" providerId="ADAL" clId="{CCCC1552-3D91-4E6C-8243-DE8333D8CDF1}" dt="2024-05-16T07:15:23.503" v="28" actId="47"/>
        <pc:sldMkLst>
          <pc:docMk/>
          <pc:sldMk cId="1768502346" sldId="2147469144"/>
        </pc:sldMkLst>
      </pc:sldChg>
      <pc:sldChg chg="modNotesTx">
        <pc:chgData name="Nataliya Lopanitsyna" userId="42bb5635-5123-4423-b816-78b86e684b0a" providerId="ADAL" clId="{CCCC1552-3D91-4E6C-8243-DE8333D8CDF1}" dt="2024-05-16T07:13:32.439" v="6" actId="20577"/>
        <pc:sldMkLst>
          <pc:docMk/>
          <pc:sldMk cId="2070263684" sldId="2147469290"/>
        </pc:sldMkLst>
      </pc:sldChg>
      <pc:sldChg chg="del">
        <pc:chgData name="Nataliya Lopanitsyna" userId="42bb5635-5123-4423-b816-78b86e684b0a" providerId="ADAL" clId="{CCCC1552-3D91-4E6C-8243-DE8333D8CDF1}" dt="2024-05-16T07:15:24.806" v="29" actId="47"/>
        <pc:sldMkLst>
          <pc:docMk/>
          <pc:sldMk cId="1501375336" sldId="2147469294"/>
        </pc:sldMkLst>
      </pc:sldChg>
      <pc:sldChg chg="del">
        <pc:chgData name="Nataliya Lopanitsyna" userId="42bb5635-5123-4423-b816-78b86e684b0a" providerId="ADAL" clId="{CCCC1552-3D91-4E6C-8243-DE8333D8CDF1}" dt="2024-05-16T07:14:55.372" v="17" actId="47"/>
        <pc:sldMkLst>
          <pc:docMk/>
          <pc:sldMk cId="3410468128" sldId="2147469299"/>
        </pc:sldMkLst>
      </pc:sldChg>
      <pc:sldChg chg="del">
        <pc:chgData name="Nataliya Lopanitsyna" userId="42bb5635-5123-4423-b816-78b86e684b0a" providerId="ADAL" clId="{CCCC1552-3D91-4E6C-8243-DE8333D8CDF1}" dt="2024-05-16T07:15:11.586" v="22" actId="47"/>
        <pc:sldMkLst>
          <pc:docMk/>
          <pc:sldMk cId="298378440" sldId="2147469325"/>
        </pc:sldMkLst>
      </pc:sldChg>
      <pc:sldChg chg="del">
        <pc:chgData name="Nataliya Lopanitsyna" userId="42bb5635-5123-4423-b816-78b86e684b0a" providerId="ADAL" clId="{CCCC1552-3D91-4E6C-8243-DE8333D8CDF1}" dt="2024-05-16T07:15:32.223" v="30" actId="47"/>
        <pc:sldMkLst>
          <pc:docMk/>
          <pc:sldMk cId="1658106623" sldId="2147469326"/>
        </pc:sldMkLst>
      </pc:sldChg>
      <pc:sldChg chg="delSp mod modNotesTx">
        <pc:chgData name="Nataliya Lopanitsyna" userId="42bb5635-5123-4423-b816-78b86e684b0a" providerId="ADAL" clId="{CCCC1552-3D91-4E6C-8243-DE8333D8CDF1}" dt="2024-05-16T07:13:16.035" v="4" actId="478"/>
        <pc:sldMkLst>
          <pc:docMk/>
          <pc:sldMk cId="2968017461" sldId="2147469330"/>
        </pc:sldMkLst>
        <pc:grpChg chg="del">
          <ac:chgData name="Nataliya Lopanitsyna" userId="42bb5635-5123-4423-b816-78b86e684b0a" providerId="ADAL" clId="{CCCC1552-3D91-4E6C-8243-DE8333D8CDF1}" dt="2024-05-16T07:13:16.035" v="4" actId="478"/>
          <ac:grpSpMkLst>
            <pc:docMk/>
            <pc:sldMk cId="2968017461" sldId="2147469330"/>
            <ac:grpSpMk id="5" creationId="{38FA2F4D-4ADF-E6A6-C3AC-645A9FE3F3FE}"/>
          </ac:grpSpMkLst>
        </pc:grpChg>
      </pc:sldChg>
      <pc:sldChg chg="add del">
        <pc:chgData name="Nataliya Lopanitsyna" userId="42bb5635-5123-4423-b816-78b86e684b0a" providerId="ADAL" clId="{CCCC1552-3D91-4E6C-8243-DE8333D8CDF1}" dt="2024-05-16T07:15:09.913" v="21" actId="47"/>
        <pc:sldMkLst>
          <pc:docMk/>
          <pc:sldMk cId="3663472667" sldId="2147469406"/>
        </pc:sldMkLst>
      </pc:sldChg>
      <pc:sldChg chg="del">
        <pc:chgData name="Nataliya Lopanitsyna" userId="42bb5635-5123-4423-b816-78b86e684b0a" providerId="ADAL" clId="{CCCC1552-3D91-4E6C-8243-DE8333D8CDF1}" dt="2024-05-16T07:15:13.692" v="23" actId="47"/>
        <pc:sldMkLst>
          <pc:docMk/>
          <pc:sldMk cId="2971262485" sldId="2147469407"/>
        </pc:sldMkLst>
      </pc:sldChg>
      <pc:sldChg chg="del">
        <pc:chgData name="Nataliya Lopanitsyna" userId="42bb5635-5123-4423-b816-78b86e684b0a" providerId="ADAL" clId="{CCCC1552-3D91-4E6C-8243-DE8333D8CDF1}" dt="2024-05-16T07:15:22.762" v="27" actId="47"/>
        <pc:sldMkLst>
          <pc:docMk/>
          <pc:sldMk cId="1960035139" sldId="2147469411"/>
        </pc:sldMkLst>
      </pc:sldChg>
      <pc:sldChg chg="modNotesTx">
        <pc:chgData name="Nataliya Lopanitsyna" userId="42bb5635-5123-4423-b816-78b86e684b0a" providerId="ADAL" clId="{CCCC1552-3D91-4E6C-8243-DE8333D8CDF1}" dt="2024-05-16T07:13:38.754" v="7" actId="20577"/>
        <pc:sldMkLst>
          <pc:docMk/>
          <pc:sldMk cId="1784418825" sldId="2147469414"/>
        </pc:sldMkLst>
      </pc:sldChg>
      <pc:sldChg chg="modNotesTx">
        <pc:chgData name="Nataliya Lopanitsyna" userId="42bb5635-5123-4423-b816-78b86e684b0a" providerId="ADAL" clId="{CCCC1552-3D91-4E6C-8243-DE8333D8CDF1}" dt="2024-05-16T07:13:57.333" v="10" actId="20577"/>
        <pc:sldMkLst>
          <pc:docMk/>
          <pc:sldMk cId="1293581887" sldId="2147469415"/>
        </pc:sldMkLst>
      </pc:sldChg>
      <pc:sldChg chg="modNotesTx">
        <pc:chgData name="Nataliya Lopanitsyna" userId="42bb5635-5123-4423-b816-78b86e684b0a" providerId="ADAL" clId="{CCCC1552-3D91-4E6C-8243-DE8333D8CDF1}" dt="2024-05-16T07:13:41.838" v="8" actId="20577"/>
        <pc:sldMkLst>
          <pc:docMk/>
          <pc:sldMk cId="883750315" sldId="2147469421"/>
        </pc:sldMkLst>
      </pc:sldChg>
      <pc:sldChg chg="modNotesTx">
        <pc:chgData name="Nataliya Lopanitsyna" userId="42bb5635-5123-4423-b816-78b86e684b0a" providerId="ADAL" clId="{CCCC1552-3D91-4E6C-8243-DE8333D8CDF1}" dt="2024-05-16T07:13:46.972" v="9" actId="20577"/>
        <pc:sldMkLst>
          <pc:docMk/>
          <pc:sldMk cId="136355478" sldId="2147469422"/>
        </pc:sldMkLst>
      </pc:sldChg>
      <pc:sldChg chg="del">
        <pc:chgData name="Nataliya Lopanitsyna" userId="42bb5635-5123-4423-b816-78b86e684b0a" providerId="ADAL" clId="{CCCC1552-3D91-4E6C-8243-DE8333D8CDF1}" dt="2024-05-16T07:15:18.018" v="25" actId="47"/>
        <pc:sldMkLst>
          <pc:docMk/>
          <pc:sldMk cId="2304314472" sldId="2147469423"/>
        </pc:sldMkLst>
      </pc:sldChg>
      <pc:sldChg chg="modNotesTx">
        <pc:chgData name="Nataliya Lopanitsyna" userId="42bb5635-5123-4423-b816-78b86e684b0a" providerId="ADAL" clId="{CCCC1552-3D91-4E6C-8243-DE8333D8CDF1}" dt="2024-05-16T07:14:07.668" v="11" actId="20577"/>
        <pc:sldMkLst>
          <pc:docMk/>
          <pc:sldMk cId="216358010" sldId="2147469424"/>
        </pc:sldMkLst>
      </pc:sldChg>
      <pc:sldChg chg="modNotesTx">
        <pc:chgData name="Nataliya Lopanitsyna" userId="42bb5635-5123-4423-b816-78b86e684b0a" providerId="ADAL" clId="{CCCC1552-3D91-4E6C-8243-DE8333D8CDF1}" dt="2024-05-16T07:14:16.648" v="12" actId="20577"/>
        <pc:sldMkLst>
          <pc:docMk/>
          <pc:sldMk cId="3658194971" sldId="2147469425"/>
        </pc:sldMkLst>
      </pc:sldChg>
      <pc:sldChg chg="modNotesTx">
        <pc:chgData name="Nataliya Lopanitsyna" userId="42bb5635-5123-4423-b816-78b86e684b0a" providerId="ADAL" clId="{CCCC1552-3D91-4E6C-8243-DE8333D8CDF1}" dt="2024-05-16T07:14:21.828" v="13" actId="20577"/>
        <pc:sldMkLst>
          <pc:docMk/>
          <pc:sldMk cId="3036355279" sldId="2147469426"/>
        </pc:sldMkLst>
      </pc:sldChg>
      <pc:sldChg chg="modNotesTx">
        <pc:chgData name="Nataliya Lopanitsyna" userId="42bb5635-5123-4423-b816-78b86e684b0a" providerId="ADAL" clId="{CCCC1552-3D91-4E6C-8243-DE8333D8CDF1}" dt="2024-05-16T07:13:01.565" v="1" actId="20577"/>
        <pc:sldMkLst>
          <pc:docMk/>
          <pc:sldMk cId="2763539908" sldId="2147469428"/>
        </pc:sldMkLst>
      </pc:sldChg>
      <pc:sldChg chg="del">
        <pc:chgData name="Nataliya Lopanitsyna" userId="42bb5635-5123-4423-b816-78b86e684b0a" providerId="ADAL" clId="{CCCC1552-3D91-4E6C-8243-DE8333D8CDF1}" dt="2024-05-16T07:14:57.076" v="18" actId="47"/>
        <pc:sldMkLst>
          <pc:docMk/>
          <pc:sldMk cId="676750480" sldId="2147469429"/>
        </pc:sldMkLst>
      </pc:sldChg>
      <pc:sldChg chg="modNotesTx">
        <pc:chgData name="Nataliya Lopanitsyna" userId="42bb5635-5123-4423-b816-78b86e684b0a" providerId="ADAL" clId="{CCCC1552-3D91-4E6C-8243-DE8333D8CDF1}" dt="2024-05-16T07:13:20.902" v="5" actId="20577"/>
        <pc:sldMkLst>
          <pc:docMk/>
          <pc:sldMk cId="804444934" sldId="2147469430"/>
        </pc:sldMkLst>
      </pc:sldChg>
      <pc:sldChg chg="modNotesTx">
        <pc:chgData name="Nataliya Lopanitsyna" userId="42bb5635-5123-4423-b816-78b86e684b0a" providerId="ADAL" clId="{CCCC1552-3D91-4E6C-8243-DE8333D8CDF1}" dt="2024-05-16T07:14:36.008" v="14" actId="20577"/>
        <pc:sldMkLst>
          <pc:docMk/>
          <pc:sldMk cId="2753130805" sldId="2147469432"/>
        </pc:sldMkLst>
      </pc:sldChg>
      <pc:sldChg chg="modNotesTx">
        <pc:chgData name="Nataliya Lopanitsyna" userId="42bb5635-5123-4423-b816-78b86e684b0a" providerId="ADAL" clId="{CCCC1552-3D91-4E6C-8243-DE8333D8CDF1}" dt="2024-05-16T07:14:39.618" v="15" actId="20577"/>
        <pc:sldMkLst>
          <pc:docMk/>
          <pc:sldMk cId="543140341" sldId="2147469434"/>
        </pc:sldMkLst>
      </pc:sldChg>
      <pc:sldMasterChg chg="delSldLayout">
        <pc:chgData name="Nataliya Lopanitsyna" userId="42bb5635-5123-4423-b816-78b86e684b0a" providerId="ADAL" clId="{CCCC1552-3D91-4E6C-8243-DE8333D8CDF1}" dt="2024-05-16T07:15:22.762" v="27" actId="47"/>
        <pc:sldMasterMkLst>
          <pc:docMk/>
          <pc:sldMasterMk cId="0" sldId="2147483651"/>
        </pc:sldMasterMkLst>
        <pc:sldLayoutChg chg="del">
          <pc:chgData name="Nataliya Lopanitsyna" userId="42bb5635-5123-4423-b816-78b86e684b0a" providerId="ADAL" clId="{CCCC1552-3D91-4E6C-8243-DE8333D8CDF1}" dt="2024-05-16T07:15:22.762" v="27" actId="47"/>
          <pc:sldLayoutMkLst>
            <pc:docMk/>
            <pc:sldMasterMk cId="0" sldId="2147483651"/>
            <pc:sldLayoutMk cId="3167874791" sldId="2147484790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67B817-2D10-4367-BC23-BCF1CF7328BB}" type="doc">
      <dgm:prSet loTypeId="urn:microsoft.com/office/officeart/2005/8/layout/cycle8" loCatId="cycle" qsTypeId="urn:microsoft.com/office/officeart/2005/8/quickstyle/3d3" qsCatId="3D" csTypeId="urn:microsoft.com/office/officeart/2005/8/colors/colorful1" csCatId="colorful" phldr="1"/>
      <dgm:spPr/>
    </dgm:pt>
    <dgm:pt modelId="{FA41F26B-CBA3-428D-9BDC-B65224C97935}">
      <dgm:prSet phldrT="[Text]"/>
      <dgm:spPr/>
      <dgm:t>
        <a:bodyPr/>
        <a:lstStyle/>
        <a:p>
          <a:r>
            <a: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NALYZE</a:t>
          </a:r>
        </a:p>
      </dgm:t>
    </dgm:pt>
    <dgm:pt modelId="{50D145FA-C3D3-4EA7-93A2-0631693CF8E0}" type="parTrans" cxnId="{E4C30D2C-7B5E-4F1B-8E5F-D8CB779630A0}">
      <dgm:prSet/>
      <dgm:spPr/>
      <dgm:t>
        <a:bodyPr/>
        <a:lstStyle/>
        <a:p>
          <a:endParaRPr lang="en-US"/>
        </a:p>
      </dgm:t>
    </dgm:pt>
    <dgm:pt modelId="{64813AEA-63A5-4CE9-B4D6-C2CA00CAA477}" type="sibTrans" cxnId="{E4C30D2C-7B5E-4F1B-8E5F-D8CB779630A0}">
      <dgm:prSet/>
      <dgm:spPr/>
      <dgm:t>
        <a:bodyPr/>
        <a:lstStyle/>
        <a:p>
          <a:endParaRPr lang="en-US"/>
        </a:p>
      </dgm:t>
    </dgm:pt>
    <dgm:pt modelId="{023C7E0E-34A6-483F-A26A-88C1970F4F05}">
      <dgm:prSet phldrT="[Text]"/>
      <dgm:spPr/>
      <dgm:t>
        <a:bodyPr/>
        <a:lstStyle/>
        <a:p>
          <a:r>
            <a: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ESIGN</a:t>
          </a:r>
        </a:p>
      </dgm:t>
    </dgm:pt>
    <dgm:pt modelId="{E4ED3981-7538-442C-A9B7-3283C5702976}" type="parTrans" cxnId="{EC8461ED-A3A2-482D-AA81-EAE792E7A0ED}">
      <dgm:prSet/>
      <dgm:spPr/>
      <dgm:t>
        <a:bodyPr/>
        <a:lstStyle/>
        <a:p>
          <a:endParaRPr lang="en-US"/>
        </a:p>
      </dgm:t>
    </dgm:pt>
    <dgm:pt modelId="{2650C3F0-EDEC-4703-9E6B-4596B5A6014A}" type="sibTrans" cxnId="{EC8461ED-A3A2-482D-AA81-EAE792E7A0ED}">
      <dgm:prSet/>
      <dgm:spPr/>
      <dgm:t>
        <a:bodyPr/>
        <a:lstStyle/>
        <a:p>
          <a:endParaRPr lang="en-US"/>
        </a:p>
      </dgm:t>
    </dgm:pt>
    <dgm:pt modelId="{33DDE924-FFBA-4094-B270-C1929C3D1181}">
      <dgm:prSet phldrT="[Text]"/>
      <dgm:spPr/>
      <dgm:t>
        <a:bodyPr/>
        <a:lstStyle/>
        <a:p>
          <a:r>
            <a: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EST</a:t>
          </a:r>
        </a:p>
      </dgm:t>
    </dgm:pt>
    <dgm:pt modelId="{7FB3FD17-5AD3-47D6-B852-41A53C04AED5}" type="parTrans" cxnId="{4ED79B05-AFCD-4977-A847-40E41D56EA0C}">
      <dgm:prSet/>
      <dgm:spPr/>
      <dgm:t>
        <a:bodyPr/>
        <a:lstStyle/>
        <a:p>
          <a:endParaRPr lang="en-US"/>
        </a:p>
      </dgm:t>
    </dgm:pt>
    <dgm:pt modelId="{8E209BE3-1CC7-4EE0-AA6B-32A4BC033337}" type="sibTrans" cxnId="{4ED79B05-AFCD-4977-A847-40E41D56EA0C}">
      <dgm:prSet/>
      <dgm:spPr/>
      <dgm:t>
        <a:bodyPr/>
        <a:lstStyle/>
        <a:p>
          <a:endParaRPr lang="en-US"/>
        </a:p>
      </dgm:t>
    </dgm:pt>
    <dgm:pt modelId="{270868CB-905E-4830-8E43-476D99350E49}">
      <dgm:prSet phldrT="[Text]"/>
      <dgm:spPr/>
      <dgm:t>
        <a:bodyPr/>
        <a:lstStyle/>
        <a:p>
          <a:r>
            <a: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YNTHESIZE</a:t>
          </a:r>
        </a:p>
      </dgm:t>
    </dgm:pt>
    <dgm:pt modelId="{8519D9D6-8C2D-4A7B-9185-DE84E3880F17}" type="sibTrans" cxnId="{18A57211-C531-4C80-8264-947F5D6D9951}">
      <dgm:prSet/>
      <dgm:spPr/>
      <dgm:t>
        <a:bodyPr/>
        <a:lstStyle/>
        <a:p>
          <a:endParaRPr lang="en-US"/>
        </a:p>
      </dgm:t>
    </dgm:pt>
    <dgm:pt modelId="{53185893-7CC0-4A5D-A884-17B329E7B059}" type="parTrans" cxnId="{18A57211-C531-4C80-8264-947F5D6D9951}">
      <dgm:prSet/>
      <dgm:spPr/>
      <dgm:t>
        <a:bodyPr/>
        <a:lstStyle/>
        <a:p>
          <a:endParaRPr lang="en-US"/>
        </a:p>
      </dgm:t>
    </dgm:pt>
    <dgm:pt modelId="{90E65A77-68F5-4CAB-BC0E-5E039796AD5A}" type="pres">
      <dgm:prSet presAssocID="{5067B817-2D10-4367-BC23-BCF1CF7328BB}" presName="compositeShape" presStyleCnt="0">
        <dgm:presLayoutVars>
          <dgm:chMax val="7"/>
          <dgm:dir/>
          <dgm:resizeHandles val="exact"/>
        </dgm:presLayoutVars>
      </dgm:prSet>
      <dgm:spPr/>
    </dgm:pt>
    <dgm:pt modelId="{F33430FB-9198-4FA6-831D-E73C79F3D21B}" type="pres">
      <dgm:prSet presAssocID="{5067B817-2D10-4367-BC23-BCF1CF7328BB}" presName="wedge1" presStyleLbl="node1" presStyleIdx="0" presStyleCnt="4"/>
      <dgm:spPr/>
    </dgm:pt>
    <dgm:pt modelId="{09AFBFF6-8CB6-4FCC-A408-2412C08DB6D8}" type="pres">
      <dgm:prSet presAssocID="{5067B817-2D10-4367-BC23-BCF1CF7328BB}" presName="dummy1a" presStyleCnt="0"/>
      <dgm:spPr/>
    </dgm:pt>
    <dgm:pt modelId="{8B7AA48E-4160-4500-A208-9C9841B0E928}" type="pres">
      <dgm:prSet presAssocID="{5067B817-2D10-4367-BC23-BCF1CF7328BB}" presName="dummy1b" presStyleCnt="0"/>
      <dgm:spPr/>
    </dgm:pt>
    <dgm:pt modelId="{95F3FBA8-BD43-4491-8F65-BDFBB37A558C}" type="pres">
      <dgm:prSet presAssocID="{5067B817-2D10-4367-BC23-BCF1CF7328BB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E14087F2-705E-4ABB-AC58-B726136E0F08}" type="pres">
      <dgm:prSet presAssocID="{5067B817-2D10-4367-BC23-BCF1CF7328BB}" presName="wedge2" presStyleLbl="node1" presStyleIdx="1" presStyleCnt="4"/>
      <dgm:spPr/>
    </dgm:pt>
    <dgm:pt modelId="{555674FC-518C-4F39-BAD4-28D082457CBB}" type="pres">
      <dgm:prSet presAssocID="{5067B817-2D10-4367-BC23-BCF1CF7328BB}" presName="dummy2a" presStyleCnt="0"/>
      <dgm:spPr/>
    </dgm:pt>
    <dgm:pt modelId="{E024FAEB-D121-466D-980D-417BDEE70865}" type="pres">
      <dgm:prSet presAssocID="{5067B817-2D10-4367-BC23-BCF1CF7328BB}" presName="dummy2b" presStyleCnt="0"/>
      <dgm:spPr/>
    </dgm:pt>
    <dgm:pt modelId="{8CC4CFE8-F296-4C4F-826D-EFD21AD8D184}" type="pres">
      <dgm:prSet presAssocID="{5067B817-2D10-4367-BC23-BCF1CF7328BB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18091B24-72D3-41A3-B5F7-FAD569070A5B}" type="pres">
      <dgm:prSet presAssocID="{5067B817-2D10-4367-BC23-BCF1CF7328BB}" presName="wedge3" presStyleLbl="node1" presStyleIdx="2" presStyleCnt="4"/>
      <dgm:spPr/>
    </dgm:pt>
    <dgm:pt modelId="{82832C45-B030-41A7-8DA0-402A2625636A}" type="pres">
      <dgm:prSet presAssocID="{5067B817-2D10-4367-BC23-BCF1CF7328BB}" presName="dummy3a" presStyleCnt="0"/>
      <dgm:spPr/>
    </dgm:pt>
    <dgm:pt modelId="{CF86A848-0E68-4263-9C67-C1F4215482D6}" type="pres">
      <dgm:prSet presAssocID="{5067B817-2D10-4367-BC23-BCF1CF7328BB}" presName="dummy3b" presStyleCnt="0"/>
      <dgm:spPr/>
    </dgm:pt>
    <dgm:pt modelId="{247701B7-C80C-4294-A3B8-EACD8D20BD54}" type="pres">
      <dgm:prSet presAssocID="{5067B817-2D10-4367-BC23-BCF1CF7328BB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C41D644E-468D-4826-ABB5-5A1D7C7E7972}" type="pres">
      <dgm:prSet presAssocID="{5067B817-2D10-4367-BC23-BCF1CF7328BB}" presName="wedge4" presStyleLbl="node1" presStyleIdx="3" presStyleCnt="4"/>
      <dgm:spPr/>
    </dgm:pt>
    <dgm:pt modelId="{7CB8881E-CE95-4888-A71D-EC1EFA71DAED}" type="pres">
      <dgm:prSet presAssocID="{5067B817-2D10-4367-BC23-BCF1CF7328BB}" presName="dummy4a" presStyleCnt="0"/>
      <dgm:spPr/>
    </dgm:pt>
    <dgm:pt modelId="{09EE10C0-247B-49CA-BB04-264BE2A55D3D}" type="pres">
      <dgm:prSet presAssocID="{5067B817-2D10-4367-BC23-BCF1CF7328BB}" presName="dummy4b" presStyleCnt="0"/>
      <dgm:spPr/>
    </dgm:pt>
    <dgm:pt modelId="{B645DD29-D882-43EC-B26B-BD91C41B550A}" type="pres">
      <dgm:prSet presAssocID="{5067B817-2D10-4367-BC23-BCF1CF7328BB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8E2A7E2A-29EB-4DA2-98F0-2BDDC6F38419}" type="pres">
      <dgm:prSet presAssocID="{8519D9D6-8C2D-4A7B-9185-DE84E3880F17}" presName="arrowWedge1" presStyleLbl="fgSibTrans2D1" presStyleIdx="0" presStyleCnt="4"/>
      <dgm:spPr/>
    </dgm:pt>
    <dgm:pt modelId="{2BA6A444-FA90-466C-BD72-6E54A64DB9CC}" type="pres">
      <dgm:prSet presAssocID="{8E209BE3-1CC7-4EE0-AA6B-32A4BC033337}" presName="arrowWedge2" presStyleLbl="fgSibTrans2D1" presStyleIdx="1" presStyleCnt="4"/>
      <dgm:spPr/>
    </dgm:pt>
    <dgm:pt modelId="{86DB3036-DE99-43D1-8AA3-2B4E0393851D}" type="pres">
      <dgm:prSet presAssocID="{64813AEA-63A5-4CE9-B4D6-C2CA00CAA477}" presName="arrowWedge3" presStyleLbl="fgSibTrans2D1" presStyleIdx="2" presStyleCnt="4"/>
      <dgm:spPr/>
    </dgm:pt>
    <dgm:pt modelId="{D751F51D-3A9C-4CC9-B19C-60EAE16E84C8}" type="pres">
      <dgm:prSet presAssocID="{2650C3F0-EDEC-4703-9E6B-4596B5A6014A}" presName="arrowWedge4" presStyleLbl="fgSibTrans2D1" presStyleIdx="3" presStyleCnt="4"/>
      <dgm:spPr/>
    </dgm:pt>
  </dgm:ptLst>
  <dgm:cxnLst>
    <dgm:cxn modelId="{B19E9202-8321-45D2-B524-F6A7449A9A5F}" type="presOf" srcId="{33DDE924-FFBA-4094-B270-C1929C3D1181}" destId="{E14087F2-705E-4ABB-AC58-B726136E0F08}" srcOrd="0" destOrd="0" presId="urn:microsoft.com/office/officeart/2005/8/layout/cycle8"/>
    <dgm:cxn modelId="{4ED79B05-AFCD-4977-A847-40E41D56EA0C}" srcId="{5067B817-2D10-4367-BC23-BCF1CF7328BB}" destId="{33DDE924-FFBA-4094-B270-C1929C3D1181}" srcOrd="1" destOrd="0" parTransId="{7FB3FD17-5AD3-47D6-B852-41A53C04AED5}" sibTransId="{8E209BE3-1CC7-4EE0-AA6B-32A4BC033337}"/>
    <dgm:cxn modelId="{18A57211-C531-4C80-8264-947F5D6D9951}" srcId="{5067B817-2D10-4367-BC23-BCF1CF7328BB}" destId="{270868CB-905E-4830-8E43-476D99350E49}" srcOrd="0" destOrd="0" parTransId="{53185893-7CC0-4A5D-A884-17B329E7B059}" sibTransId="{8519D9D6-8C2D-4A7B-9185-DE84E3880F17}"/>
    <dgm:cxn modelId="{6784DC21-8901-4C22-AFEF-E0FE3345A540}" type="presOf" srcId="{5067B817-2D10-4367-BC23-BCF1CF7328BB}" destId="{90E65A77-68F5-4CAB-BC0E-5E039796AD5A}" srcOrd="0" destOrd="0" presId="urn:microsoft.com/office/officeart/2005/8/layout/cycle8"/>
    <dgm:cxn modelId="{E4C30D2C-7B5E-4F1B-8E5F-D8CB779630A0}" srcId="{5067B817-2D10-4367-BC23-BCF1CF7328BB}" destId="{FA41F26B-CBA3-428D-9BDC-B65224C97935}" srcOrd="2" destOrd="0" parTransId="{50D145FA-C3D3-4EA7-93A2-0631693CF8E0}" sibTransId="{64813AEA-63A5-4CE9-B4D6-C2CA00CAA477}"/>
    <dgm:cxn modelId="{969DF938-1D6D-460A-9432-AD2FB7464C18}" type="presOf" srcId="{023C7E0E-34A6-483F-A26A-88C1970F4F05}" destId="{C41D644E-468D-4826-ABB5-5A1D7C7E7972}" srcOrd="0" destOrd="0" presId="urn:microsoft.com/office/officeart/2005/8/layout/cycle8"/>
    <dgm:cxn modelId="{62E7363C-A151-4C88-AC93-F5526CB65079}" type="presOf" srcId="{FA41F26B-CBA3-428D-9BDC-B65224C97935}" destId="{18091B24-72D3-41A3-B5F7-FAD569070A5B}" srcOrd="0" destOrd="0" presId="urn:microsoft.com/office/officeart/2005/8/layout/cycle8"/>
    <dgm:cxn modelId="{A8EFBD58-1065-4963-A277-8F9367FCDB54}" type="presOf" srcId="{270868CB-905E-4830-8E43-476D99350E49}" destId="{95F3FBA8-BD43-4491-8F65-BDFBB37A558C}" srcOrd="1" destOrd="0" presId="urn:microsoft.com/office/officeart/2005/8/layout/cycle8"/>
    <dgm:cxn modelId="{AC3E0D84-9541-4D62-A50C-529ACFCB435A}" type="presOf" srcId="{33DDE924-FFBA-4094-B270-C1929C3D1181}" destId="{8CC4CFE8-F296-4C4F-826D-EFD21AD8D184}" srcOrd="1" destOrd="0" presId="urn:microsoft.com/office/officeart/2005/8/layout/cycle8"/>
    <dgm:cxn modelId="{86F5D997-08BA-48F9-9A27-CD92473E8486}" type="presOf" srcId="{023C7E0E-34A6-483F-A26A-88C1970F4F05}" destId="{B645DD29-D882-43EC-B26B-BD91C41B550A}" srcOrd="1" destOrd="0" presId="urn:microsoft.com/office/officeart/2005/8/layout/cycle8"/>
    <dgm:cxn modelId="{C9509CB8-1D9A-4A69-8D53-132E4F9FA169}" type="presOf" srcId="{270868CB-905E-4830-8E43-476D99350E49}" destId="{F33430FB-9198-4FA6-831D-E73C79F3D21B}" srcOrd="0" destOrd="0" presId="urn:microsoft.com/office/officeart/2005/8/layout/cycle8"/>
    <dgm:cxn modelId="{EC8461ED-A3A2-482D-AA81-EAE792E7A0ED}" srcId="{5067B817-2D10-4367-BC23-BCF1CF7328BB}" destId="{023C7E0E-34A6-483F-A26A-88C1970F4F05}" srcOrd="3" destOrd="0" parTransId="{E4ED3981-7538-442C-A9B7-3283C5702976}" sibTransId="{2650C3F0-EDEC-4703-9E6B-4596B5A6014A}"/>
    <dgm:cxn modelId="{249CB3F7-C4D8-4743-887A-9941329EA0AA}" type="presOf" srcId="{FA41F26B-CBA3-428D-9BDC-B65224C97935}" destId="{247701B7-C80C-4294-A3B8-EACD8D20BD54}" srcOrd="1" destOrd="0" presId="urn:microsoft.com/office/officeart/2005/8/layout/cycle8"/>
    <dgm:cxn modelId="{C14C4A58-CC19-45BA-BB11-8FB62D7EB1F0}" type="presParOf" srcId="{90E65A77-68F5-4CAB-BC0E-5E039796AD5A}" destId="{F33430FB-9198-4FA6-831D-E73C79F3D21B}" srcOrd="0" destOrd="0" presId="urn:microsoft.com/office/officeart/2005/8/layout/cycle8"/>
    <dgm:cxn modelId="{2C15DE74-8950-44F0-8268-58AE5813DCA7}" type="presParOf" srcId="{90E65A77-68F5-4CAB-BC0E-5E039796AD5A}" destId="{09AFBFF6-8CB6-4FCC-A408-2412C08DB6D8}" srcOrd="1" destOrd="0" presId="urn:microsoft.com/office/officeart/2005/8/layout/cycle8"/>
    <dgm:cxn modelId="{A6BF4CAE-3F5D-47E9-8455-D7C66379D9BA}" type="presParOf" srcId="{90E65A77-68F5-4CAB-BC0E-5E039796AD5A}" destId="{8B7AA48E-4160-4500-A208-9C9841B0E928}" srcOrd="2" destOrd="0" presId="urn:microsoft.com/office/officeart/2005/8/layout/cycle8"/>
    <dgm:cxn modelId="{5010D703-4156-429F-A81F-DB3A1A3BC37A}" type="presParOf" srcId="{90E65A77-68F5-4CAB-BC0E-5E039796AD5A}" destId="{95F3FBA8-BD43-4491-8F65-BDFBB37A558C}" srcOrd="3" destOrd="0" presId="urn:microsoft.com/office/officeart/2005/8/layout/cycle8"/>
    <dgm:cxn modelId="{CF9AC216-FCAD-49D6-B0DA-3EEA98BEE5AA}" type="presParOf" srcId="{90E65A77-68F5-4CAB-BC0E-5E039796AD5A}" destId="{E14087F2-705E-4ABB-AC58-B726136E0F08}" srcOrd="4" destOrd="0" presId="urn:microsoft.com/office/officeart/2005/8/layout/cycle8"/>
    <dgm:cxn modelId="{BAACAB69-6CA7-469A-80CB-A7D1B349F444}" type="presParOf" srcId="{90E65A77-68F5-4CAB-BC0E-5E039796AD5A}" destId="{555674FC-518C-4F39-BAD4-28D082457CBB}" srcOrd="5" destOrd="0" presId="urn:microsoft.com/office/officeart/2005/8/layout/cycle8"/>
    <dgm:cxn modelId="{0C7E07FF-9D7E-4264-9D3C-566F16E33777}" type="presParOf" srcId="{90E65A77-68F5-4CAB-BC0E-5E039796AD5A}" destId="{E024FAEB-D121-466D-980D-417BDEE70865}" srcOrd="6" destOrd="0" presId="urn:microsoft.com/office/officeart/2005/8/layout/cycle8"/>
    <dgm:cxn modelId="{F1EC1AC4-3F0B-4517-B73A-C0A89CC5ABBB}" type="presParOf" srcId="{90E65A77-68F5-4CAB-BC0E-5E039796AD5A}" destId="{8CC4CFE8-F296-4C4F-826D-EFD21AD8D184}" srcOrd="7" destOrd="0" presId="urn:microsoft.com/office/officeart/2005/8/layout/cycle8"/>
    <dgm:cxn modelId="{E7B40667-383D-4CCB-93CA-F3E7BB4BB6FC}" type="presParOf" srcId="{90E65A77-68F5-4CAB-BC0E-5E039796AD5A}" destId="{18091B24-72D3-41A3-B5F7-FAD569070A5B}" srcOrd="8" destOrd="0" presId="urn:microsoft.com/office/officeart/2005/8/layout/cycle8"/>
    <dgm:cxn modelId="{6EFFA17E-D7EC-43E8-BC29-BC70A8FB2112}" type="presParOf" srcId="{90E65A77-68F5-4CAB-BC0E-5E039796AD5A}" destId="{82832C45-B030-41A7-8DA0-402A2625636A}" srcOrd="9" destOrd="0" presId="urn:microsoft.com/office/officeart/2005/8/layout/cycle8"/>
    <dgm:cxn modelId="{BAB7776E-DC4E-489E-B2EB-9F979C0D264A}" type="presParOf" srcId="{90E65A77-68F5-4CAB-BC0E-5E039796AD5A}" destId="{CF86A848-0E68-4263-9C67-C1F4215482D6}" srcOrd="10" destOrd="0" presId="urn:microsoft.com/office/officeart/2005/8/layout/cycle8"/>
    <dgm:cxn modelId="{B8C9AC29-942E-4CCB-BF43-FDB1E64164EC}" type="presParOf" srcId="{90E65A77-68F5-4CAB-BC0E-5E039796AD5A}" destId="{247701B7-C80C-4294-A3B8-EACD8D20BD54}" srcOrd="11" destOrd="0" presId="urn:microsoft.com/office/officeart/2005/8/layout/cycle8"/>
    <dgm:cxn modelId="{F008CDEF-D826-46C1-A97B-2582CF1FF087}" type="presParOf" srcId="{90E65A77-68F5-4CAB-BC0E-5E039796AD5A}" destId="{C41D644E-468D-4826-ABB5-5A1D7C7E7972}" srcOrd="12" destOrd="0" presId="urn:microsoft.com/office/officeart/2005/8/layout/cycle8"/>
    <dgm:cxn modelId="{6740733E-18E0-488E-BA66-68A08EBE5EAA}" type="presParOf" srcId="{90E65A77-68F5-4CAB-BC0E-5E039796AD5A}" destId="{7CB8881E-CE95-4888-A71D-EC1EFA71DAED}" srcOrd="13" destOrd="0" presId="urn:microsoft.com/office/officeart/2005/8/layout/cycle8"/>
    <dgm:cxn modelId="{F95E399F-9545-45CA-B55D-BD800D457170}" type="presParOf" srcId="{90E65A77-68F5-4CAB-BC0E-5E039796AD5A}" destId="{09EE10C0-247B-49CA-BB04-264BE2A55D3D}" srcOrd="14" destOrd="0" presId="urn:microsoft.com/office/officeart/2005/8/layout/cycle8"/>
    <dgm:cxn modelId="{701EA82C-E8B4-4C7D-937A-592CCA4AED44}" type="presParOf" srcId="{90E65A77-68F5-4CAB-BC0E-5E039796AD5A}" destId="{B645DD29-D882-43EC-B26B-BD91C41B550A}" srcOrd="15" destOrd="0" presId="urn:microsoft.com/office/officeart/2005/8/layout/cycle8"/>
    <dgm:cxn modelId="{6A6B24CE-77F8-41D5-ACE8-A4F59BD0A13F}" type="presParOf" srcId="{90E65A77-68F5-4CAB-BC0E-5E039796AD5A}" destId="{8E2A7E2A-29EB-4DA2-98F0-2BDDC6F38419}" srcOrd="16" destOrd="0" presId="urn:microsoft.com/office/officeart/2005/8/layout/cycle8"/>
    <dgm:cxn modelId="{A3354CDC-2B4A-410C-B5D4-557BE74F9212}" type="presParOf" srcId="{90E65A77-68F5-4CAB-BC0E-5E039796AD5A}" destId="{2BA6A444-FA90-466C-BD72-6E54A64DB9CC}" srcOrd="17" destOrd="0" presId="urn:microsoft.com/office/officeart/2005/8/layout/cycle8"/>
    <dgm:cxn modelId="{E82CE535-1BAA-4382-ADC0-B1FB56B8F6F9}" type="presParOf" srcId="{90E65A77-68F5-4CAB-BC0E-5E039796AD5A}" destId="{86DB3036-DE99-43D1-8AA3-2B4E0393851D}" srcOrd="18" destOrd="0" presId="urn:microsoft.com/office/officeart/2005/8/layout/cycle8"/>
    <dgm:cxn modelId="{8EF54747-EC3B-4854-9AB2-2B890E044446}" type="presParOf" srcId="{90E65A77-68F5-4CAB-BC0E-5E039796AD5A}" destId="{D751F51D-3A9C-4CC9-B19C-60EAE16E84C8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41695B6-2BDD-4454-A895-1AB27F86EDCD}" type="doc">
      <dgm:prSet loTypeId="urn:microsoft.com/office/officeart/2011/layout/Tab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E10E2548-4B58-46BD-B404-720298E2FB9F}">
      <dgm:prSet phldrT="[Text]"/>
      <dgm:spPr/>
      <dgm:t>
        <a:bodyPr/>
        <a:lstStyle/>
        <a:p>
          <a:r>
            <a:rPr lang="en-US" dirty="0"/>
            <a:t>Business</a:t>
          </a:r>
        </a:p>
      </dgm:t>
    </dgm:pt>
    <dgm:pt modelId="{CBA178BE-DF60-4D1B-A935-9216B04CB5AD}" type="parTrans" cxnId="{67330A7A-206E-47DA-B20D-7FE9E784742C}">
      <dgm:prSet/>
      <dgm:spPr/>
      <dgm:t>
        <a:bodyPr/>
        <a:lstStyle/>
        <a:p>
          <a:endParaRPr lang="en-US"/>
        </a:p>
      </dgm:t>
    </dgm:pt>
    <dgm:pt modelId="{617FC7BB-E8F5-4D02-9820-3D7AFF79FD41}" type="sibTrans" cxnId="{67330A7A-206E-47DA-B20D-7FE9E784742C}">
      <dgm:prSet/>
      <dgm:spPr/>
      <dgm:t>
        <a:bodyPr/>
        <a:lstStyle/>
        <a:p>
          <a:endParaRPr lang="en-US"/>
        </a:p>
      </dgm:t>
    </dgm:pt>
    <dgm:pt modelId="{3051F06B-65BE-4237-8A54-616F500623F9}">
      <dgm:prSet phldrT="[Text]"/>
      <dgm:spPr/>
      <dgm:t>
        <a:bodyPr/>
        <a:lstStyle/>
        <a:p>
          <a:r>
            <a:rPr lang="en-US" dirty="0"/>
            <a:t>Target</a:t>
          </a:r>
        </a:p>
      </dgm:t>
    </dgm:pt>
    <dgm:pt modelId="{C8AB9627-6D3F-4702-9671-39DDC6B78C12}" type="parTrans" cxnId="{026B1484-1FDF-4948-BC85-78F390A8657D}">
      <dgm:prSet/>
      <dgm:spPr/>
      <dgm:t>
        <a:bodyPr/>
        <a:lstStyle/>
        <a:p>
          <a:endParaRPr lang="en-US"/>
        </a:p>
      </dgm:t>
    </dgm:pt>
    <dgm:pt modelId="{6EAD304C-C6C6-44D7-90A4-89B38CEBD122}" type="sibTrans" cxnId="{026B1484-1FDF-4948-BC85-78F390A8657D}">
      <dgm:prSet/>
      <dgm:spPr/>
      <dgm:t>
        <a:bodyPr/>
        <a:lstStyle/>
        <a:p>
          <a:endParaRPr lang="en-US"/>
        </a:p>
      </dgm:t>
    </dgm:pt>
    <dgm:pt modelId="{D1F4D608-A3DB-44F7-86D1-52B77D8A8A83}">
      <dgm:prSet phldrT="[Text]"/>
      <dgm:spPr/>
      <dgm:t>
        <a:bodyPr/>
        <a:lstStyle/>
        <a:p>
          <a:r>
            <a:rPr lang="en-US" dirty="0"/>
            <a:t>Operative</a:t>
          </a:r>
        </a:p>
      </dgm:t>
    </dgm:pt>
    <dgm:pt modelId="{753F7AE8-4C10-4C6D-9039-A96812B6A8B7}" type="parTrans" cxnId="{F32AF6CA-3C2A-4938-8AE2-841C52D740FD}">
      <dgm:prSet/>
      <dgm:spPr/>
      <dgm:t>
        <a:bodyPr/>
        <a:lstStyle/>
        <a:p>
          <a:endParaRPr lang="en-US"/>
        </a:p>
      </dgm:t>
    </dgm:pt>
    <dgm:pt modelId="{42A8EC87-C60B-4F9D-85FE-2B093B8E1F2B}" type="sibTrans" cxnId="{F32AF6CA-3C2A-4938-8AE2-841C52D740FD}">
      <dgm:prSet/>
      <dgm:spPr/>
      <dgm:t>
        <a:bodyPr/>
        <a:lstStyle/>
        <a:p>
          <a:endParaRPr lang="en-US"/>
        </a:p>
      </dgm:t>
    </dgm:pt>
    <dgm:pt modelId="{A0CE24A9-3A00-4A5D-9A6C-1CD393E529E2}">
      <dgm:prSet phldrT="[Text]"/>
      <dgm:spPr/>
      <dgm:t>
        <a:bodyPr/>
        <a:lstStyle/>
        <a:p>
          <a:r>
            <a:rPr lang="en-US" dirty="0"/>
            <a:t>Who? When? Where?</a:t>
          </a:r>
        </a:p>
      </dgm:t>
    </dgm:pt>
    <dgm:pt modelId="{234F2969-3FCF-4339-9903-03A15418E58E}" type="parTrans" cxnId="{5BA31D97-E77E-4B9F-8CC1-BC07A9A99969}">
      <dgm:prSet/>
      <dgm:spPr/>
      <dgm:t>
        <a:bodyPr/>
        <a:lstStyle/>
        <a:p>
          <a:endParaRPr lang="en-US"/>
        </a:p>
      </dgm:t>
    </dgm:pt>
    <dgm:pt modelId="{E47DE167-51A6-4203-AF24-018A26B5E8D8}" type="sibTrans" cxnId="{5BA31D97-E77E-4B9F-8CC1-BC07A9A99969}">
      <dgm:prSet/>
      <dgm:spPr/>
      <dgm:t>
        <a:bodyPr/>
        <a:lstStyle/>
        <a:p>
          <a:endParaRPr lang="en-US"/>
        </a:p>
      </dgm:t>
    </dgm:pt>
    <dgm:pt modelId="{B410444F-2221-4151-B878-33A4C99ABE32}">
      <dgm:prSet phldrT="[Text]"/>
      <dgm:spPr/>
      <dgm:t>
        <a:bodyPr/>
        <a:lstStyle/>
        <a:p>
          <a:r>
            <a:rPr lang="en-US" dirty="0"/>
            <a:t>Scientific</a:t>
          </a:r>
        </a:p>
      </dgm:t>
    </dgm:pt>
    <dgm:pt modelId="{C905B7C5-044A-420C-81EC-42AB728D92CA}" type="parTrans" cxnId="{ECC352E1-02B6-4FF7-9683-AD109FBD7899}">
      <dgm:prSet/>
      <dgm:spPr/>
      <dgm:t>
        <a:bodyPr/>
        <a:lstStyle/>
        <a:p>
          <a:endParaRPr lang="en-US"/>
        </a:p>
      </dgm:t>
    </dgm:pt>
    <dgm:pt modelId="{71852F0D-58D9-4BBC-A402-D7EF50BB2B3B}" type="sibTrans" cxnId="{ECC352E1-02B6-4FF7-9683-AD109FBD7899}">
      <dgm:prSet/>
      <dgm:spPr/>
      <dgm:t>
        <a:bodyPr/>
        <a:lstStyle/>
        <a:p>
          <a:endParaRPr lang="en-US"/>
        </a:p>
      </dgm:t>
    </dgm:pt>
    <dgm:pt modelId="{FA3A2667-9242-4C73-AAE9-E820E1B8B5D1}">
      <dgm:prSet phldrT="[Text]"/>
      <dgm:spPr/>
      <dgm:t>
        <a:bodyPr/>
        <a:lstStyle/>
        <a:p>
          <a:r>
            <a:rPr lang="en-US" dirty="0"/>
            <a:t>What? How?</a:t>
          </a:r>
        </a:p>
      </dgm:t>
    </dgm:pt>
    <dgm:pt modelId="{2AE22BF8-ABC2-4789-B5A5-50634D18898B}" type="parTrans" cxnId="{5C6B9F06-2F0A-45AD-BC50-C551E0DABDD8}">
      <dgm:prSet/>
      <dgm:spPr/>
      <dgm:t>
        <a:bodyPr/>
        <a:lstStyle/>
        <a:p>
          <a:endParaRPr lang="en-US"/>
        </a:p>
      </dgm:t>
    </dgm:pt>
    <dgm:pt modelId="{F50B2C13-45AD-48AE-AA3A-4BF47A815D98}" type="sibTrans" cxnId="{5C6B9F06-2F0A-45AD-BC50-C551E0DABDD8}">
      <dgm:prSet/>
      <dgm:spPr/>
      <dgm:t>
        <a:bodyPr/>
        <a:lstStyle/>
        <a:p>
          <a:endParaRPr lang="en-US"/>
        </a:p>
      </dgm:t>
    </dgm:pt>
    <dgm:pt modelId="{3689A41D-4433-49D4-AD22-D5F56B5D9124}">
      <dgm:prSet phldrT="[Text]"/>
      <dgm:spPr/>
      <dgm:t>
        <a:bodyPr/>
        <a:lstStyle/>
        <a:p>
          <a:r>
            <a:rPr lang="en-US" dirty="0"/>
            <a:t>Reactants&gt;Reagents&gt; Products</a:t>
          </a:r>
        </a:p>
      </dgm:t>
    </dgm:pt>
    <dgm:pt modelId="{6A5B9CE2-2420-4CA6-8FD7-FFEC771B44E5}" type="parTrans" cxnId="{A17F2CB4-30EB-4D8F-915F-72B841AE2768}">
      <dgm:prSet/>
      <dgm:spPr/>
      <dgm:t>
        <a:bodyPr/>
        <a:lstStyle/>
        <a:p>
          <a:endParaRPr lang="en-US"/>
        </a:p>
      </dgm:t>
    </dgm:pt>
    <dgm:pt modelId="{6A19C11C-995D-46E4-A21D-4F9CCA20E5A7}" type="sibTrans" cxnId="{A17F2CB4-30EB-4D8F-915F-72B841AE2768}">
      <dgm:prSet/>
      <dgm:spPr/>
      <dgm:t>
        <a:bodyPr/>
        <a:lstStyle/>
        <a:p>
          <a:endParaRPr lang="en-US"/>
        </a:p>
      </dgm:t>
    </dgm:pt>
    <dgm:pt modelId="{F41B2CE9-9111-445D-BA9F-ECB2115F95F8}">
      <dgm:prSet phldrT="[Text]"/>
      <dgm:spPr/>
      <dgm:t>
        <a:bodyPr/>
        <a:lstStyle/>
        <a:p>
          <a:r>
            <a:rPr lang="en-US" dirty="0"/>
            <a:t>Timestamp/location</a:t>
          </a:r>
        </a:p>
      </dgm:t>
    </dgm:pt>
    <dgm:pt modelId="{49CFEE24-9AE4-487E-9898-1CEB4E17A15C}" type="parTrans" cxnId="{06E8EAC8-9B9F-4829-BAA7-B72A44BD1673}">
      <dgm:prSet/>
      <dgm:spPr/>
      <dgm:t>
        <a:bodyPr/>
        <a:lstStyle/>
        <a:p>
          <a:endParaRPr lang="en-US"/>
        </a:p>
      </dgm:t>
    </dgm:pt>
    <dgm:pt modelId="{8968118A-D07A-4C9C-B1DC-BA7A86EBA450}" type="sibTrans" cxnId="{06E8EAC8-9B9F-4829-BAA7-B72A44BD1673}">
      <dgm:prSet/>
      <dgm:spPr/>
      <dgm:t>
        <a:bodyPr/>
        <a:lstStyle/>
        <a:p>
          <a:endParaRPr lang="en-US"/>
        </a:p>
      </dgm:t>
    </dgm:pt>
    <dgm:pt modelId="{A80978D5-F251-4841-800D-877D2B40A0C5}">
      <dgm:prSet phldrT="[Text]"/>
      <dgm:spPr/>
      <dgm:t>
        <a:bodyPr/>
        <a:lstStyle/>
        <a:p>
          <a:r>
            <a:rPr lang="en-US" dirty="0"/>
            <a:t>Version</a:t>
          </a:r>
        </a:p>
      </dgm:t>
    </dgm:pt>
    <dgm:pt modelId="{595A8A1B-E9E9-4844-BA7D-9CB27D36BD68}" type="parTrans" cxnId="{D7CC9CCA-027A-44D8-BD2A-D8A226543F51}">
      <dgm:prSet/>
      <dgm:spPr/>
      <dgm:t>
        <a:bodyPr/>
        <a:lstStyle/>
        <a:p>
          <a:endParaRPr lang="en-US"/>
        </a:p>
      </dgm:t>
    </dgm:pt>
    <dgm:pt modelId="{71993611-2E65-44B2-AA9C-76C33C5D6C4D}" type="sibTrans" cxnId="{D7CC9CCA-027A-44D8-BD2A-D8A226543F51}">
      <dgm:prSet/>
      <dgm:spPr/>
      <dgm:t>
        <a:bodyPr/>
        <a:lstStyle/>
        <a:p>
          <a:endParaRPr lang="en-US"/>
        </a:p>
      </dgm:t>
    </dgm:pt>
    <dgm:pt modelId="{5C229D82-D0AF-4260-BB61-A6DD3B436E9B}">
      <dgm:prSet phldrT="[Text]"/>
      <dgm:spPr/>
      <dgm:t>
        <a:bodyPr/>
        <a:lstStyle/>
        <a:p>
          <a:r>
            <a:rPr lang="en-US" dirty="0"/>
            <a:t>Why?</a:t>
          </a:r>
        </a:p>
      </dgm:t>
    </dgm:pt>
    <dgm:pt modelId="{F6D4A254-FC16-4091-A0E7-978E8B6DDE2B}" type="parTrans" cxnId="{8E83D33C-1C5F-4DE7-BCCD-472ECCB8D881}">
      <dgm:prSet/>
      <dgm:spPr/>
      <dgm:t>
        <a:bodyPr/>
        <a:lstStyle/>
        <a:p>
          <a:endParaRPr lang="en-US"/>
        </a:p>
      </dgm:t>
    </dgm:pt>
    <dgm:pt modelId="{6BFDCDB3-F036-4902-AA1F-52EE931DA099}" type="sibTrans" cxnId="{8E83D33C-1C5F-4DE7-BCCD-472ECCB8D881}">
      <dgm:prSet/>
      <dgm:spPr/>
      <dgm:t>
        <a:bodyPr/>
        <a:lstStyle/>
        <a:p>
          <a:endParaRPr lang="en-US"/>
        </a:p>
      </dgm:t>
    </dgm:pt>
    <dgm:pt modelId="{B12D38BC-99A5-4328-A5B0-B24BB700F117}">
      <dgm:prSet phldrT="[Text]"/>
      <dgm:spPr/>
      <dgm:t>
        <a:bodyPr/>
        <a:lstStyle/>
        <a:p>
          <a:r>
            <a:rPr lang="en-US" dirty="0"/>
            <a:t>Project</a:t>
          </a:r>
        </a:p>
      </dgm:t>
    </dgm:pt>
    <dgm:pt modelId="{BCDB5E10-05AC-47A5-ACB4-3633CC59305D}" type="parTrans" cxnId="{3D2DF459-CF48-451C-9A6C-065BFF40D3F6}">
      <dgm:prSet/>
      <dgm:spPr/>
      <dgm:t>
        <a:bodyPr/>
        <a:lstStyle/>
        <a:p>
          <a:endParaRPr lang="en-US"/>
        </a:p>
      </dgm:t>
    </dgm:pt>
    <dgm:pt modelId="{D2A965C6-1430-4349-88DD-16A959F901F3}" type="sibTrans" cxnId="{3D2DF459-CF48-451C-9A6C-065BFF40D3F6}">
      <dgm:prSet/>
      <dgm:spPr/>
      <dgm:t>
        <a:bodyPr/>
        <a:lstStyle/>
        <a:p>
          <a:endParaRPr lang="en-US"/>
        </a:p>
      </dgm:t>
    </dgm:pt>
    <dgm:pt modelId="{DC83993A-5785-42CA-B91C-DBEA6CAE684D}">
      <dgm:prSet phldrT="[Text]"/>
      <dgm:spPr/>
      <dgm:t>
        <a:bodyPr/>
        <a:lstStyle/>
        <a:p>
          <a:r>
            <a:rPr lang="en-US" dirty="0"/>
            <a:t>Experimentalist</a:t>
          </a:r>
        </a:p>
      </dgm:t>
    </dgm:pt>
    <dgm:pt modelId="{52572C78-BCFC-4B10-845E-E016A49C747C}" type="parTrans" cxnId="{9BFCC6F7-DCC5-4F78-92D3-0420972426C6}">
      <dgm:prSet/>
      <dgm:spPr/>
      <dgm:t>
        <a:bodyPr/>
        <a:lstStyle/>
        <a:p>
          <a:endParaRPr lang="en-US"/>
        </a:p>
      </dgm:t>
    </dgm:pt>
    <dgm:pt modelId="{6EF36D34-20F4-463C-9D15-2BE8227CD07E}" type="sibTrans" cxnId="{9BFCC6F7-DCC5-4F78-92D3-0420972426C6}">
      <dgm:prSet/>
      <dgm:spPr/>
      <dgm:t>
        <a:bodyPr/>
        <a:lstStyle/>
        <a:p>
          <a:endParaRPr lang="en-US"/>
        </a:p>
      </dgm:t>
    </dgm:pt>
    <dgm:pt modelId="{2FD0AC6A-B513-4A90-899C-F673FFEA9600}">
      <dgm:prSet phldrT="[Text]"/>
      <dgm:spPr/>
      <dgm:t>
        <a:bodyPr/>
        <a:lstStyle/>
        <a:p>
          <a:r>
            <a:rPr lang="en-US" dirty="0"/>
            <a:t>Conditions</a:t>
          </a:r>
        </a:p>
      </dgm:t>
    </dgm:pt>
    <dgm:pt modelId="{768D2B7E-7461-415A-9CB4-04394158DAFA}" type="parTrans" cxnId="{2A3D52B2-5D8D-4B6A-959E-1456BFC90B46}">
      <dgm:prSet/>
      <dgm:spPr/>
      <dgm:t>
        <a:bodyPr/>
        <a:lstStyle/>
        <a:p>
          <a:endParaRPr lang="en-US"/>
        </a:p>
      </dgm:t>
    </dgm:pt>
    <dgm:pt modelId="{250B2C32-E913-4A71-9EB8-75ABC76158DD}" type="sibTrans" cxnId="{2A3D52B2-5D8D-4B6A-959E-1456BFC90B46}">
      <dgm:prSet/>
      <dgm:spPr/>
      <dgm:t>
        <a:bodyPr/>
        <a:lstStyle/>
        <a:p>
          <a:endParaRPr lang="en-US"/>
        </a:p>
      </dgm:t>
    </dgm:pt>
    <dgm:pt modelId="{D4412734-C786-4D2D-9DF2-D41A4B258454}">
      <dgm:prSet phldrT="[Text]"/>
      <dgm:spPr/>
      <dgm:t>
        <a:bodyPr/>
        <a:lstStyle/>
        <a:p>
          <a:r>
            <a:rPr lang="en-US" dirty="0"/>
            <a:t>Procedures/Equipment</a:t>
          </a:r>
        </a:p>
      </dgm:t>
    </dgm:pt>
    <dgm:pt modelId="{89153B1D-7138-4B01-B3CE-C6BC868FBEFB}" type="parTrans" cxnId="{41E32632-90D3-4453-81CB-A3B6CA5776D4}">
      <dgm:prSet/>
      <dgm:spPr/>
      <dgm:t>
        <a:bodyPr/>
        <a:lstStyle/>
        <a:p>
          <a:endParaRPr lang="en-US"/>
        </a:p>
      </dgm:t>
    </dgm:pt>
    <dgm:pt modelId="{CD614C60-0349-408B-9BAC-79A41F618D53}" type="sibTrans" cxnId="{41E32632-90D3-4453-81CB-A3B6CA5776D4}">
      <dgm:prSet/>
      <dgm:spPr/>
      <dgm:t>
        <a:bodyPr/>
        <a:lstStyle/>
        <a:p>
          <a:endParaRPr lang="en-US"/>
        </a:p>
      </dgm:t>
    </dgm:pt>
    <dgm:pt modelId="{3B07EEE2-05D2-4396-871F-E49C0B715FCE}" type="pres">
      <dgm:prSet presAssocID="{C41695B6-2BDD-4454-A895-1AB27F86EDCD}" presName="Name0" presStyleCnt="0">
        <dgm:presLayoutVars>
          <dgm:chMax/>
          <dgm:chPref val="3"/>
          <dgm:dir/>
          <dgm:animOne val="branch"/>
          <dgm:animLvl val="lvl"/>
        </dgm:presLayoutVars>
      </dgm:prSet>
      <dgm:spPr/>
    </dgm:pt>
    <dgm:pt modelId="{CC62F84A-462C-4C6B-8328-D865F4435383}" type="pres">
      <dgm:prSet presAssocID="{E10E2548-4B58-46BD-B404-720298E2FB9F}" presName="composite" presStyleCnt="0"/>
      <dgm:spPr/>
    </dgm:pt>
    <dgm:pt modelId="{D237C8D8-D81A-4F42-BBB3-8C56D7399222}" type="pres">
      <dgm:prSet presAssocID="{E10E2548-4B58-46BD-B404-720298E2FB9F}" presName="FirstChild" presStyleLbl="revTx" presStyleIdx="0" presStyleCnt="6">
        <dgm:presLayoutVars>
          <dgm:chMax val="0"/>
          <dgm:chPref val="0"/>
          <dgm:bulletEnabled val="1"/>
        </dgm:presLayoutVars>
      </dgm:prSet>
      <dgm:spPr/>
    </dgm:pt>
    <dgm:pt modelId="{B353CBF5-2BE9-4876-A15E-2367CA0AB630}" type="pres">
      <dgm:prSet presAssocID="{E10E2548-4B58-46BD-B404-720298E2FB9F}" presName="Parent" presStyleLbl="alignNode1" presStyleIdx="0" presStyleCnt="3">
        <dgm:presLayoutVars>
          <dgm:chMax val="3"/>
          <dgm:chPref val="3"/>
          <dgm:bulletEnabled val="1"/>
        </dgm:presLayoutVars>
      </dgm:prSet>
      <dgm:spPr/>
    </dgm:pt>
    <dgm:pt modelId="{20037CEE-DA89-4A26-AB49-7930176DA7DA}" type="pres">
      <dgm:prSet presAssocID="{E10E2548-4B58-46BD-B404-720298E2FB9F}" presName="Accent" presStyleLbl="parChTrans1D1" presStyleIdx="0" presStyleCnt="3"/>
      <dgm:spPr/>
    </dgm:pt>
    <dgm:pt modelId="{C675EC96-31D0-4A9F-9992-D807074A8B58}" type="pres">
      <dgm:prSet presAssocID="{E10E2548-4B58-46BD-B404-720298E2FB9F}" presName="Child" presStyleLbl="revTx" presStyleIdx="1" presStyleCnt="6">
        <dgm:presLayoutVars>
          <dgm:chMax val="0"/>
          <dgm:chPref val="0"/>
          <dgm:bulletEnabled val="1"/>
        </dgm:presLayoutVars>
      </dgm:prSet>
      <dgm:spPr/>
    </dgm:pt>
    <dgm:pt modelId="{9D1AB4E8-C204-40B5-B25B-4AE20A72C52C}" type="pres">
      <dgm:prSet presAssocID="{617FC7BB-E8F5-4D02-9820-3D7AFF79FD41}" presName="sibTrans" presStyleCnt="0"/>
      <dgm:spPr/>
    </dgm:pt>
    <dgm:pt modelId="{A208BAB9-821B-4612-93F8-B09F7333EA09}" type="pres">
      <dgm:prSet presAssocID="{D1F4D608-A3DB-44F7-86D1-52B77D8A8A83}" presName="composite" presStyleCnt="0"/>
      <dgm:spPr/>
    </dgm:pt>
    <dgm:pt modelId="{309E2317-BD33-4D74-95FE-74DDBC92B5FE}" type="pres">
      <dgm:prSet presAssocID="{D1F4D608-A3DB-44F7-86D1-52B77D8A8A83}" presName="FirstChild" presStyleLbl="revTx" presStyleIdx="2" presStyleCnt="6">
        <dgm:presLayoutVars>
          <dgm:chMax val="0"/>
          <dgm:chPref val="0"/>
          <dgm:bulletEnabled val="1"/>
        </dgm:presLayoutVars>
      </dgm:prSet>
      <dgm:spPr/>
    </dgm:pt>
    <dgm:pt modelId="{25A5D54B-A882-4487-953C-5B4402DD3178}" type="pres">
      <dgm:prSet presAssocID="{D1F4D608-A3DB-44F7-86D1-52B77D8A8A83}" presName="Parent" presStyleLbl="alignNode1" presStyleIdx="1" presStyleCnt="3">
        <dgm:presLayoutVars>
          <dgm:chMax val="3"/>
          <dgm:chPref val="3"/>
          <dgm:bulletEnabled val="1"/>
        </dgm:presLayoutVars>
      </dgm:prSet>
      <dgm:spPr/>
    </dgm:pt>
    <dgm:pt modelId="{89065A1A-FDB6-4287-AA93-7C654163107F}" type="pres">
      <dgm:prSet presAssocID="{D1F4D608-A3DB-44F7-86D1-52B77D8A8A83}" presName="Accent" presStyleLbl="parChTrans1D1" presStyleIdx="1" presStyleCnt="3"/>
      <dgm:spPr/>
    </dgm:pt>
    <dgm:pt modelId="{082803B6-F37F-4609-A089-95FF4E93E33D}" type="pres">
      <dgm:prSet presAssocID="{D1F4D608-A3DB-44F7-86D1-52B77D8A8A83}" presName="Child" presStyleLbl="revTx" presStyleIdx="3" presStyleCnt="6">
        <dgm:presLayoutVars>
          <dgm:chMax val="0"/>
          <dgm:chPref val="0"/>
          <dgm:bulletEnabled val="1"/>
        </dgm:presLayoutVars>
      </dgm:prSet>
      <dgm:spPr/>
    </dgm:pt>
    <dgm:pt modelId="{CF53652D-FC03-4B3F-8E85-04A9BD51AEB4}" type="pres">
      <dgm:prSet presAssocID="{42A8EC87-C60B-4F9D-85FE-2B093B8E1F2B}" presName="sibTrans" presStyleCnt="0"/>
      <dgm:spPr/>
    </dgm:pt>
    <dgm:pt modelId="{9ECA7E98-DB34-46CE-82CB-DFFC2D5DE541}" type="pres">
      <dgm:prSet presAssocID="{B410444F-2221-4151-B878-33A4C99ABE32}" presName="composite" presStyleCnt="0"/>
      <dgm:spPr/>
    </dgm:pt>
    <dgm:pt modelId="{0E759EF9-9B89-4F2D-9EFA-B6D8F54DAB9F}" type="pres">
      <dgm:prSet presAssocID="{B410444F-2221-4151-B878-33A4C99ABE32}" presName="FirstChild" presStyleLbl="revTx" presStyleIdx="4" presStyleCnt="6">
        <dgm:presLayoutVars>
          <dgm:chMax val="0"/>
          <dgm:chPref val="0"/>
          <dgm:bulletEnabled val="1"/>
        </dgm:presLayoutVars>
      </dgm:prSet>
      <dgm:spPr/>
    </dgm:pt>
    <dgm:pt modelId="{40AEC606-0B1B-4630-95CD-49C15F906301}" type="pres">
      <dgm:prSet presAssocID="{B410444F-2221-4151-B878-33A4C99ABE32}" presName="Parent" presStyleLbl="alignNode1" presStyleIdx="2" presStyleCnt="3">
        <dgm:presLayoutVars>
          <dgm:chMax val="3"/>
          <dgm:chPref val="3"/>
          <dgm:bulletEnabled val="1"/>
        </dgm:presLayoutVars>
      </dgm:prSet>
      <dgm:spPr/>
    </dgm:pt>
    <dgm:pt modelId="{2E508021-3C16-4B23-A3A3-0A87FDED530C}" type="pres">
      <dgm:prSet presAssocID="{B410444F-2221-4151-B878-33A4C99ABE32}" presName="Accent" presStyleLbl="parChTrans1D1" presStyleIdx="2" presStyleCnt="3"/>
      <dgm:spPr/>
    </dgm:pt>
    <dgm:pt modelId="{76CFFA3A-7BD7-4E55-BE38-5655D02D4C5E}" type="pres">
      <dgm:prSet presAssocID="{B410444F-2221-4151-B878-33A4C99ABE32}" presName="Child" presStyleLbl="revTx" presStyleIdx="5" presStyleCnt="6">
        <dgm:presLayoutVars>
          <dgm:chMax val="0"/>
          <dgm:chPref val="0"/>
          <dgm:bulletEnabled val="1"/>
        </dgm:presLayoutVars>
      </dgm:prSet>
      <dgm:spPr/>
    </dgm:pt>
  </dgm:ptLst>
  <dgm:cxnLst>
    <dgm:cxn modelId="{89EBE002-DFE3-472E-9AC8-39FB8B5B36DF}" type="presOf" srcId="{F41B2CE9-9111-445D-BA9F-ECB2115F95F8}" destId="{082803B6-F37F-4609-A089-95FF4E93E33D}" srcOrd="0" destOrd="1" presId="urn:microsoft.com/office/officeart/2011/layout/TabList"/>
    <dgm:cxn modelId="{5C6B9F06-2F0A-45AD-BC50-C551E0DABDD8}" srcId="{B410444F-2221-4151-B878-33A4C99ABE32}" destId="{FA3A2667-9242-4C73-AAE9-E820E1B8B5D1}" srcOrd="0" destOrd="0" parTransId="{2AE22BF8-ABC2-4789-B5A5-50634D18898B}" sibTransId="{F50B2C13-45AD-48AE-AA3A-4BF47A815D98}"/>
    <dgm:cxn modelId="{6E87851A-0E3D-49B5-A07C-5C37DEA69968}" type="presOf" srcId="{A80978D5-F251-4841-800D-877D2B40A0C5}" destId="{082803B6-F37F-4609-A089-95FF4E93E33D}" srcOrd="0" destOrd="2" presId="urn:microsoft.com/office/officeart/2011/layout/TabList"/>
    <dgm:cxn modelId="{0B00151E-57E7-4BCC-9B9D-18F7C9A93BBC}" type="presOf" srcId="{A0CE24A9-3A00-4A5D-9A6C-1CD393E529E2}" destId="{309E2317-BD33-4D74-95FE-74DDBC92B5FE}" srcOrd="0" destOrd="0" presId="urn:microsoft.com/office/officeart/2011/layout/TabList"/>
    <dgm:cxn modelId="{41E32632-90D3-4453-81CB-A3B6CA5776D4}" srcId="{B410444F-2221-4151-B878-33A4C99ABE32}" destId="{D4412734-C786-4D2D-9DF2-D41A4B258454}" srcOrd="3" destOrd="0" parTransId="{89153B1D-7138-4B01-B3CE-C6BC868FBEFB}" sibTransId="{CD614C60-0349-408B-9BAC-79A41F618D53}"/>
    <dgm:cxn modelId="{8E83D33C-1C5F-4DE7-BCCD-472ECCB8D881}" srcId="{E10E2548-4B58-46BD-B404-720298E2FB9F}" destId="{5C229D82-D0AF-4260-BB61-A6DD3B436E9B}" srcOrd="0" destOrd="0" parTransId="{F6D4A254-FC16-4091-A0E7-978E8B6DDE2B}" sibTransId="{6BFDCDB3-F036-4902-AA1F-52EE931DA099}"/>
    <dgm:cxn modelId="{A30B1462-DC9D-4DF9-962D-3E325ABDFEE1}" type="presOf" srcId="{D4412734-C786-4D2D-9DF2-D41A4B258454}" destId="{76CFFA3A-7BD7-4E55-BE38-5655D02D4C5E}" srcOrd="0" destOrd="2" presId="urn:microsoft.com/office/officeart/2011/layout/TabList"/>
    <dgm:cxn modelId="{3409206D-7173-472C-98F8-793D46D42A45}" type="presOf" srcId="{C41695B6-2BDD-4454-A895-1AB27F86EDCD}" destId="{3B07EEE2-05D2-4396-871F-E49C0B715FCE}" srcOrd="0" destOrd="0" presId="urn:microsoft.com/office/officeart/2011/layout/TabList"/>
    <dgm:cxn modelId="{18A6676E-51A9-4FBC-9D40-AD21630D2B54}" type="presOf" srcId="{B12D38BC-99A5-4328-A5B0-B24BB700F117}" destId="{C675EC96-31D0-4A9F-9992-D807074A8B58}" srcOrd="0" destOrd="0" presId="urn:microsoft.com/office/officeart/2011/layout/TabList"/>
    <dgm:cxn modelId="{286DD850-1836-439E-BABC-C221C347BD80}" type="presOf" srcId="{3689A41D-4433-49D4-AD22-D5F56B5D9124}" destId="{76CFFA3A-7BD7-4E55-BE38-5655D02D4C5E}" srcOrd="0" destOrd="0" presId="urn:microsoft.com/office/officeart/2011/layout/TabList"/>
    <dgm:cxn modelId="{3D2DF459-CF48-451C-9A6C-065BFF40D3F6}" srcId="{E10E2548-4B58-46BD-B404-720298E2FB9F}" destId="{B12D38BC-99A5-4328-A5B0-B24BB700F117}" srcOrd="1" destOrd="0" parTransId="{BCDB5E10-05AC-47A5-ACB4-3633CC59305D}" sibTransId="{D2A965C6-1430-4349-88DD-16A959F901F3}"/>
    <dgm:cxn modelId="{67330A7A-206E-47DA-B20D-7FE9E784742C}" srcId="{C41695B6-2BDD-4454-A895-1AB27F86EDCD}" destId="{E10E2548-4B58-46BD-B404-720298E2FB9F}" srcOrd="0" destOrd="0" parTransId="{CBA178BE-DF60-4D1B-A935-9216B04CB5AD}" sibTransId="{617FC7BB-E8F5-4D02-9820-3D7AFF79FD41}"/>
    <dgm:cxn modelId="{026B1484-1FDF-4948-BC85-78F390A8657D}" srcId="{E10E2548-4B58-46BD-B404-720298E2FB9F}" destId="{3051F06B-65BE-4237-8A54-616F500623F9}" srcOrd="2" destOrd="0" parTransId="{C8AB9627-6D3F-4702-9671-39DDC6B78C12}" sibTransId="{6EAD304C-C6C6-44D7-90A4-89B38CEBD122}"/>
    <dgm:cxn modelId="{5BA31D97-E77E-4B9F-8CC1-BC07A9A99969}" srcId="{D1F4D608-A3DB-44F7-86D1-52B77D8A8A83}" destId="{A0CE24A9-3A00-4A5D-9A6C-1CD393E529E2}" srcOrd="0" destOrd="0" parTransId="{234F2969-3FCF-4339-9903-03A15418E58E}" sibTransId="{E47DE167-51A6-4203-AF24-018A26B5E8D8}"/>
    <dgm:cxn modelId="{2F64409C-D4D7-4D73-8AB2-38729ADFF167}" type="presOf" srcId="{DC83993A-5785-42CA-B91C-DBEA6CAE684D}" destId="{082803B6-F37F-4609-A089-95FF4E93E33D}" srcOrd="0" destOrd="0" presId="urn:microsoft.com/office/officeart/2011/layout/TabList"/>
    <dgm:cxn modelId="{2A3D52B2-5D8D-4B6A-959E-1456BFC90B46}" srcId="{B410444F-2221-4151-B878-33A4C99ABE32}" destId="{2FD0AC6A-B513-4A90-899C-F673FFEA9600}" srcOrd="2" destOrd="0" parTransId="{768D2B7E-7461-415A-9CB4-04394158DAFA}" sibTransId="{250B2C32-E913-4A71-9EB8-75ABC76158DD}"/>
    <dgm:cxn modelId="{A17F2CB4-30EB-4D8F-915F-72B841AE2768}" srcId="{B410444F-2221-4151-B878-33A4C99ABE32}" destId="{3689A41D-4433-49D4-AD22-D5F56B5D9124}" srcOrd="1" destOrd="0" parTransId="{6A5B9CE2-2420-4CA6-8FD7-FFEC771B44E5}" sibTransId="{6A19C11C-995D-46E4-A21D-4F9CCA20E5A7}"/>
    <dgm:cxn modelId="{6F5241C5-A5F1-409E-9A7E-2724461A0BD6}" type="presOf" srcId="{D1F4D608-A3DB-44F7-86D1-52B77D8A8A83}" destId="{25A5D54B-A882-4487-953C-5B4402DD3178}" srcOrd="0" destOrd="0" presId="urn:microsoft.com/office/officeart/2011/layout/TabList"/>
    <dgm:cxn modelId="{06E8EAC8-9B9F-4829-BAA7-B72A44BD1673}" srcId="{D1F4D608-A3DB-44F7-86D1-52B77D8A8A83}" destId="{F41B2CE9-9111-445D-BA9F-ECB2115F95F8}" srcOrd="2" destOrd="0" parTransId="{49CFEE24-9AE4-487E-9898-1CEB4E17A15C}" sibTransId="{8968118A-D07A-4C9C-B1DC-BA7A86EBA450}"/>
    <dgm:cxn modelId="{D7CC9CCA-027A-44D8-BD2A-D8A226543F51}" srcId="{D1F4D608-A3DB-44F7-86D1-52B77D8A8A83}" destId="{A80978D5-F251-4841-800D-877D2B40A0C5}" srcOrd="3" destOrd="0" parTransId="{595A8A1B-E9E9-4844-BA7D-9CB27D36BD68}" sibTransId="{71993611-2E65-44B2-AA9C-76C33C5D6C4D}"/>
    <dgm:cxn modelId="{F32AF6CA-3C2A-4938-8AE2-841C52D740FD}" srcId="{C41695B6-2BDD-4454-A895-1AB27F86EDCD}" destId="{D1F4D608-A3DB-44F7-86D1-52B77D8A8A83}" srcOrd="1" destOrd="0" parTransId="{753F7AE8-4C10-4C6D-9039-A96812B6A8B7}" sibTransId="{42A8EC87-C60B-4F9D-85FE-2B093B8E1F2B}"/>
    <dgm:cxn modelId="{F7BAC4D1-11A5-45F0-B3A4-491D52E26A21}" type="presOf" srcId="{FA3A2667-9242-4C73-AAE9-E820E1B8B5D1}" destId="{0E759EF9-9B89-4F2D-9EFA-B6D8F54DAB9F}" srcOrd="0" destOrd="0" presId="urn:microsoft.com/office/officeart/2011/layout/TabList"/>
    <dgm:cxn modelId="{D62085D4-4DCB-40B8-8E3A-A3F61F047C13}" type="presOf" srcId="{3051F06B-65BE-4237-8A54-616F500623F9}" destId="{C675EC96-31D0-4A9F-9992-D807074A8B58}" srcOrd="0" destOrd="1" presId="urn:microsoft.com/office/officeart/2011/layout/TabList"/>
    <dgm:cxn modelId="{55A283D5-4575-4869-B335-1D636CBEDB5C}" type="presOf" srcId="{2FD0AC6A-B513-4A90-899C-F673FFEA9600}" destId="{76CFFA3A-7BD7-4E55-BE38-5655D02D4C5E}" srcOrd="0" destOrd="1" presId="urn:microsoft.com/office/officeart/2011/layout/TabList"/>
    <dgm:cxn modelId="{3278EED6-2722-46CF-814C-57B1E093CDBA}" type="presOf" srcId="{E10E2548-4B58-46BD-B404-720298E2FB9F}" destId="{B353CBF5-2BE9-4876-A15E-2367CA0AB630}" srcOrd="0" destOrd="0" presId="urn:microsoft.com/office/officeart/2011/layout/TabList"/>
    <dgm:cxn modelId="{ECC352E1-02B6-4FF7-9683-AD109FBD7899}" srcId="{C41695B6-2BDD-4454-A895-1AB27F86EDCD}" destId="{B410444F-2221-4151-B878-33A4C99ABE32}" srcOrd="2" destOrd="0" parTransId="{C905B7C5-044A-420C-81EC-42AB728D92CA}" sibTransId="{71852F0D-58D9-4BBC-A402-D7EF50BB2B3B}"/>
    <dgm:cxn modelId="{69EC02F1-381A-4E4A-9607-D54B2C05CB28}" type="presOf" srcId="{B410444F-2221-4151-B878-33A4C99ABE32}" destId="{40AEC606-0B1B-4630-95CD-49C15F906301}" srcOrd="0" destOrd="0" presId="urn:microsoft.com/office/officeart/2011/layout/TabList"/>
    <dgm:cxn modelId="{2CC9FDF2-B18C-4E5D-BE17-D92ABAD78999}" type="presOf" srcId="{5C229D82-D0AF-4260-BB61-A6DD3B436E9B}" destId="{D237C8D8-D81A-4F42-BBB3-8C56D7399222}" srcOrd="0" destOrd="0" presId="urn:microsoft.com/office/officeart/2011/layout/TabList"/>
    <dgm:cxn modelId="{9BFCC6F7-DCC5-4F78-92D3-0420972426C6}" srcId="{D1F4D608-A3DB-44F7-86D1-52B77D8A8A83}" destId="{DC83993A-5785-42CA-B91C-DBEA6CAE684D}" srcOrd="1" destOrd="0" parTransId="{52572C78-BCFC-4B10-845E-E016A49C747C}" sibTransId="{6EF36D34-20F4-463C-9D15-2BE8227CD07E}"/>
    <dgm:cxn modelId="{825D47FA-4F85-4C65-89EB-AEF1F5DBD977}" type="presParOf" srcId="{3B07EEE2-05D2-4396-871F-E49C0B715FCE}" destId="{CC62F84A-462C-4C6B-8328-D865F4435383}" srcOrd="0" destOrd="0" presId="urn:microsoft.com/office/officeart/2011/layout/TabList"/>
    <dgm:cxn modelId="{C146500E-F935-4463-8309-100FDE6BB29E}" type="presParOf" srcId="{CC62F84A-462C-4C6B-8328-D865F4435383}" destId="{D237C8D8-D81A-4F42-BBB3-8C56D7399222}" srcOrd="0" destOrd="0" presId="urn:microsoft.com/office/officeart/2011/layout/TabList"/>
    <dgm:cxn modelId="{9494CFAA-CEB5-4041-921C-B02E1B5C38BA}" type="presParOf" srcId="{CC62F84A-462C-4C6B-8328-D865F4435383}" destId="{B353CBF5-2BE9-4876-A15E-2367CA0AB630}" srcOrd="1" destOrd="0" presId="urn:microsoft.com/office/officeart/2011/layout/TabList"/>
    <dgm:cxn modelId="{063A3CC4-51AC-468E-A2EA-6A17A9B3431F}" type="presParOf" srcId="{CC62F84A-462C-4C6B-8328-D865F4435383}" destId="{20037CEE-DA89-4A26-AB49-7930176DA7DA}" srcOrd="2" destOrd="0" presId="urn:microsoft.com/office/officeart/2011/layout/TabList"/>
    <dgm:cxn modelId="{0B541C70-C452-4194-9405-3782D3FA0C1F}" type="presParOf" srcId="{3B07EEE2-05D2-4396-871F-E49C0B715FCE}" destId="{C675EC96-31D0-4A9F-9992-D807074A8B58}" srcOrd="1" destOrd="0" presId="urn:microsoft.com/office/officeart/2011/layout/TabList"/>
    <dgm:cxn modelId="{1AC7DED8-96F5-4884-94A9-F287C4181C16}" type="presParOf" srcId="{3B07EEE2-05D2-4396-871F-E49C0B715FCE}" destId="{9D1AB4E8-C204-40B5-B25B-4AE20A72C52C}" srcOrd="2" destOrd="0" presId="urn:microsoft.com/office/officeart/2011/layout/TabList"/>
    <dgm:cxn modelId="{A9364884-AA70-4456-9B7F-120D3EDA6BA0}" type="presParOf" srcId="{3B07EEE2-05D2-4396-871F-E49C0B715FCE}" destId="{A208BAB9-821B-4612-93F8-B09F7333EA09}" srcOrd="3" destOrd="0" presId="urn:microsoft.com/office/officeart/2011/layout/TabList"/>
    <dgm:cxn modelId="{3B6EA993-3E51-4F0A-8558-845968A4721A}" type="presParOf" srcId="{A208BAB9-821B-4612-93F8-B09F7333EA09}" destId="{309E2317-BD33-4D74-95FE-74DDBC92B5FE}" srcOrd="0" destOrd="0" presId="urn:microsoft.com/office/officeart/2011/layout/TabList"/>
    <dgm:cxn modelId="{D14848EC-A4BA-48D5-8EE9-A069272AC08D}" type="presParOf" srcId="{A208BAB9-821B-4612-93F8-B09F7333EA09}" destId="{25A5D54B-A882-4487-953C-5B4402DD3178}" srcOrd="1" destOrd="0" presId="urn:microsoft.com/office/officeart/2011/layout/TabList"/>
    <dgm:cxn modelId="{43F86D02-195D-477F-8C0B-F95FF4FE31DC}" type="presParOf" srcId="{A208BAB9-821B-4612-93F8-B09F7333EA09}" destId="{89065A1A-FDB6-4287-AA93-7C654163107F}" srcOrd="2" destOrd="0" presId="urn:microsoft.com/office/officeart/2011/layout/TabList"/>
    <dgm:cxn modelId="{C0E0B089-5AAE-418F-BC8C-CBCB1DB12683}" type="presParOf" srcId="{3B07EEE2-05D2-4396-871F-E49C0B715FCE}" destId="{082803B6-F37F-4609-A089-95FF4E93E33D}" srcOrd="4" destOrd="0" presId="urn:microsoft.com/office/officeart/2011/layout/TabList"/>
    <dgm:cxn modelId="{2D313E33-5F11-4307-93B3-4A5B93E632D8}" type="presParOf" srcId="{3B07EEE2-05D2-4396-871F-E49C0B715FCE}" destId="{CF53652D-FC03-4B3F-8E85-04A9BD51AEB4}" srcOrd="5" destOrd="0" presId="urn:microsoft.com/office/officeart/2011/layout/TabList"/>
    <dgm:cxn modelId="{A847A917-B926-45DE-8995-F0ABC9A3BF07}" type="presParOf" srcId="{3B07EEE2-05D2-4396-871F-E49C0B715FCE}" destId="{9ECA7E98-DB34-46CE-82CB-DFFC2D5DE541}" srcOrd="6" destOrd="0" presId="urn:microsoft.com/office/officeart/2011/layout/TabList"/>
    <dgm:cxn modelId="{DC666B2F-BAA2-45EE-9967-BE157D918265}" type="presParOf" srcId="{9ECA7E98-DB34-46CE-82CB-DFFC2D5DE541}" destId="{0E759EF9-9B89-4F2D-9EFA-B6D8F54DAB9F}" srcOrd="0" destOrd="0" presId="urn:microsoft.com/office/officeart/2011/layout/TabList"/>
    <dgm:cxn modelId="{B92AB58D-F14B-4B9C-B355-DB7BE70CF566}" type="presParOf" srcId="{9ECA7E98-DB34-46CE-82CB-DFFC2D5DE541}" destId="{40AEC606-0B1B-4630-95CD-49C15F906301}" srcOrd="1" destOrd="0" presId="urn:microsoft.com/office/officeart/2011/layout/TabList"/>
    <dgm:cxn modelId="{DF23258B-4B9D-4500-A2FE-878A92A8DDBE}" type="presParOf" srcId="{9ECA7E98-DB34-46CE-82CB-DFFC2D5DE541}" destId="{2E508021-3C16-4B23-A3A3-0A87FDED530C}" srcOrd="2" destOrd="0" presId="urn:microsoft.com/office/officeart/2011/layout/TabList"/>
    <dgm:cxn modelId="{F0EDBB1B-0988-4E7C-AF2F-4962DEC1FDFA}" type="presParOf" srcId="{3B07EEE2-05D2-4396-871F-E49C0B715FCE}" destId="{76CFFA3A-7BD7-4E55-BE38-5655D02D4C5E}" srcOrd="7" destOrd="0" presId="urn:microsoft.com/office/officeart/2011/layout/Tab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3430FB-9198-4FA6-831D-E73C79F3D21B}">
      <dsp:nvSpPr>
        <dsp:cNvPr id="0" name=""/>
        <dsp:cNvSpPr/>
      </dsp:nvSpPr>
      <dsp:spPr>
        <a:xfrm>
          <a:off x="1835245" y="293544"/>
          <a:ext cx="3971127" cy="3971127"/>
        </a:xfrm>
        <a:prstGeom prst="pie">
          <a:avLst>
            <a:gd name="adj1" fmla="val 162000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YNTHESIZE</a:t>
          </a:r>
        </a:p>
      </dsp:txBody>
      <dsp:txXfrm>
        <a:off x="3943252" y="1116607"/>
        <a:ext cx="1465535" cy="1087332"/>
      </dsp:txXfrm>
    </dsp:sp>
    <dsp:sp modelId="{E14087F2-705E-4ABB-AC58-B726136E0F08}">
      <dsp:nvSpPr>
        <dsp:cNvPr id="0" name=""/>
        <dsp:cNvSpPr/>
      </dsp:nvSpPr>
      <dsp:spPr>
        <a:xfrm>
          <a:off x="1835245" y="426860"/>
          <a:ext cx="3971127" cy="3971127"/>
        </a:xfrm>
        <a:prstGeom prst="pie">
          <a:avLst>
            <a:gd name="adj1" fmla="val 0"/>
            <a:gd name="adj2" fmla="val 540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EST</a:t>
          </a:r>
        </a:p>
      </dsp:txBody>
      <dsp:txXfrm>
        <a:off x="3943252" y="2487592"/>
        <a:ext cx="1465535" cy="1087332"/>
      </dsp:txXfrm>
    </dsp:sp>
    <dsp:sp modelId="{18091B24-72D3-41A3-B5F7-FAD569070A5B}">
      <dsp:nvSpPr>
        <dsp:cNvPr id="0" name=""/>
        <dsp:cNvSpPr/>
      </dsp:nvSpPr>
      <dsp:spPr>
        <a:xfrm>
          <a:off x="1701928" y="426860"/>
          <a:ext cx="3971127" cy="3971127"/>
        </a:xfrm>
        <a:prstGeom prst="pie">
          <a:avLst>
            <a:gd name="adj1" fmla="val 5400000"/>
            <a:gd name="adj2" fmla="val 1080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NALYZE</a:t>
          </a:r>
        </a:p>
      </dsp:txBody>
      <dsp:txXfrm>
        <a:off x="2099514" y="2487592"/>
        <a:ext cx="1465535" cy="1087332"/>
      </dsp:txXfrm>
    </dsp:sp>
    <dsp:sp modelId="{C41D644E-468D-4826-ABB5-5A1D7C7E7972}">
      <dsp:nvSpPr>
        <dsp:cNvPr id="0" name=""/>
        <dsp:cNvSpPr/>
      </dsp:nvSpPr>
      <dsp:spPr>
        <a:xfrm>
          <a:off x="1701928" y="293544"/>
          <a:ext cx="3971127" cy="3971127"/>
        </a:xfrm>
        <a:prstGeom prst="pie">
          <a:avLst>
            <a:gd name="adj1" fmla="val 10800000"/>
            <a:gd name="adj2" fmla="val 1620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ESIGN</a:t>
          </a:r>
        </a:p>
      </dsp:txBody>
      <dsp:txXfrm>
        <a:off x="2099514" y="1116607"/>
        <a:ext cx="1465535" cy="1087332"/>
      </dsp:txXfrm>
    </dsp:sp>
    <dsp:sp modelId="{8E2A7E2A-29EB-4DA2-98F0-2BDDC6F38419}">
      <dsp:nvSpPr>
        <dsp:cNvPr id="0" name=""/>
        <dsp:cNvSpPr/>
      </dsp:nvSpPr>
      <dsp:spPr>
        <a:xfrm>
          <a:off x="1589413" y="47712"/>
          <a:ext cx="4462791" cy="4462791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A6A444-FA90-466C-BD72-6E54A64DB9CC}">
      <dsp:nvSpPr>
        <dsp:cNvPr id="0" name=""/>
        <dsp:cNvSpPr/>
      </dsp:nvSpPr>
      <dsp:spPr>
        <a:xfrm>
          <a:off x="1589413" y="181029"/>
          <a:ext cx="4462791" cy="4462791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DB3036-DE99-43D1-8AA3-2B4E0393851D}">
      <dsp:nvSpPr>
        <dsp:cNvPr id="0" name=""/>
        <dsp:cNvSpPr/>
      </dsp:nvSpPr>
      <dsp:spPr>
        <a:xfrm>
          <a:off x="1456097" y="181029"/>
          <a:ext cx="4462791" cy="4462791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751F51D-3A9C-4CC9-B19C-60EAE16E84C8}">
      <dsp:nvSpPr>
        <dsp:cNvPr id="0" name=""/>
        <dsp:cNvSpPr/>
      </dsp:nvSpPr>
      <dsp:spPr>
        <a:xfrm>
          <a:off x="1456097" y="47712"/>
          <a:ext cx="4462791" cy="4462791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508021-3C16-4B23-A3A3-0A87FDED530C}">
      <dsp:nvSpPr>
        <dsp:cNvPr id="0" name=""/>
        <dsp:cNvSpPr/>
      </dsp:nvSpPr>
      <dsp:spPr>
        <a:xfrm>
          <a:off x="0" y="3700933"/>
          <a:ext cx="7074519" cy="0"/>
        </a:xfrm>
        <a:prstGeom prst="line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065A1A-FDB6-4287-AA93-7C654163107F}">
      <dsp:nvSpPr>
        <dsp:cNvPr id="0" name=""/>
        <dsp:cNvSpPr/>
      </dsp:nvSpPr>
      <dsp:spPr>
        <a:xfrm>
          <a:off x="0" y="2111323"/>
          <a:ext cx="7074519" cy="0"/>
        </a:xfrm>
        <a:prstGeom prst="line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037CEE-DA89-4A26-AB49-7930176DA7DA}">
      <dsp:nvSpPr>
        <dsp:cNvPr id="0" name=""/>
        <dsp:cNvSpPr/>
      </dsp:nvSpPr>
      <dsp:spPr>
        <a:xfrm>
          <a:off x="0" y="521713"/>
          <a:ext cx="7074519" cy="0"/>
        </a:xfrm>
        <a:prstGeom prst="line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37C8D8-D81A-4F42-BBB3-8C56D7399222}">
      <dsp:nvSpPr>
        <dsp:cNvPr id="0" name=""/>
        <dsp:cNvSpPr/>
      </dsp:nvSpPr>
      <dsp:spPr>
        <a:xfrm>
          <a:off x="1839374" y="581"/>
          <a:ext cx="5235144" cy="521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b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Why?</a:t>
          </a:r>
        </a:p>
      </dsp:txBody>
      <dsp:txXfrm>
        <a:off x="1839374" y="581"/>
        <a:ext cx="5235144" cy="521132"/>
      </dsp:txXfrm>
    </dsp:sp>
    <dsp:sp modelId="{B353CBF5-2BE9-4876-A15E-2367CA0AB630}">
      <dsp:nvSpPr>
        <dsp:cNvPr id="0" name=""/>
        <dsp:cNvSpPr/>
      </dsp:nvSpPr>
      <dsp:spPr>
        <a:xfrm>
          <a:off x="0" y="581"/>
          <a:ext cx="1839374" cy="521132"/>
        </a:xfrm>
        <a:prstGeom prst="round2SameRect">
          <a:avLst>
            <a:gd name="adj1" fmla="val 1667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Business</a:t>
          </a:r>
        </a:p>
      </dsp:txBody>
      <dsp:txXfrm>
        <a:off x="25444" y="26025"/>
        <a:ext cx="1788486" cy="495688"/>
      </dsp:txXfrm>
    </dsp:sp>
    <dsp:sp modelId="{C675EC96-31D0-4A9F-9992-D807074A8B58}">
      <dsp:nvSpPr>
        <dsp:cNvPr id="0" name=""/>
        <dsp:cNvSpPr/>
      </dsp:nvSpPr>
      <dsp:spPr>
        <a:xfrm>
          <a:off x="0" y="521713"/>
          <a:ext cx="7074519" cy="104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435" tIns="51435" rIns="51435" bIns="51435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Project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Target</a:t>
          </a:r>
        </a:p>
      </dsp:txBody>
      <dsp:txXfrm>
        <a:off x="0" y="521713"/>
        <a:ext cx="7074519" cy="1042420"/>
      </dsp:txXfrm>
    </dsp:sp>
    <dsp:sp modelId="{309E2317-BD33-4D74-95FE-74DDBC92B5FE}">
      <dsp:nvSpPr>
        <dsp:cNvPr id="0" name=""/>
        <dsp:cNvSpPr/>
      </dsp:nvSpPr>
      <dsp:spPr>
        <a:xfrm>
          <a:off x="1839374" y="1590191"/>
          <a:ext cx="5235144" cy="521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b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Who? When? Where?</a:t>
          </a:r>
        </a:p>
      </dsp:txBody>
      <dsp:txXfrm>
        <a:off x="1839374" y="1590191"/>
        <a:ext cx="5235144" cy="521132"/>
      </dsp:txXfrm>
    </dsp:sp>
    <dsp:sp modelId="{25A5D54B-A882-4487-953C-5B4402DD3178}">
      <dsp:nvSpPr>
        <dsp:cNvPr id="0" name=""/>
        <dsp:cNvSpPr/>
      </dsp:nvSpPr>
      <dsp:spPr>
        <a:xfrm>
          <a:off x="0" y="1590191"/>
          <a:ext cx="1839374" cy="521132"/>
        </a:xfrm>
        <a:prstGeom prst="round2SameRect">
          <a:avLst>
            <a:gd name="adj1" fmla="val 16670"/>
            <a:gd name="adj2" fmla="val 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Operative</a:t>
          </a:r>
        </a:p>
      </dsp:txBody>
      <dsp:txXfrm>
        <a:off x="25444" y="1615635"/>
        <a:ext cx="1788486" cy="495688"/>
      </dsp:txXfrm>
    </dsp:sp>
    <dsp:sp modelId="{082803B6-F37F-4609-A089-95FF4E93E33D}">
      <dsp:nvSpPr>
        <dsp:cNvPr id="0" name=""/>
        <dsp:cNvSpPr/>
      </dsp:nvSpPr>
      <dsp:spPr>
        <a:xfrm>
          <a:off x="0" y="2111323"/>
          <a:ext cx="7074519" cy="104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435" tIns="51435" rIns="51435" bIns="51435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Experimentalist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Timestamp/location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Version</a:t>
          </a:r>
        </a:p>
      </dsp:txBody>
      <dsp:txXfrm>
        <a:off x="0" y="2111323"/>
        <a:ext cx="7074519" cy="1042420"/>
      </dsp:txXfrm>
    </dsp:sp>
    <dsp:sp modelId="{0E759EF9-9B89-4F2D-9EFA-B6D8F54DAB9F}">
      <dsp:nvSpPr>
        <dsp:cNvPr id="0" name=""/>
        <dsp:cNvSpPr/>
      </dsp:nvSpPr>
      <dsp:spPr>
        <a:xfrm>
          <a:off x="1839374" y="3179801"/>
          <a:ext cx="5235144" cy="5211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b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What? How?</a:t>
          </a:r>
        </a:p>
      </dsp:txBody>
      <dsp:txXfrm>
        <a:off x="1839374" y="3179801"/>
        <a:ext cx="5235144" cy="521132"/>
      </dsp:txXfrm>
    </dsp:sp>
    <dsp:sp modelId="{40AEC606-0B1B-4630-95CD-49C15F906301}">
      <dsp:nvSpPr>
        <dsp:cNvPr id="0" name=""/>
        <dsp:cNvSpPr/>
      </dsp:nvSpPr>
      <dsp:spPr>
        <a:xfrm>
          <a:off x="0" y="3179801"/>
          <a:ext cx="1839374" cy="521132"/>
        </a:xfrm>
        <a:prstGeom prst="round2SameRect">
          <a:avLst>
            <a:gd name="adj1" fmla="val 16670"/>
            <a:gd name="adj2" fmla="val 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Scientific</a:t>
          </a:r>
        </a:p>
      </dsp:txBody>
      <dsp:txXfrm>
        <a:off x="25444" y="3205245"/>
        <a:ext cx="1788486" cy="495688"/>
      </dsp:txXfrm>
    </dsp:sp>
    <dsp:sp modelId="{76CFFA3A-7BD7-4E55-BE38-5655D02D4C5E}">
      <dsp:nvSpPr>
        <dsp:cNvPr id="0" name=""/>
        <dsp:cNvSpPr/>
      </dsp:nvSpPr>
      <dsp:spPr>
        <a:xfrm>
          <a:off x="0" y="3700933"/>
          <a:ext cx="7074519" cy="104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435" tIns="51435" rIns="51435" bIns="51435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Reactants&gt;Reagents&gt; Products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Conditions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/>
            <a:t>Procedures/Equipment</a:t>
          </a:r>
        </a:p>
      </dsp:txBody>
      <dsp:txXfrm>
        <a:off x="0" y="3700933"/>
        <a:ext cx="7074519" cy="10424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TabList">
  <dgm:title val="Tab List"/>
  <dgm:desc val="Use to show non-sequential or grouped blocks of information. Works well for lists with a small amount of Level 1 text. The first Level 2 displays next to the Level 1 text  and the remaining Level 2 text appears beneath the Level 1 text."/>
  <dgm:catLst>
    <dgm:cat type="list" pri="4500"/>
    <dgm:cat type="officeonline" pri="11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41" srcId="10" destId="11" srcOrd="0" destOrd="0"/>
        <dgm:cxn modelId="42" srcId="10" destId="12" srcOrd="0" destOrd="0"/>
        <dgm:cxn modelId="50" srcId="0" destId="20" srcOrd="1" destOrd="0"/>
        <dgm:cxn modelId="51" srcId="20" destId="21" srcOrd="1" destOrd="0"/>
        <dgm:cxn modelId="52" srcId="20" destId="22" srcOrd="1" destOrd="0"/>
        <dgm:cxn modelId="60" srcId="0" destId="30" srcOrd="2" destOrd="0"/>
        <dgm:cxn modelId="61" srcId="30" destId="31" srcOrd="2" destOrd="0"/>
        <dgm:cxn modelId="62" srcId="30" destId="32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/>
      <dgm:chPref val="3"/>
      <dgm:dir/>
      <dgm:animOne val="branch"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w" for="ch" forName="Child" refType="w"/>
      <dgm:constr type="h" for="ch" forName="Child" refType="h" fact="0.6667"/>
      <dgm:constr type="primFontSz" for="des" forName="Parent" op="equ" val="65"/>
      <dgm:constr type="primFontSz" for="des" forName="Child" op="equ" val="65"/>
      <dgm:constr type="primFontSz" for="des" forName="FirstChild" op="equ" val="65"/>
      <dgm:constr type="primFontSz" for="des" forName="Child" refType="primFontSz" refFor="des" refForName="Parent" op="lte"/>
      <dgm:constr type="primFontSz" for="des" forName="FirstChild" refType="primFontSz" refFor="des" refForName="Parent" op="lte"/>
      <dgm:constr type="primFontSz" for="des" forName="Child" refType="primFontSz" refFor="des" refForName="FirstChild" op="lte"/>
      <dgm:constr type="w" for="ch" forName="composite" refType="w"/>
      <dgm:constr type="h" for="ch" forName="composite" refType="h" fact="0.3333"/>
      <dgm:constr type="sp" refType="h" refFor="ch" refForName="composite" op="equ" fact="0.05"/>
      <dgm:constr type="h" for="ch" forName="sibTrans" refType="h" refFor="ch" refForName="composite" op="equ" fact="0.05"/>
      <dgm:constr type="w" for="ch" forName="sibTrans" refType="h" refFor="ch" refForName="sibTrans" op="equ"/>
    </dgm:constrLst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l" for="ch" forName="FirstChild" refType="w" fact="0.26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l" for="ch" forName="Parent" refType="w" fact="0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if>
          <dgm:else name="Name3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r" for="ch" forName="FirstChild" refType="w" fact="0.74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r" for="ch" forName="Parent" refType="w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else>
        </dgm:choose>
        <dgm:layoutNode name="FirstChild" styleLbl="revTx">
          <dgm:varLst>
            <dgm:chMax val="0"/>
            <dgm:chPref val="0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  <dgm:param type="txAnchorVertCh" val="b"/>
                <dgm:param type="parTxRTLAlign" val="l"/>
              </dgm:alg>
            </dgm:if>
            <dgm:else name="Name6">
              <dgm:alg type="tx">
                <dgm:param type="parTxLTRAlign" val="r"/>
                <dgm:param type="shpTxLTRAlignCh" val="r"/>
                <dgm:param type="txAnchorVert" val="b"/>
                <dgm:param type="txAnchorVertCh" val="b"/>
                <dgm:param type="parTxRTLAlign" val="r"/>
              </dgm:alg>
            </dgm:else>
          </dgm:choose>
          <dgm:shape xmlns:r="http://schemas.openxmlformats.org/officeDocument/2006/relationships" type="rect" r:blip="">
            <dgm:adjLst/>
          </dgm:shape>
          <dgm:choose name="Name7">
            <dgm:if name="Name8" axis="ch" ptType="node" func="cnt" op="gte" val="1">
              <dgm:presOf axis="ch desOrSelf" ptType="node node" st="1 1" cnt="1 0"/>
            </dgm:if>
            <dgm:else name="Name9">
              <dgm:presOf/>
            </dgm:else>
          </dgm:choose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Parent" styleLbl="alignNode1">
          <dgm:varLst>
            <dgm:chMax val="3"/>
            <dgm:chPref val="3"/>
            <dgm:bulletEnabled val="1"/>
          </dgm:varLst>
          <dgm:alg type="tx">
            <dgm:param type="shpTxLTRAlignCh" val="ctr"/>
            <dgm:param type="txAnchorVertCh" val="mid"/>
          </dgm:alg>
          <dgm:shape xmlns:r="http://schemas.openxmlformats.org/officeDocument/2006/relationships" type="round2SameRect" r:blip="">
            <dgm:adjLst>
              <dgm:adj idx="1" val="0.1667"/>
              <dgm:adj idx="2" val="0"/>
            </dgm:adjLst>
          </dgm:shape>
          <dgm:presOf axis="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Accent" styleLbl="parChTrans1D1">
          <dgm:alg type="sp"/>
          <dgm:shape xmlns:r="http://schemas.openxmlformats.org/officeDocument/2006/relationships" type="line" r:blip="" zOrderOff="-99999">
            <dgm:adjLst/>
          </dgm:shape>
          <dgm:presOf/>
        </dgm:layoutNode>
      </dgm:layoutNode>
      <dgm:choose name="Name10">
        <dgm:if name="Name11" axis="ch" ptType="node" st="2" cnt="1" func="cnt" op="gte" val="1">
          <dgm:layoutNode name="Child" styleLbl="revTx">
            <dgm:varLst>
              <dgm:chMax val="0"/>
              <dgm:chPref val="0"/>
              <dgm:bulletEnabled val="1"/>
            </dgm:varLst>
            <dgm:choose name="Name12">
              <dgm:if name="Name13" func="var" arg="dir" op="equ" val="norm">
                <dgm:alg type="tx">
                  <dgm:param type="stBulletLvl" val="1"/>
                  <dgm:param type="parTxLTRAlign" val="l"/>
                  <dgm:param type="parTxRTLAlign" val="l"/>
                  <dgm:param type="txAnchorVert" val="t"/>
                </dgm:alg>
              </dgm:if>
              <dgm:else name="Name14">
                <dgm:alg type="tx">
                  <dgm:param type="stBulletLvl" val="1"/>
                  <dgm:param type="parTxLTRAlign" val="r"/>
                  <dgm:param type="shpTxLTRAlignCh" val="r"/>
                  <dgm:param type="txAnchorVert" val="t"/>
                  <dgm:param type="parTxRTLAlign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ch desOrSelf" ptType="node node" st="2 1" cnt="0 0"/>
            <dgm:constrLst>
              <dgm:constr type="lMarg" refType="primFontSz" fact="0.15"/>
              <dgm:constr type="rMarg" refType="primFontSz" fact="0.15"/>
              <dgm:constr type="tMarg" refType="primFontSz" fact="0.15"/>
              <dgm:constr type="bMarg" refType="primFontSz" fact="0.15"/>
            </dgm:constrLst>
            <dgm:ruleLst>
              <dgm:rule type="primFontSz" val="5" fact="NaN" max="NaN"/>
            </dgm:ruleLst>
          </dgm:layoutNode>
        </dgm:if>
        <dgm:else name="Name15"/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4F6EE3-7F2F-4BB9-AE0E-3009E69D7DCA}" type="datetimeFigureOut">
              <a:rPr lang="de-CH" smtClean="0"/>
              <a:t>16.05.2024</a:t>
            </a:fld>
            <a:endParaRPr lang="de-CH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9A8C5B-0464-4761-90A4-EF1A6F607A70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858792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0" hangingPunct="0">
              <a:spcAft>
                <a:spcPts val="600"/>
              </a:spcAft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0" hangingPunct="0">
              <a:spcAft>
                <a:spcPts val="600"/>
              </a:spcAft>
              <a:defRPr sz="1200"/>
            </a:lvl1pPr>
          </a:lstStyle>
          <a:p>
            <a:pPr>
              <a:defRPr/>
            </a:pPr>
            <a:fld id="{1CD21647-3907-48F4-8324-BD5C5AE4467A}" type="datetimeFigureOut">
              <a:rPr lang="de-DE"/>
              <a:pPr>
                <a:defRPr/>
              </a:pPr>
              <a:t>16.05.2024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CH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0" hangingPunct="0">
              <a:spcAft>
                <a:spcPts val="600"/>
              </a:spcAft>
              <a:defRPr sz="1200"/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0" hangingPunct="0">
              <a:spcAft>
                <a:spcPts val="600"/>
              </a:spcAft>
              <a:defRPr sz="1200"/>
            </a:lvl1pPr>
          </a:lstStyle>
          <a:p>
            <a:pPr>
              <a:defRPr/>
            </a:pPr>
            <a:fld id="{201A48D2-05E1-427F-86AE-0CBA5B27E11C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602812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3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CH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63411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708096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32024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997940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753637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1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430567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1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1406801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89305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en-US" dirty="0"/>
              <a:t>Enriching the data model to connect the relationships by templates</a:t>
            </a:r>
          </a:p>
          <a:p>
            <a:pPr marL="228600" indent="-228600">
              <a:buAutoNum type="arabicPeriod"/>
            </a:pPr>
            <a:r>
              <a:rPr lang="en-US" dirty="0"/>
              <a:t>Link it to experiments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338081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879519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2075" y="744538"/>
            <a:ext cx="6613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5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131792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056365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D9552B-4FF5-4869-9742-DEC74430A54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2792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5"/>
          <p:cNvSpPr txBox="1">
            <a:spLocks noGrp="1" noChangeArrowheads="1"/>
          </p:cNvSpPr>
          <p:nvPr/>
        </p:nvSpPr>
        <p:spPr bwMode="auto">
          <a:xfrm>
            <a:off x="3852016" y="9431477"/>
            <a:ext cx="2947233" cy="498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870" tIns="0" rIns="18870" bIns="0" anchor="b"/>
          <a:lstStyle/>
          <a:p>
            <a:pPr algn="r" defTabSz="939748"/>
            <a:fld id="{D919E725-15F0-4B34-9A86-DB9AC89B74CF}" type="slidenum">
              <a:rPr lang="en-US" i="1">
                <a:solidFill>
                  <a:srgbClr val="000000"/>
                </a:solidFill>
                <a:latin typeface="Times New Roman" pitchFamily="18" charset="0"/>
              </a:rPr>
              <a:pPr algn="r" defTabSz="939748"/>
              <a:t>3</a:t>
            </a:fld>
            <a:endParaRPr lang="en-US" i="1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CA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7073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539564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8847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822722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468388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51148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1A48D2-05E1-427F-86AE-0CBA5B27E11C}" type="slidenum">
              <a:rPr lang="de-CH" smtClean="0"/>
              <a:pPr>
                <a:defRPr/>
              </a:pPr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6878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auto">
          <a:xfrm>
            <a:off x="0" y="2744928"/>
            <a:ext cx="12188825" cy="108008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2852936"/>
            <a:ext cx="12188825" cy="576064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1186" y="6237352"/>
            <a:ext cx="6911417" cy="360000"/>
          </a:xfrm>
        </p:spPr>
        <p:txBody>
          <a:bodyPr wrap="none" anchor="t"/>
          <a:lstStyle>
            <a:lvl1pPr marL="0" indent="0">
              <a:buFont typeface="Arial" charset="0"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909836" y="3933056"/>
            <a:ext cx="6912768" cy="1481807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>
          <a:xfrm>
            <a:off x="8447598" y="6237351"/>
            <a:ext cx="3551470" cy="360000"/>
          </a:xfrm>
        </p:spPr>
        <p:txBody>
          <a:bodyPr anchor="t">
            <a:normAutofit/>
          </a:bodyPr>
          <a:lstStyle>
            <a:lvl1pPr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  <p:pic>
        <p:nvPicPr>
          <p:cNvPr id="10" name="Bild 9" descr="Syngenta icon-01.png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409" y="0"/>
            <a:ext cx="2772000" cy="5544000"/>
          </a:xfrm>
          <a:prstGeom prst="rect">
            <a:avLst/>
          </a:prstGeom>
        </p:spPr>
      </p:pic>
      <p:pic>
        <p:nvPicPr>
          <p:cNvPr id="4" name="Bild 3" descr="Syngenta logo-neg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0167" y="2890757"/>
            <a:ext cx="1440162" cy="513122"/>
          </a:xfrm>
          <a:prstGeom prst="rect">
            <a:avLst/>
          </a:prstGeom>
        </p:spPr>
      </p:pic>
    </p:spTree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5780" y="1196753"/>
            <a:ext cx="5472608" cy="4820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405780" y="260648"/>
            <a:ext cx="11377264" cy="7199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310436" y="1196753"/>
            <a:ext cx="5472608" cy="4820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66729999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5781" y="2060848"/>
            <a:ext cx="5472608" cy="39563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310436" y="2060848"/>
            <a:ext cx="5472608" cy="39563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405781" y="1196752"/>
            <a:ext cx="5472608" cy="575394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quarter" idx="14"/>
          </p:nvPr>
        </p:nvSpPr>
        <p:spPr>
          <a:xfrm>
            <a:off x="6310436" y="1196752"/>
            <a:ext cx="5472608" cy="575394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4399319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437710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2139050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5781" y="1196753"/>
            <a:ext cx="11377263" cy="4820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405780" y="260648"/>
            <a:ext cx="11377264" cy="7199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5780" y="1196753"/>
            <a:ext cx="5472608" cy="4820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405780" y="260648"/>
            <a:ext cx="11377264" cy="7199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310436" y="1196753"/>
            <a:ext cx="5472608" cy="4820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0340443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5781" y="2060848"/>
            <a:ext cx="5472608" cy="39563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310436" y="2060848"/>
            <a:ext cx="5472608" cy="39563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405781" y="1196752"/>
            <a:ext cx="5472608" cy="575394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quarter" idx="14"/>
          </p:nvPr>
        </p:nvSpPr>
        <p:spPr>
          <a:xfrm>
            <a:off x="6310436" y="1196752"/>
            <a:ext cx="5472608" cy="575394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8607615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lassification: Internal Use Only 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547058" y="320400"/>
            <a:ext cx="11377264" cy="10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de-DE"/>
            </a:lvl1pPr>
          </a:lstStyle>
          <a:p>
            <a:pPr lvl="0"/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33C9641-D966-422F-B515-82B535A300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17772" y="5679780"/>
            <a:ext cx="2771053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529089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auto">
          <a:xfrm>
            <a:off x="0" y="2744928"/>
            <a:ext cx="12188825" cy="108008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0" y="2852936"/>
            <a:ext cx="12188825" cy="576064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1186" y="6237352"/>
            <a:ext cx="6911417" cy="360000"/>
          </a:xfrm>
        </p:spPr>
        <p:txBody>
          <a:bodyPr wrap="none" anchor="t"/>
          <a:lstStyle>
            <a:lvl1pPr marL="0" indent="0">
              <a:buFont typeface="Arial" charset="0"/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909836" y="3933056"/>
            <a:ext cx="6912768" cy="1481807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>
          <a:xfrm>
            <a:off x="8447598" y="6237351"/>
            <a:ext cx="3551470" cy="360000"/>
          </a:xfrm>
        </p:spPr>
        <p:txBody>
          <a:bodyPr anchor="t">
            <a:normAutofit/>
          </a:bodyPr>
          <a:lstStyle>
            <a:lvl1pPr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Classification: INTERNAL USE ONLY </a:t>
            </a:r>
          </a:p>
        </p:txBody>
      </p:sp>
      <p:pic>
        <p:nvPicPr>
          <p:cNvPr id="10" name="Bild 9" descr="Syngenta icon-01.png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8409" y="0"/>
            <a:ext cx="2772000" cy="5544000"/>
          </a:xfrm>
          <a:prstGeom prst="rect">
            <a:avLst/>
          </a:prstGeom>
        </p:spPr>
      </p:pic>
      <p:pic>
        <p:nvPicPr>
          <p:cNvPr id="4" name="Bild 3" descr="Syngenta logo-neg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0167" y="2890757"/>
            <a:ext cx="1440162" cy="513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309748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5781" y="1196753"/>
            <a:ext cx="11377263" cy="48204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405780" y="260648"/>
            <a:ext cx="11377264" cy="7199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8284483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05780" y="260648"/>
            <a:ext cx="11377264" cy="719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  <a:endParaRPr lang="en-US" alt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5781" y="1196752"/>
            <a:ext cx="11377264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  <a:endParaRPr lang="en-US" alt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07171" y="6381328"/>
            <a:ext cx="7678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 b="0"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2" name="Rechteck 1"/>
          <p:cNvSpPr/>
          <p:nvPr userDrawn="1"/>
        </p:nvSpPr>
        <p:spPr bwMode="auto">
          <a:xfrm>
            <a:off x="0" y="6309320"/>
            <a:ext cx="12188825" cy="72008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Bild 8" descr="Syngenta logo-01.png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3310" y="6418524"/>
            <a:ext cx="1134258" cy="40413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777" r:id="rId1"/>
    <p:sldLayoutId id="2147484757" r:id="rId2"/>
    <p:sldLayoutId id="2147484781" r:id="rId3"/>
    <p:sldLayoutId id="2147484782" r:id="rId4"/>
    <p:sldLayoutId id="2147484761" r:id="rId5"/>
    <p:sldLayoutId id="2147484762" r:id="rId6"/>
    <p:sldLayoutId id="2147484791" r:id="rId7"/>
  </p:sldLayoutIdLst>
  <p:transition>
    <p:wipe dir="r"/>
  </p:transition>
  <p:hf hdr="0" dt="0"/>
  <p:txStyles>
    <p:titleStyle>
      <a:lvl1pPr algn="l" defTabSz="957263" rtl="0" eaLnBrk="1" fontAlgn="base" hangingPunct="1">
        <a:lnSpc>
          <a:spcPct val="90000"/>
        </a:lnSpc>
        <a:spcBef>
          <a:spcPct val="0"/>
        </a:spcBef>
        <a:spcAft>
          <a:spcPts val="60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defTabSz="957263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Font typeface="Arial" charset="0"/>
        <a:buChar char="●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676275" indent="-276225" algn="l" defTabSz="957263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Font typeface="Arial" charset="0"/>
        <a:buChar char="-"/>
        <a:defRPr sz="1800">
          <a:solidFill>
            <a:schemeClr val="tx1"/>
          </a:solidFill>
          <a:latin typeface="+mn-lt"/>
        </a:defRPr>
      </a:lvl2pPr>
      <a:lvl3pPr marL="1144588" indent="-287338" algn="l" defTabSz="957263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</a:defRPr>
      </a:lvl3pPr>
      <a:lvl4pPr marL="1619250" indent="-295275" algn="l" defTabSz="957263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Font typeface="Arial" charset="0"/>
        <a:buChar char="-"/>
        <a:defRPr sz="1800">
          <a:solidFill>
            <a:schemeClr val="tx1"/>
          </a:solidFill>
          <a:latin typeface="+mn-lt"/>
        </a:defRPr>
      </a:lvl4pPr>
      <a:lvl5pPr marL="2093913" indent="-295275" algn="l" defTabSz="957263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</a:defRPr>
      </a:lvl5pPr>
      <a:lvl6pPr marL="25511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6pPr>
      <a:lvl7pPr marL="30083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7pPr>
      <a:lvl8pPr marL="34655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8pPr>
      <a:lvl9pPr marL="39227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05780" y="260648"/>
            <a:ext cx="11377264" cy="719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  <a:endParaRPr lang="en-US" alt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5781" y="1196752"/>
            <a:ext cx="11377264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  <a:endParaRPr lang="en-US" alt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07171" y="6381328"/>
            <a:ext cx="7678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>
            <a:lvl1pPr eaLnBrk="0" hangingPunct="0">
              <a:spcAft>
                <a:spcPts val="600"/>
              </a:spcAft>
              <a:tabLst>
                <a:tab pos="441325" algn="l"/>
              </a:tabLst>
              <a:defRPr sz="800" b="0"/>
            </a:lvl1pPr>
          </a:lstStyle>
          <a:p>
            <a:pPr>
              <a:defRPr/>
            </a:pPr>
            <a:r>
              <a:rPr lang="en-US"/>
              <a:t>Classification: INTERNAL USE ONLY</a:t>
            </a:r>
          </a:p>
        </p:txBody>
      </p:sp>
      <p:sp>
        <p:nvSpPr>
          <p:cNvPr id="2" name="Rechteck 1"/>
          <p:cNvSpPr/>
          <p:nvPr userDrawn="1"/>
        </p:nvSpPr>
        <p:spPr bwMode="auto">
          <a:xfrm>
            <a:off x="0" y="6309320"/>
            <a:ext cx="12188825" cy="72008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de-DE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607D717-EBD7-4547-9BED-5BE954E67841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9" name="Bild 8" descr="Syngenta logo-01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3310" y="6418524"/>
            <a:ext cx="1134258" cy="404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687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4" r:id="rId1"/>
    <p:sldLayoutId id="2147484785" r:id="rId2"/>
    <p:sldLayoutId id="2147484786" r:id="rId3"/>
    <p:sldLayoutId id="2147484787" r:id="rId4"/>
    <p:sldLayoutId id="2147484788" r:id="rId5"/>
    <p:sldLayoutId id="2147484789" r:id="rId6"/>
  </p:sldLayoutIdLst>
  <p:transition>
    <p:wipe dir="r"/>
  </p:transition>
  <p:hf hdr="0" dt="0"/>
  <p:txStyles>
    <p:titleStyle>
      <a:lvl1pPr algn="l" defTabSz="957263" rtl="0" eaLnBrk="1" fontAlgn="base" hangingPunct="1">
        <a:lnSpc>
          <a:spcPct val="90000"/>
        </a:lnSpc>
        <a:spcBef>
          <a:spcPct val="0"/>
        </a:spcBef>
        <a:spcAft>
          <a:spcPts val="60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defTabSz="95726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285750" indent="-285750" algn="l" defTabSz="957263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Font typeface="Arial" charset="0"/>
        <a:buChar char="●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676275" indent="-276225" algn="l" defTabSz="957263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Font typeface="Arial" charset="0"/>
        <a:buChar char="-"/>
        <a:defRPr sz="1800">
          <a:solidFill>
            <a:schemeClr val="tx1"/>
          </a:solidFill>
          <a:latin typeface="+mn-lt"/>
        </a:defRPr>
      </a:lvl2pPr>
      <a:lvl3pPr marL="1144588" indent="-287338" algn="l" defTabSz="957263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</a:defRPr>
      </a:lvl3pPr>
      <a:lvl4pPr marL="1619250" indent="-295275" algn="l" defTabSz="957263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Font typeface="Arial" charset="0"/>
        <a:buChar char="-"/>
        <a:defRPr sz="1800">
          <a:solidFill>
            <a:schemeClr val="tx1"/>
          </a:solidFill>
          <a:latin typeface="+mn-lt"/>
        </a:defRPr>
      </a:lvl4pPr>
      <a:lvl5pPr marL="2093913" indent="-295275" algn="l" defTabSz="957263" rtl="0" eaLnBrk="1" fontAlgn="base" hangingPunct="1">
        <a:spcBef>
          <a:spcPct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</a:defRPr>
      </a:lvl5pPr>
      <a:lvl6pPr marL="25511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6pPr>
      <a:lvl7pPr marL="30083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7pPr>
      <a:lvl8pPr marL="34655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8pPr>
      <a:lvl9pPr marL="3922713" indent="-295275" algn="l" defTabSz="957263" rtl="0" eaLnBrk="1" fontAlgn="base" hangingPunct="1">
        <a:spcBef>
          <a:spcPct val="0"/>
        </a:spcBef>
        <a:spcAft>
          <a:spcPct val="2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0.svg"/><Relationship Id="rId12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28.emf"/><Relationship Id="rId10" Type="http://schemas.openxmlformats.org/officeDocument/2006/relationships/image" Target="../media/image43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40.svg"/><Relationship Id="rId12" Type="http://schemas.openxmlformats.org/officeDocument/2006/relationships/image" Target="../media/image4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39.png"/><Relationship Id="rId11" Type="http://schemas.openxmlformats.org/officeDocument/2006/relationships/image" Target="../media/image42.png"/><Relationship Id="rId5" Type="http://schemas.openxmlformats.org/officeDocument/2006/relationships/image" Target="../media/image28.emf"/><Relationship Id="rId10" Type="http://schemas.openxmlformats.org/officeDocument/2006/relationships/image" Target="../media/image5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5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40.svg"/><Relationship Id="rId12" Type="http://schemas.microsoft.com/office/2007/relationships/hdphoto" Target="../media/hdphoto2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39.png"/><Relationship Id="rId11" Type="http://schemas.openxmlformats.org/officeDocument/2006/relationships/image" Target="../media/image54.png"/><Relationship Id="rId5" Type="http://schemas.openxmlformats.org/officeDocument/2006/relationships/image" Target="../media/image28.emf"/><Relationship Id="rId10" Type="http://schemas.openxmlformats.org/officeDocument/2006/relationships/image" Target="../media/image53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microsoft.com/office/2007/relationships/hdphoto" Target="../media/hdphoto2.wdp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9.png"/><Relationship Id="rId12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28.emf"/><Relationship Id="rId11" Type="http://schemas.openxmlformats.org/officeDocument/2006/relationships/image" Target="../media/image57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53.png"/><Relationship Id="rId4" Type="http://schemas.openxmlformats.org/officeDocument/2006/relationships/image" Target="../media/image55.png"/><Relationship Id="rId9" Type="http://schemas.openxmlformats.org/officeDocument/2006/relationships/image" Target="../media/image56.png"/><Relationship Id="rId14" Type="http://schemas.openxmlformats.org/officeDocument/2006/relationships/image" Target="../media/image5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40.svg"/><Relationship Id="rId12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39.png"/><Relationship Id="rId11" Type="http://schemas.openxmlformats.org/officeDocument/2006/relationships/image" Target="../media/image62.png"/><Relationship Id="rId5" Type="http://schemas.openxmlformats.org/officeDocument/2006/relationships/image" Target="../media/image28.emf"/><Relationship Id="rId15" Type="http://schemas.openxmlformats.org/officeDocument/2006/relationships/image" Target="../media/image65.png"/><Relationship Id="rId10" Type="http://schemas.openxmlformats.org/officeDocument/2006/relationships/image" Target="../media/image61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0.png"/><Relationship Id="rId14" Type="http://schemas.openxmlformats.org/officeDocument/2006/relationships/hyperlink" Target="https://doi.org/10.26434/chemrxiv-2022-cmrjk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4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39.png"/><Relationship Id="rId5" Type="http://schemas.openxmlformats.org/officeDocument/2006/relationships/image" Target="../media/image28.emf"/><Relationship Id="rId4" Type="http://schemas.openxmlformats.org/officeDocument/2006/relationships/oleObject" Target="../embeddings/oleObject7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40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39.png"/><Relationship Id="rId5" Type="http://schemas.openxmlformats.org/officeDocument/2006/relationships/image" Target="../media/image28.emf"/><Relationship Id="rId10" Type="http://schemas.openxmlformats.org/officeDocument/2006/relationships/image" Target="../media/image68.svg"/><Relationship Id="rId4" Type="http://schemas.openxmlformats.org/officeDocument/2006/relationships/oleObject" Target="../embeddings/oleObject8.bin"/><Relationship Id="rId9" Type="http://schemas.openxmlformats.org/officeDocument/2006/relationships/image" Target="../media/image6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hyperlink" Target="https://doi.org/10.1186/s13321-023-00714-y" TargetMode="External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40.svg"/><Relationship Id="rId12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6" Type="http://schemas.openxmlformats.org/officeDocument/2006/relationships/image" Target="../media/image39.png"/><Relationship Id="rId11" Type="http://schemas.openxmlformats.org/officeDocument/2006/relationships/image" Target="../media/image72.jpg"/><Relationship Id="rId5" Type="http://schemas.openxmlformats.org/officeDocument/2006/relationships/image" Target="../media/image28.emf"/><Relationship Id="rId10" Type="http://schemas.openxmlformats.org/officeDocument/2006/relationships/image" Target="../media/image71.jfif"/><Relationship Id="rId4" Type="http://schemas.openxmlformats.org/officeDocument/2006/relationships/oleObject" Target="../embeddings/oleObject9.bin"/><Relationship Id="rId9" Type="http://schemas.openxmlformats.org/officeDocument/2006/relationships/image" Target="../media/image7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4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8.png"/><Relationship Id="rId26" Type="http://schemas.openxmlformats.org/officeDocument/2006/relationships/image" Target="../media/image16.png"/><Relationship Id="rId3" Type="http://schemas.openxmlformats.org/officeDocument/2006/relationships/tags" Target="../tags/tag3.xml"/><Relationship Id="rId21" Type="http://schemas.openxmlformats.org/officeDocument/2006/relationships/image" Target="../media/image11.jpeg"/><Relationship Id="rId34" Type="http://schemas.openxmlformats.org/officeDocument/2006/relationships/image" Target="../media/image24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7.jpeg"/><Relationship Id="rId25" Type="http://schemas.openxmlformats.org/officeDocument/2006/relationships/image" Target="../media/image15.jpeg"/><Relationship Id="rId33" Type="http://schemas.openxmlformats.org/officeDocument/2006/relationships/image" Target="../media/image23.png"/><Relationship Id="rId2" Type="http://schemas.openxmlformats.org/officeDocument/2006/relationships/tags" Target="../tags/tag2.xml"/><Relationship Id="rId16" Type="http://schemas.openxmlformats.org/officeDocument/2006/relationships/notesSlide" Target="../notesSlides/notesSlide3.xml"/><Relationship Id="rId20" Type="http://schemas.openxmlformats.org/officeDocument/2006/relationships/image" Target="../media/image10.jpeg"/><Relationship Id="rId29" Type="http://schemas.openxmlformats.org/officeDocument/2006/relationships/image" Target="../media/image19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4.jpeg"/><Relationship Id="rId32" Type="http://schemas.openxmlformats.org/officeDocument/2006/relationships/image" Target="../media/image22.png"/><Relationship Id="rId37" Type="http://schemas.openxmlformats.org/officeDocument/2006/relationships/image" Target="../media/image27.jpeg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6.xml"/><Relationship Id="rId23" Type="http://schemas.openxmlformats.org/officeDocument/2006/relationships/image" Target="../media/image13.jpeg"/><Relationship Id="rId28" Type="http://schemas.openxmlformats.org/officeDocument/2006/relationships/image" Target="../media/image18.png"/><Relationship Id="rId36" Type="http://schemas.openxmlformats.org/officeDocument/2006/relationships/image" Target="../media/image26.jpeg"/><Relationship Id="rId10" Type="http://schemas.openxmlformats.org/officeDocument/2006/relationships/tags" Target="../tags/tag10.xml"/><Relationship Id="rId19" Type="http://schemas.openxmlformats.org/officeDocument/2006/relationships/image" Target="../media/image9.jpeg"/><Relationship Id="rId31" Type="http://schemas.openxmlformats.org/officeDocument/2006/relationships/image" Target="../media/image21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2.jpeg"/><Relationship Id="rId27" Type="http://schemas.openxmlformats.org/officeDocument/2006/relationships/image" Target="../media/image17.png"/><Relationship Id="rId30" Type="http://schemas.openxmlformats.org/officeDocument/2006/relationships/image" Target="../media/image20.png"/><Relationship Id="rId35" Type="http://schemas.openxmlformats.org/officeDocument/2006/relationships/image" Target="../media/image2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21/jacs.1c12005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doi.org/10.1038/s41557-022-00910-7" TargetMode="External"/><Relationship Id="rId4" Type="http://schemas.openxmlformats.org/officeDocument/2006/relationships/hyperlink" Target="https://doi.org/10.1021/acsomega.2c05546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microsoft.com/office/2007/relationships/hdphoto" Target="../media/hdphoto1.wdp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emf"/><Relationship Id="rId10" Type="http://schemas.openxmlformats.org/officeDocument/2006/relationships/image" Target="../media/image33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67D0DF8-4CBB-5C23-5F33-1D2D43310CE9}"/>
              </a:ext>
            </a:extLst>
          </p:cNvPr>
          <p:cNvSpPr/>
          <p:nvPr/>
        </p:nvSpPr>
        <p:spPr bwMode="auto">
          <a:xfrm>
            <a:off x="0" y="0"/>
            <a:ext cx="8168640" cy="6858000"/>
          </a:xfrm>
          <a:prstGeom prst="rect">
            <a:avLst/>
          </a:prstGeom>
          <a:gradFill flip="none" rotWithShape="1">
            <a:gsLst>
              <a:gs pos="0">
                <a:srgbClr val="FFFFFF"/>
              </a:gs>
              <a:gs pos="46000">
                <a:srgbClr val="5F7800"/>
              </a:gs>
              <a:gs pos="56000">
                <a:srgbClr val="666633"/>
              </a:gs>
              <a:gs pos="75000">
                <a:srgbClr val="000000"/>
              </a:gs>
            </a:gsLst>
            <a:lin ang="10800000" scaled="1"/>
            <a:tileRect/>
          </a:gra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de-CH" dirty="0">
                <a:solidFill>
                  <a:schemeClr val="bg1"/>
                </a:solidFill>
              </a:rPr>
              <a:t>May 16, 2024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>
          <a:xfrm>
            <a:off x="909836" y="3933056"/>
            <a:ext cx="5826244" cy="1481807"/>
          </a:xfrm>
        </p:spPr>
        <p:txBody>
          <a:bodyPr/>
          <a:lstStyle/>
          <a:p>
            <a:pPr lvl="3" defTabSz="957239">
              <a:lnSpc>
                <a:spcPct val="100000"/>
              </a:lnSpc>
              <a:spcAft>
                <a:spcPts val="600"/>
              </a:spcAft>
            </a:pPr>
            <a:r>
              <a:rPr lang="de-CH" sz="2800" dirty="0">
                <a:solidFill>
                  <a:schemeClr val="bg1"/>
                </a:solidFill>
                <a:latin typeface="+mj-lt"/>
                <a:cs typeface="Arial"/>
              </a:rPr>
              <a:t>Noctis: </a:t>
            </a:r>
            <a:r>
              <a:rPr lang="en-US" sz="2800" dirty="0">
                <a:solidFill>
                  <a:schemeClr val="bg1"/>
                </a:solidFill>
                <a:latin typeface="+mj-lt"/>
                <a:cs typeface="Arial"/>
              </a:rPr>
              <a:t>r</a:t>
            </a:r>
            <a:r>
              <a:rPr lang="en-US" sz="2800" b="1" i="0" dirty="0">
                <a:solidFill>
                  <a:schemeClr val="bg1"/>
                </a:solidFill>
                <a:effectLst/>
                <a:latin typeface="+mj-lt"/>
              </a:rPr>
              <a:t>evealing </a:t>
            </a:r>
            <a:r>
              <a:rPr lang="en-US" sz="2800" dirty="0">
                <a:solidFill>
                  <a:schemeClr val="bg1"/>
                </a:solidFill>
                <a:latin typeface="+mj-lt"/>
              </a:rPr>
              <a:t>c</a:t>
            </a:r>
            <a:r>
              <a:rPr lang="en-US" sz="2800" b="1" i="0" dirty="0">
                <a:solidFill>
                  <a:schemeClr val="bg1"/>
                </a:solidFill>
                <a:effectLst/>
                <a:latin typeface="+mj-lt"/>
              </a:rPr>
              <a:t>hemical </a:t>
            </a:r>
            <a:r>
              <a:rPr lang="en-US" sz="2800" dirty="0">
                <a:solidFill>
                  <a:schemeClr val="bg1"/>
                </a:solidFill>
                <a:latin typeface="+mj-lt"/>
              </a:rPr>
              <a:t>p</a:t>
            </a:r>
            <a:r>
              <a:rPr lang="en-US" sz="2800" b="1" i="0" dirty="0">
                <a:solidFill>
                  <a:schemeClr val="bg1"/>
                </a:solidFill>
                <a:effectLst/>
                <a:latin typeface="+mj-lt"/>
              </a:rPr>
              <a:t>athways in </a:t>
            </a:r>
            <a:r>
              <a:rPr lang="en-US" sz="2800" dirty="0">
                <a:solidFill>
                  <a:schemeClr val="bg1"/>
                </a:solidFill>
                <a:latin typeface="+mj-lt"/>
              </a:rPr>
              <a:t>r</a:t>
            </a:r>
            <a:r>
              <a:rPr lang="en-US" sz="2800" b="1" i="0" dirty="0">
                <a:solidFill>
                  <a:schemeClr val="bg1"/>
                </a:solidFill>
                <a:effectLst/>
                <a:latin typeface="+mj-lt"/>
              </a:rPr>
              <a:t>eaction data</a:t>
            </a:r>
            <a:br>
              <a:rPr lang="en-US" sz="2800" b="1" i="0" dirty="0">
                <a:solidFill>
                  <a:schemeClr val="bg1"/>
                </a:solidFill>
                <a:effectLst/>
                <a:latin typeface="+mj-lt"/>
              </a:rPr>
            </a:br>
            <a:endParaRPr lang="en-US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Classification: Public us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AD1171-D9D0-0A9E-CEAF-933100490CFA}"/>
              </a:ext>
            </a:extLst>
          </p:cNvPr>
          <p:cNvSpPr txBox="1"/>
          <p:nvPr/>
        </p:nvSpPr>
        <p:spPr bwMode="auto">
          <a:xfrm>
            <a:off x="909836" y="5608404"/>
            <a:ext cx="3083324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de-CH" sz="1600" u="sng" kern="0" dirty="0">
                <a:solidFill>
                  <a:schemeClr val="bg1"/>
                </a:solidFill>
                <a:latin typeface="+mn-lt"/>
              </a:rPr>
              <a:t>Nataliya Lopanitsyna</a:t>
            </a:r>
            <a:r>
              <a:rPr lang="de-CH" sz="1600" kern="0" dirty="0">
                <a:solidFill>
                  <a:schemeClr val="bg1"/>
                </a:solidFill>
                <a:latin typeface="+mn-lt"/>
              </a:rPr>
              <a:t>, Marco Stenta</a:t>
            </a:r>
            <a:endParaRPr lang="en-US" sz="1600" kern="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45700E-76BE-6318-BC4D-5CF84DB4E4D0}"/>
              </a:ext>
            </a:extLst>
          </p:cNvPr>
          <p:cNvSpPr/>
          <p:nvPr/>
        </p:nvSpPr>
        <p:spPr bwMode="auto">
          <a:xfrm>
            <a:off x="0" y="2743200"/>
            <a:ext cx="8168640" cy="685800"/>
          </a:xfrm>
          <a:prstGeom prst="rect">
            <a:avLst/>
          </a:prstGeom>
          <a:solidFill>
            <a:srgbClr val="AAB400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2D4249D-24B9-CC33-ED1D-EDADED70C3B0}"/>
              </a:ext>
            </a:extLst>
          </p:cNvPr>
          <p:cNvSpPr/>
          <p:nvPr/>
        </p:nvSpPr>
        <p:spPr bwMode="auto">
          <a:xfrm>
            <a:off x="0" y="2854960"/>
            <a:ext cx="8168640" cy="574040"/>
          </a:xfrm>
          <a:prstGeom prst="rect">
            <a:avLst/>
          </a:prstGeom>
          <a:solidFill>
            <a:srgbClr val="5F7800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9" name="Star: 4 Points 8">
            <a:extLst>
              <a:ext uri="{FF2B5EF4-FFF2-40B4-BE49-F238E27FC236}">
                <a16:creationId xmlns:a16="http://schemas.microsoft.com/office/drawing/2014/main" id="{4B500657-B248-19AE-56BE-A11F5C17AA16}"/>
              </a:ext>
            </a:extLst>
          </p:cNvPr>
          <p:cNvSpPr/>
          <p:nvPr/>
        </p:nvSpPr>
        <p:spPr bwMode="auto">
          <a:xfrm>
            <a:off x="1097280" y="840767"/>
            <a:ext cx="355600" cy="498257"/>
          </a:xfrm>
          <a:prstGeom prst="star4">
            <a:avLst/>
          </a:prstGeom>
          <a:solidFill>
            <a:schemeClr val="bg1">
              <a:lumMod val="95000"/>
              <a:alpha val="80000"/>
            </a:schemeClr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glow rad="165100">
              <a:schemeClr val="tx1">
                <a:lumMod val="20000"/>
                <a:lumOff val="80000"/>
                <a:alpha val="40000"/>
              </a:schemeClr>
            </a:glow>
          </a:effectLst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10" name="Star: 4 Points 9">
            <a:extLst>
              <a:ext uri="{FF2B5EF4-FFF2-40B4-BE49-F238E27FC236}">
                <a16:creationId xmlns:a16="http://schemas.microsoft.com/office/drawing/2014/main" id="{AA935C8E-D98B-3A4F-5402-74FEC4D9C649}"/>
              </a:ext>
            </a:extLst>
          </p:cNvPr>
          <p:cNvSpPr/>
          <p:nvPr/>
        </p:nvSpPr>
        <p:spPr bwMode="auto">
          <a:xfrm>
            <a:off x="2773680" y="2438192"/>
            <a:ext cx="355600" cy="498257"/>
          </a:xfrm>
          <a:prstGeom prst="star4">
            <a:avLst/>
          </a:prstGeom>
          <a:solidFill>
            <a:schemeClr val="bg1">
              <a:lumMod val="95000"/>
              <a:alpha val="80000"/>
            </a:schemeClr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glow rad="165100">
              <a:schemeClr val="tx1">
                <a:lumMod val="20000"/>
                <a:lumOff val="80000"/>
                <a:alpha val="40000"/>
              </a:schemeClr>
            </a:glow>
          </a:effectLst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11" name="Star: 4 Points 10">
            <a:extLst>
              <a:ext uri="{FF2B5EF4-FFF2-40B4-BE49-F238E27FC236}">
                <a16:creationId xmlns:a16="http://schemas.microsoft.com/office/drawing/2014/main" id="{727A5E9D-70E5-1372-F63F-5F2986792569}"/>
              </a:ext>
            </a:extLst>
          </p:cNvPr>
          <p:cNvSpPr/>
          <p:nvPr/>
        </p:nvSpPr>
        <p:spPr bwMode="auto">
          <a:xfrm>
            <a:off x="182880" y="3540760"/>
            <a:ext cx="254000" cy="392296"/>
          </a:xfrm>
          <a:prstGeom prst="star4">
            <a:avLst/>
          </a:prstGeom>
          <a:solidFill>
            <a:schemeClr val="bg1">
              <a:lumMod val="95000"/>
              <a:alpha val="80000"/>
            </a:schemeClr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glow rad="165100">
              <a:schemeClr val="tx1">
                <a:lumMod val="20000"/>
                <a:lumOff val="80000"/>
                <a:alpha val="40000"/>
              </a:schemeClr>
            </a:glow>
          </a:effectLst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12" name="Star: 4 Points 11">
            <a:extLst>
              <a:ext uri="{FF2B5EF4-FFF2-40B4-BE49-F238E27FC236}">
                <a16:creationId xmlns:a16="http://schemas.microsoft.com/office/drawing/2014/main" id="{4D3CB8EF-472F-15C5-989D-B2D2FC8AF1C1}"/>
              </a:ext>
            </a:extLst>
          </p:cNvPr>
          <p:cNvSpPr/>
          <p:nvPr/>
        </p:nvSpPr>
        <p:spPr bwMode="auto">
          <a:xfrm>
            <a:off x="1849120" y="5151634"/>
            <a:ext cx="294640" cy="360000"/>
          </a:xfrm>
          <a:prstGeom prst="star4">
            <a:avLst/>
          </a:prstGeom>
          <a:solidFill>
            <a:schemeClr val="bg1">
              <a:lumMod val="95000"/>
              <a:alpha val="80000"/>
            </a:schemeClr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glow rad="165100">
              <a:schemeClr val="tx1">
                <a:lumMod val="20000"/>
                <a:lumOff val="80000"/>
                <a:alpha val="40000"/>
              </a:schemeClr>
            </a:glow>
          </a:effectLst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8891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31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462F0D-0667-0641-986B-9ACDAE579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462F0D-0667-0641-986B-9ACDAE579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8F92D29D-B629-4D8F-A5E6-F51B9BFDAA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bg1"/>
                </a:solidFill>
              </a:rPr>
              <a:t>Classification: PUBLIC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9F11A7-3B14-466B-ABB0-9AE773AC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ja-JP" dirty="0">
                <a:solidFill>
                  <a:schemeClr val="bg1"/>
                </a:solidFill>
              </a:rPr>
              <a:t>What is inside?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A9BA59CD-38E2-4A16-AF15-58BC88EBAB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de-DE" smtClean="0">
                <a:solidFill>
                  <a:schemeClr val="bg1"/>
                </a:solidFill>
              </a:rPr>
              <a:pPr/>
              <a:t>10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122" name="Graphic 5121">
            <a:extLst>
              <a:ext uri="{FF2B5EF4-FFF2-40B4-BE49-F238E27FC236}">
                <a16:creationId xmlns:a16="http://schemas.microsoft.com/office/drawing/2014/main" id="{9CEF06BE-2A0B-55A3-F9E4-2EE7B98C0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8215" y="6432615"/>
            <a:ext cx="1109670" cy="366259"/>
          </a:xfrm>
          <a:prstGeom prst="rect">
            <a:avLst/>
          </a:prstGeom>
        </p:spPr>
      </p:pic>
      <p:pic>
        <p:nvPicPr>
          <p:cNvPr id="9" name="Picture 8" descr="A logo with a moon and stars&#10;&#10;Description automatically generated">
            <a:extLst>
              <a:ext uri="{FF2B5EF4-FFF2-40B4-BE49-F238E27FC236}">
                <a16:creationId xmlns:a16="http://schemas.microsoft.com/office/drawing/2014/main" id="{31D3BAE2-E257-EF53-2667-F19DC02A93C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48" t="4359" r="29435" b="11205"/>
          <a:stretch/>
        </p:blipFill>
        <p:spPr>
          <a:xfrm>
            <a:off x="5213219" y="0"/>
            <a:ext cx="1762385" cy="200042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631E8B2-5A82-692A-72FA-CF8FDE52D9CF}"/>
              </a:ext>
            </a:extLst>
          </p:cNvPr>
          <p:cNvGrpSpPr/>
          <p:nvPr/>
        </p:nvGrpSpPr>
        <p:grpSpPr>
          <a:xfrm>
            <a:off x="1083208" y="1686716"/>
            <a:ext cx="2696598" cy="1068142"/>
            <a:chOff x="488327" y="1651474"/>
            <a:chExt cx="2696598" cy="1068142"/>
          </a:xfrm>
        </p:grpSpPr>
        <p:pic>
          <p:nvPicPr>
            <p:cNvPr id="13" name="Graphic 12" descr="Document with solid fill">
              <a:extLst>
                <a:ext uri="{FF2B5EF4-FFF2-40B4-BE49-F238E27FC236}">
                  <a16:creationId xmlns:a16="http://schemas.microsoft.com/office/drawing/2014/main" id="{F66A447B-C2F4-14FE-3BE5-4351B868F09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88327" y="1651474"/>
              <a:ext cx="1068142" cy="1068142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9239A0DC-9155-7823-8972-30F12A968E09}"/>
                </a:ext>
              </a:extLst>
            </p:cNvPr>
            <p:cNvSpPr txBox="1"/>
            <p:nvPr/>
          </p:nvSpPr>
          <p:spPr bwMode="auto">
            <a:xfrm>
              <a:off x="1556469" y="1867328"/>
              <a:ext cx="1628456" cy="476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sz="2400" kern="0" dirty="0">
                  <a:solidFill>
                    <a:schemeClr val="bg1"/>
                  </a:solidFill>
                  <a:latin typeface="Arial"/>
                </a:rPr>
                <a:t>Chemical strings </a:t>
              </a:r>
            </a:p>
          </p:txBody>
        </p:sp>
      </p:grpSp>
      <p:pic>
        <p:nvPicPr>
          <p:cNvPr id="5" name="Picture 2">
            <a:extLst>
              <a:ext uri="{FF2B5EF4-FFF2-40B4-BE49-F238E27FC236}">
                <a16:creationId xmlns:a16="http://schemas.microsoft.com/office/drawing/2014/main" id="{F4FD8AEE-3E1E-B4AC-C251-C581516F89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7703" y="4257868"/>
            <a:ext cx="1282968" cy="481498"/>
          </a:xfrm>
          <a:prstGeom prst="rect">
            <a:avLst/>
          </a:prstGeom>
          <a:noFill/>
          <a:effectLst>
            <a:glow rad="1270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33B29C8D-3337-3EA5-7CBB-C113472A056C}"/>
              </a:ext>
            </a:extLst>
          </p:cNvPr>
          <p:cNvGrpSpPr/>
          <p:nvPr/>
        </p:nvGrpSpPr>
        <p:grpSpPr>
          <a:xfrm>
            <a:off x="1328154" y="3606677"/>
            <a:ext cx="2451652" cy="1325218"/>
            <a:chOff x="504958" y="3615782"/>
            <a:chExt cx="2451652" cy="1325218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A412441-EE68-7CE4-1885-7463B4E0C48B}"/>
                </a:ext>
              </a:extLst>
            </p:cNvPr>
            <p:cNvSpPr/>
            <p:nvPr/>
          </p:nvSpPr>
          <p:spPr bwMode="auto">
            <a:xfrm>
              <a:off x="504958" y="3615782"/>
              <a:ext cx="2451652" cy="1325218"/>
            </a:xfrm>
            <a:prstGeom prst="roundRect">
              <a:avLst/>
            </a:prstGeom>
            <a:noFill/>
            <a:ln w="5715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B0A0224-2190-5150-D0A1-D0F5C845FE84}"/>
                </a:ext>
              </a:extLst>
            </p:cNvPr>
            <p:cNvSpPr txBox="1"/>
            <p:nvPr/>
          </p:nvSpPr>
          <p:spPr bwMode="auto">
            <a:xfrm>
              <a:off x="916556" y="3868816"/>
              <a:ext cx="1628456" cy="476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sz="2400" kern="0" dirty="0">
                  <a:solidFill>
                    <a:schemeClr val="bg1"/>
                  </a:solidFill>
                  <a:latin typeface="Arial"/>
                </a:rPr>
                <a:t>Translation modul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74B8F56-D59F-B3F1-84E5-5A2C708B0CE7}"/>
              </a:ext>
            </a:extLst>
          </p:cNvPr>
          <p:cNvGrpSpPr/>
          <p:nvPr/>
        </p:nvGrpSpPr>
        <p:grpSpPr>
          <a:xfrm>
            <a:off x="4993570" y="3606677"/>
            <a:ext cx="2451652" cy="1325218"/>
            <a:chOff x="3973807" y="3608738"/>
            <a:chExt cx="2451652" cy="1325218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6EC3B9AB-5C77-F5CE-6FD7-24027A4EF129}"/>
                </a:ext>
              </a:extLst>
            </p:cNvPr>
            <p:cNvSpPr/>
            <p:nvPr/>
          </p:nvSpPr>
          <p:spPr bwMode="auto">
            <a:xfrm>
              <a:off x="3973807" y="3608738"/>
              <a:ext cx="2451652" cy="1325218"/>
            </a:xfrm>
            <a:prstGeom prst="roundRect">
              <a:avLst/>
            </a:prstGeom>
            <a:noFill/>
            <a:ln w="5715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529FE07-C492-0646-30B3-D9E733C1ADC7}"/>
                </a:ext>
              </a:extLst>
            </p:cNvPr>
            <p:cNvSpPr txBox="1"/>
            <p:nvPr/>
          </p:nvSpPr>
          <p:spPr bwMode="auto">
            <a:xfrm>
              <a:off x="4385405" y="3864960"/>
              <a:ext cx="1628456" cy="476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sz="2400" kern="0" dirty="0">
                  <a:solidFill>
                    <a:schemeClr val="bg1"/>
                  </a:solidFill>
                  <a:latin typeface="Arial"/>
                </a:rPr>
                <a:t>Internal data class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5671F4F-B6B8-D533-2E86-8ED43F090630}"/>
              </a:ext>
            </a:extLst>
          </p:cNvPr>
          <p:cNvGrpSpPr/>
          <p:nvPr/>
        </p:nvGrpSpPr>
        <p:grpSpPr>
          <a:xfrm>
            <a:off x="8720183" y="3611255"/>
            <a:ext cx="2451652" cy="1325218"/>
            <a:chOff x="7671380" y="3615782"/>
            <a:chExt cx="2451652" cy="1325218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556837DF-A715-3AC1-DD4A-A2B8E16F0EFF}"/>
                </a:ext>
              </a:extLst>
            </p:cNvPr>
            <p:cNvSpPr/>
            <p:nvPr/>
          </p:nvSpPr>
          <p:spPr bwMode="auto">
            <a:xfrm>
              <a:off x="7671380" y="3615782"/>
              <a:ext cx="2451652" cy="1325218"/>
            </a:xfrm>
            <a:prstGeom prst="roundRect">
              <a:avLst/>
            </a:prstGeom>
            <a:noFill/>
            <a:ln w="57150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EE0B068-CCB9-6AA3-5BC5-5472799ED6B0}"/>
                </a:ext>
              </a:extLst>
            </p:cNvPr>
            <p:cNvSpPr txBox="1"/>
            <p:nvPr/>
          </p:nvSpPr>
          <p:spPr bwMode="auto">
            <a:xfrm>
              <a:off x="8102639" y="3849914"/>
              <a:ext cx="1628456" cy="476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sz="2400" kern="0" dirty="0">
                  <a:solidFill>
                    <a:schemeClr val="bg1"/>
                  </a:solidFill>
                  <a:latin typeface="Arial"/>
                </a:rPr>
                <a:t>Repository</a:t>
              </a:r>
            </a:p>
          </p:txBody>
        </p:sp>
      </p:grp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8BFD51AC-692E-8A9B-E43D-E3417F7F3DFE}"/>
              </a:ext>
            </a:extLst>
          </p:cNvPr>
          <p:cNvCxnSpPr>
            <a:cxnSpLocks/>
            <a:endCxn id="6" idx="0"/>
          </p:cNvCxnSpPr>
          <p:nvPr/>
        </p:nvCxnSpPr>
        <p:spPr bwMode="auto">
          <a:xfrm>
            <a:off x="2252870" y="2998289"/>
            <a:ext cx="301110" cy="608388"/>
          </a:xfrm>
          <a:prstGeom prst="straightConnector1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7B374FD6-A1D6-681F-7348-A6B8AA31EB08}"/>
              </a:ext>
            </a:extLst>
          </p:cNvPr>
          <p:cNvCxnSpPr>
            <a:cxnSpLocks/>
          </p:cNvCxnSpPr>
          <p:nvPr/>
        </p:nvCxnSpPr>
        <p:spPr bwMode="auto">
          <a:xfrm>
            <a:off x="3779806" y="4147983"/>
            <a:ext cx="1213764" cy="0"/>
          </a:xfrm>
          <a:prstGeom prst="straightConnector1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771F5492-0BB3-C583-E03F-8AD1FD0D3A60}"/>
              </a:ext>
            </a:extLst>
          </p:cNvPr>
          <p:cNvCxnSpPr>
            <a:cxnSpLocks/>
          </p:cNvCxnSpPr>
          <p:nvPr/>
        </p:nvCxnSpPr>
        <p:spPr bwMode="auto">
          <a:xfrm>
            <a:off x="7445222" y="4134518"/>
            <a:ext cx="1265630" cy="0"/>
          </a:xfrm>
          <a:prstGeom prst="straightConnector1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sm" len="sm"/>
            <a:tailEnd type="triangle"/>
          </a:ln>
          <a:effectLst/>
        </p:spPr>
      </p:cxnSp>
      <p:pic>
        <p:nvPicPr>
          <p:cNvPr id="1024" name="Picture 1023" descr="A blue circles with white dots&#10;&#10;Description automatically generated">
            <a:extLst>
              <a:ext uri="{FF2B5EF4-FFF2-40B4-BE49-F238E27FC236}">
                <a16:creationId xmlns:a16="http://schemas.microsoft.com/office/drawing/2014/main" id="{A5B42BFE-A8A6-9FD1-670E-79547E59BE2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634351">
            <a:off x="8971901" y="-486493"/>
            <a:ext cx="3649083" cy="3603471"/>
          </a:xfrm>
          <a:prstGeom prst="rect">
            <a:avLst/>
          </a:prstGeom>
          <a:noFill/>
          <a:effectLst>
            <a:glow rad="12700">
              <a:schemeClr val="bg1">
                <a:alpha val="40000"/>
              </a:schemeClr>
            </a:glow>
          </a:effectLst>
        </p:spPr>
      </p:pic>
      <p:cxnSp>
        <p:nvCxnSpPr>
          <p:cNvPr id="1025" name="Straight Arrow Connector 1024">
            <a:extLst>
              <a:ext uri="{FF2B5EF4-FFF2-40B4-BE49-F238E27FC236}">
                <a16:creationId xmlns:a16="http://schemas.microsoft.com/office/drawing/2014/main" id="{0ED2BCDC-872F-3D29-10E9-230ECBF9310E}"/>
              </a:ext>
            </a:extLst>
          </p:cNvPr>
          <p:cNvCxnSpPr>
            <a:cxnSpLocks/>
          </p:cNvCxnSpPr>
          <p:nvPr/>
        </p:nvCxnSpPr>
        <p:spPr bwMode="auto">
          <a:xfrm flipV="1">
            <a:off x="9902496" y="2998289"/>
            <a:ext cx="328181" cy="630784"/>
          </a:xfrm>
          <a:prstGeom prst="straightConnector1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sm" len="sm"/>
            <a:tailEnd type="triangle"/>
          </a:ln>
          <a:effectLst/>
        </p:spPr>
      </p:cxnSp>
      <p:pic>
        <p:nvPicPr>
          <p:cNvPr id="1031" name="Picture 2">
            <a:extLst>
              <a:ext uri="{FF2B5EF4-FFF2-40B4-BE49-F238E27FC236}">
                <a16:creationId xmlns:a16="http://schemas.microsoft.com/office/drawing/2014/main" id="{E9A3FD4B-AE2E-654F-D21E-A8F100E954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37"/>
          <a:stretch/>
        </p:blipFill>
        <p:spPr bwMode="auto">
          <a:xfrm>
            <a:off x="5709243" y="2204739"/>
            <a:ext cx="838437" cy="796601"/>
          </a:xfrm>
          <a:prstGeom prst="rect">
            <a:avLst/>
          </a:prstGeom>
          <a:noFill/>
          <a:effectLst>
            <a:glow rad="762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2" name="TextBox 1031">
            <a:extLst>
              <a:ext uri="{FF2B5EF4-FFF2-40B4-BE49-F238E27FC236}">
                <a16:creationId xmlns:a16="http://schemas.microsoft.com/office/drawing/2014/main" id="{CCC570B3-20E2-28D1-8B43-592ACAAA2310}"/>
              </a:ext>
            </a:extLst>
          </p:cNvPr>
          <p:cNvSpPr txBox="1"/>
          <p:nvPr/>
        </p:nvSpPr>
        <p:spPr bwMode="auto">
          <a:xfrm>
            <a:off x="5213219" y="5718720"/>
            <a:ext cx="2451651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</a:rPr>
              <a:t>Open source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3C99F747-DF01-4651-A61D-22B831DE14A5}"/>
              </a:ext>
            </a:extLst>
          </p:cNvPr>
          <p:cNvCxnSpPr>
            <a:cxnSpLocks/>
          </p:cNvCxnSpPr>
          <p:nvPr/>
        </p:nvCxnSpPr>
        <p:spPr bwMode="auto">
          <a:xfrm flipH="1">
            <a:off x="3779806" y="4552312"/>
            <a:ext cx="1213764" cy="0"/>
          </a:xfrm>
          <a:prstGeom prst="straightConnector1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192885DC-A46F-ADBB-982A-66E095ADD08A}"/>
              </a:ext>
            </a:extLst>
          </p:cNvPr>
          <p:cNvCxnSpPr>
            <a:cxnSpLocks/>
          </p:cNvCxnSpPr>
          <p:nvPr/>
        </p:nvCxnSpPr>
        <p:spPr bwMode="auto">
          <a:xfrm flipH="1">
            <a:off x="7463884" y="4526404"/>
            <a:ext cx="1256299" cy="0"/>
          </a:xfrm>
          <a:prstGeom prst="straightConnector1">
            <a:avLst/>
          </a:prstGeom>
          <a:solidFill>
            <a:schemeClr val="accent2"/>
          </a:solidFill>
          <a:ln w="57150" cap="flat" cmpd="sng" algn="ctr">
            <a:solidFill>
              <a:schemeClr val="bg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BC74F7C-0896-5F93-87FF-54F693189896}"/>
              </a:ext>
            </a:extLst>
          </p:cNvPr>
          <p:cNvSpPr txBox="1"/>
          <p:nvPr/>
        </p:nvSpPr>
        <p:spPr bwMode="auto">
          <a:xfrm>
            <a:off x="7143558" y="443451"/>
            <a:ext cx="2373669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</a:rPr>
              <a:t>populates</a:t>
            </a:r>
          </a:p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</a:rPr>
              <a:t>interacts with </a:t>
            </a:r>
          </a:p>
        </p:txBody>
      </p:sp>
    </p:spTree>
    <p:extLst>
      <p:ext uri="{BB962C8B-B14F-4D97-AF65-F5344CB8AC3E}">
        <p14:creationId xmlns:p14="http://schemas.microsoft.com/office/powerpoint/2010/main" val="178096331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31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462F0D-0667-0641-986B-9ACDAE579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462F0D-0667-0641-986B-9ACDAE579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8F92D29D-B629-4D8F-A5E6-F51B9BFDAA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bg1"/>
                </a:solidFill>
              </a:rPr>
              <a:t>Classification: PUBLIC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9F11A7-3B14-466B-ABB0-9AE773AC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ja-JP" dirty="0">
                <a:solidFill>
                  <a:schemeClr val="bg1"/>
                </a:solidFill>
              </a:rPr>
              <a:t>Noctis: population of the graph DB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5" name="左中かっこ 4">
            <a:extLst>
              <a:ext uri="{FF2B5EF4-FFF2-40B4-BE49-F238E27FC236}">
                <a16:creationId xmlns:a16="http://schemas.microsoft.com/office/drawing/2014/main" id="{E39C8FA4-4CFC-459C-A8DA-4825A30CA044}"/>
              </a:ext>
            </a:extLst>
          </p:cNvPr>
          <p:cNvSpPr/>
          <p:nvPr/>
        </p:nvSpPr>
        <p:spPr bwMode="auto">
          <a:xfrm>
            <a:off x="2349996" y="1847540"/>
            <a:ext cx="194697" cy="1699786"/>
          </a:xfrm>
          <a:prstGeom prst="leftBrace">
            <a:avLst/>
          </a:prstGeom>
          <a:ln w="28575">
            <a:solidFill>
              <a:schemeClr val="bg1"/>
            </a:solidFill>
            <a:headEnd type="none" w="sm" len="sm"/>
            <a:tailEnd type="none" w="sm" len="sm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4D02EBF-91C6-4C8C-B498-908118B5ADAC}"/>
              </a:ext>
            </a:extLst>
          </p:cNvPr>
          <p:cNvSpPr txBox="1"/>
          <p:nvPr/>
        </p:nvSpPr>
        <p:spPr bwMode="auto">
          <a:xfrm>
            <a:off x="275675" y="1804952"/>
            <a:ext cx="1827849" cy="14961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High Quality data</a:t>
            </a:r>
          </a:p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Tailored interfaces</a:t>
            </a:r>
          </a:p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Negative results</a:t>
            </a:r>
          </a:p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High relevance</a:t>
            </a:r>
          </a:p>
        </p:txBody>
      </p:sp>
      <p:sp>
        <p:nvSpPr>
          <p:cNvPr id="17" name="左中かっこ 16">
            <a:extLst>
              <a:ext uri="{FF2B5EF4-FFF2-40B4-BE49-F238E27FC236}">
                <a16:creationId xmlns:a16="http://schemas.microsoft.com/office/drawing/2014/main" id="{6448A535-04D2-4DB6-BDD5-F56B8C157CE3}"/>
              </a:ext>
            </a:extLst>
          </p:cNvPr>
          <p:cNvSpPr/>
          <p:nvPr/>
        </p:nvSpPr>
        <p:spPr bwMode="auto">
          <a:xfrm>
            <a:off x="2297620" y="3643392"/>
            <a:ext cx="247073" cy="1162675"/>
          </a:xfrm>
          <a:prstGeom prst="leftBrace">
            <a:avLst/>
          </a:prstGeom>
          <a:ln w="28575">
            <a:solidFill>
              <a:schemeClr val="bg1"/>
            </a:solidFill>
            <a:headEnd type="none" w="sm" len="sm"/>
            <a:tailEnd type="none" w="sm" len="sm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EADA1D9-BAF1-4F1F-9C8B-C15850A7529A}"/>
              </a:ext>
            </a:extLst>
          </p:cNvPr>
          <p:cNvSpPr txBox="1"/>
          <p:nvPr/>
        </p:nvSpPr>
        <p:spPr bwMode="auto">
          <a:xfrm>
            <a:off x="326661" y="3724615"/>
            <a:ext cx="2528852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High Volume Data</a:t>
            </a:r>
          </a:p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Lower quality</a:t>
            </a:r>
          </a:p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chemeClr val="bg1"/>
                </a:solidFill>
                <a:latin typeface="Arial"/>
              </a:rPr>
              <a:t>Large amounts</a:t>
            </a: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A9BA59CD-38E2-4A16-AF15-58BC88EBAB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de-DE" smtClean="0">
                <a:solidFill>
                  <a:schemeClr val="bg1"/>
                </a:solidFill>
              </a:rPr>
              <a:pPr/>
              <a:t>11</a:t>
            </a:fld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テキスト ボックス 15">
            <a:extLst>
              <a:ext uri="{FF2B5EF4-FFF2-40B4-BE49-F238E27FC236}">
                <a16:creationId xmlns:a16="http://schemas.microsoft.com/office/drawing/2014/main" id="{B9F26C38-1B99-8E6A-F9EB-F61401C69554}"/>
              </a:ext>
            </a:extLst>
          </p:cNvPr>
          <p:cNvSpPr txBox="1"/>
          <p:nvPr/>
        </p:nvSpPr>
        <p:spPr bwMode="auto">
          <a:xfrm>
            <a:off x="9748710" y="3934778"/>
            <a:ext cx="2542395" cy="349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chemeClr val="bg1"/>
                </a:solidFill>
                <a:latin typeface="Arial"/>
              </a:rPr>
              <a:t>Graph database</a:t>
            </a:r>
          </a:p>
        </p:txBody>
      </p:sp>
      <p:sp>
        <p:nvSpPr>
          <p:cNvPr id="3" name="テキスト ボックス 15">
            <a:extLst>
              <a:ext uri="{FF2B5EF4-FFF2-40B4-BE49-F238E27FC236}">
                <a16:creationId xmlns:a16="http://schemas.microsoft.com/office/drawing/2014/main" id="{3198F8FD-BE91-7E20-3D5A-DA332AC575A6}"/>
              </a:ext>
            </a:extLst>
          </p:cNvPr>
          <p:cNvSpPr txBox="1"/>
          <p:nvPr/>
        </p:nvSpPr>
        <p:spPr bwMode="auto">
          <a:xfrm>
            <a:off x="6312473" y="3919747"/>
            <a:ext cx="2542395" cy="349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chemeClr val="bg1"/>
                </a:solidFill>
                <a:latin typeface="Arial"/>
              </a:rPr>
              <a:t>Document-based</a:t>
            </a:r>
            <a:br>
              <a:rPr lang="en-US" sz="1800" kern="0" dirty="0">
                <a:solidFill>
                  <a:schemeClr val="bg1"/>
                </a:solidFill>
                <a:latin typeface="Arial"/>
              </a:rPr>
            </a:br>
            <a:r>
              <a:rPr lang="en-US" sz="1800" kern="0" dirty="0">
                <a:solidFill>
                  <a:schemeClr val="bg1"/>
                </a:solidFill>
                <a:latin typeface="Arial"/>
              </a:rPr>
              <a:t>database</a:t>
            </a:r>
          </a:p>
        </p:txBody>
      </p:sp>
      <p:pic>
        <p:nvPicPr>
          <p:cNvPr id="5122" name="Graphic 5121">
            <a:extLst>
              <a:ext uri="{FF2B5EF4-FFF2-40B4-BE49-F238E27FC236}">
                <a16:creationId xmlns:a16="http://schemas.microsoft.com/office/drawing/2014/main" id="{9CEF06BE-2A0B-55A3-F9E4-2EE7B98C0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8215" y="6432615"/>
            <a:ext cx="1109670" cy="366259"/>
          </a:xfrm>
          <a:prstGeom prst="rect">
            <a:avLst/>
          </a:prstGeom>
        </p:spPr>
      </p:pic>
      <p:pic>
        <p:nvPicPr>
          <p:cNvPr id="5125" name="Picture 2">
            <a:extLst>
              <a:ext uri="{FF2B5EF4-FFF2-40B4-BE49-F238E27FC236}">
                <a16:creationId xmlns:a16="http://schemas.microsoft.com/office/drawing/2014/main" id="{CDF1B214-A150-7C1A-D8E0-07FDD48CA1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8710" y="4362703"/>
            <a:ext cx="1487813" cy="558376"/>
          </a:xfrm>
          <a:prstGeom prst="rect">
            <a:avLst/>
          </a:prstGeom>
          <a:noFill/>
          <a:effectLst>
            <a:glow rad="1270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7" name="Flowchart: Alternate Process 5126">
            <a:extLst>
              <a:ext uri="{FF2B5EF4-FFF2-40B4-BE49-F238E27FC236}">
                <a16:creationId xmlns:a16="http://schemas.microsoft.com/office/drawing/2014/main" id="{FC885FE8-3515-3F76-630B-1AACCA44D7FC}"/>
              </a:ext>
            </a:extLst>
          </p:cNvPr>
          <p:cNvSpPr/>
          <p:nvPr/>
        </p:nvSpPr>
        <p:spPr bwMode="auto">
          <a:xfrm>
            <a:off x="3204787" y="1923409"/>
            <a:ext cx="1684149" cy="294109"/>
          </a:xfrm>
          <a:prstGeom prst="flowChartAlternateProcess">
            <a:avLst/>
          </a:prstGeom>
          <a:solidFill>
            <a:srgbClr val="D3E6F7"/>
          </a:solidFill>
          <a:ln w="19050">
            <a:solidFill>
              <a:srgbClr val="2B87D9"/>
            </a:solidFill>
            <a:headEnd type="none" w="sm" len="sm"/>
            <a:tailEnd type="none" w="sm" len="sm"/>
          </a:ln>
          <a:effectLst>
            <a:glow rad="50800">
              <a:schemeClr val="bg1"/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14400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algn="ctr" defTabSz="957263">
              <a:lnSpc>
                <a:spcPct val="150000"/>
              </a:lnSpc>
              <a:spcAft>
                <a:spcPts val="600"/>
              </a:spcAft>
              <a:buClr>
                <a:srgbClr val="5F7800"/>
              </a:buClr>
            </a:pPr>
            <a:r>
              <a:rPr lang="en-US" sz="1200" kern="0" dirty="0">
                <a:solidFill>
                  <a:srgbClr val="13132D"/>
                </a:solidFill>
                <a:latin typeface="Arial"/>
              </a:rPr>
              <a:t>Libraries</a:t>
            </a:r>
          </a:p>
        </p:txBody>
      </p:sp>
      <p:sp>
        <p:nvSpPr>
          <p:cNvPr id="5129" name="Flowchart: Alternate Process 5128">
            <a:extLst>
              <a:ext uri="{FF2B5EF4-FFF2-40B4-BE49-F238E27FC236}">
                <a16:creationId xmlns:a16="http://schemas.microsoft.com/office/drawing/2014/main" id="{8A9FA576-CF8B-AC84-2E39-C95493CDA4C6}"/>
              </a:ext>
            </a:extLst>
          </p:cNvPr>
          <p:cNvSpPr/>
          <p:nvPr/>
        </p:nvSpPr>
        <p:spPr bwMode="auto">
          <a:xfrm>
            <a:off x="3206525" y="2413511"/>
            <a:ext cx="1684149" cy="294109"/>
          </a:xfrm>
          <a:prstGeom prst="flowChartAlternateProcess">
            <a:avLst/>
          </a:prstGeom>
          <a:solidFill>
            <a:srgbClr val="FAE5D6"/>
          </a:solidFill>
          <a:ln w="19050">
            <a:solidFill>
              <a:srgbClr val="E77C2E"/>
            </a:solidFill>
            <a:headEnd type="none" w="sm" len="sm"/>
            <a:tailEnd type="none" w="sm" len="sm"/>
          </a:ln>
          <a:effectLst>
            <a:glow rad="50800">
              <a:schemeClr val="bg1"/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144000" bIns="0" numCol="1" spcCol="0" rtlCol="0" fromWordArt="0" anchor="t" anchorCtr="0" forceAA="0" compatLnSpc="1">
            <a:prstTxWarp prst="textNoShape">
              <a:avLst/>
            </a:prstTxWarp>
            <a:normAutofit fontScale="92500"/>
          </a:bodyPr>
          <a:lstStyle/>
          <a:p>
            <a:pPr algn="ctr" defTabSz="957263">
              <a:lnSpc>
                <a:spcPct val="150000"/>
              </a:lnSpc>
              <a:spcAft>
                <a:spcPts val="600"/>
              </a:spcAft>
              <a:buClr>
                <a:srgbClr val="5F7800"/>
              </a:buClr>
            </a:pPr>
            <a:r>
              <a:rPr lang="en-US" sz="1200" kern="0" dirty="0">
                <a:solidFill>
                  <a:srgbClr val="13132D"/>
                </a:solidFill>
                <a:latin typeface="Arial"/>
              </a:rPr>
              <a:t>Reaction Optimization</a:t>
            </a:r>
          </a:p>
        </p:txBody>
      </p:sp>
      <p:sp>
        <p:nvSpPr>
          <p:cNvPr id="5130" name="Flowchart: Alternate Process 5129">
            <a:extLst>
              <a:ext uri="{FF2B5EF4-FFF2-40B4-BE49-F238E27FC236}">
                <a16:creationId xmlns:a16="http://schemas.microsoft.com/office/drawing/2014/main" id="{FD64C09A-DE80-0D39-1586-7AF5A2E43EE4}"/>
              </a:ext>
            </a:extLst>
          </p:cNvPr>
          <p:cNvSpPr/>
          <p:nvPr/>
        </p:nvSpPr>
        <p:spPr bwMode="auto">
          <a:xfrm>
            <a:off x="3204787" y="2915494"/>
            <a:ext cx="1684149" cy="294109"/>
          </a:xfrm>
          <a:prstGeom prst="flowChartAlternateProcess">
            <a:avLst/>
          </a:prstGeom>
          <a:solidFill>
            <a:srgbClr val="D0E3DF"/>
          </a:solidFill>
          <a:ln w="19050">
            <a:solidFill>
              <a:srgbClr val="3D8A7C"/>
            </a:solidFill>
            <a:headEnd type="none" w="sm" len="sm"/>
            <a:tailEnd type="none" w="sm" len="sm"/>
          </a:ln>
          <a:effectLst>
            <a:glow rad="50800">
              <a:schemeClr val="bg1"/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14400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algn="ctr" defTabSz="957263">
              <a:lnSpc>
                <a:spcPct val="150000"/>
              </a:lnSpc>
              <a:spcAft>
                <a:spcPts val="600"/>
              </a:spcAft>
              <a:buClr>
                <a:srgbClr val="5F7800"/>
              </a:buClr>
            </a:pPr>
            <a:r>
              <a:rPr lang="en-US" sz="1200" kern="0" dirty="0">
                <a:solidFill>
                  <a:srgbClr val="13132D"/>
                </a:solidFill>
                <a:latin typeface="Arial"/>
              </a:rPr>
              <a:t>Batch Synthesis</a:t>
            </a:r>
          </a:p>
        </p:txBody>
      </p:sp>
      <p:sp>
        <p:nvSpPr>
          <p:cNvPr id="5131" name="Flowchart: Alternate Process 5130">
            <a:extLst>
              <a:ext uri="{FF2B5EF4-FFF2-40B4-BE49-F238E27FC236}">
                <a16:creationId xmlns:a16="http://schemas.microsoft.com/office/drawing/2014/main" id="{BD9EFDD7-4C8A-C647-46FD-3D66F41507AD}"/>
              </a:ext>
            </a:extLst>
          </p:cNvPr>
          <p:cNvSpPr/>
          <p:nvPr/>
        </p:nvSpPr>
        <p:spPr bwMode="auto">
          <a:xfrm>
            <a:off x="3195953" y="3430506"/>
            <a:ext cx="1684149" cy="294109"/>
          </a:xfrm>
          <a:prstGeom prst="flowChartAlternateProcess">
            <a:avLst/>
          </a:prstGeom>
          <a:solidFill>
            <a:srgbClr val="DFDCFD"/>
          </a:solidFill>
          <a:ln w="19050">
            <a:solidFill>
              <a:srgbClr val="6457F5"/>
            </a:solidFill>
            <a:headEnd type="none" w="sm" len="sm"/>
            <a:tailEnd type="none" w="sm" len="sm"/>
          </a:ln>
          <a:effectLst>
            <a:glow rad="50800">
              <a:schemeClr val="bg1"/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14400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algn="ctr" defTabSz="957263">
              <a:lnSpc>
                <a:spcPct val="150000"/>
              </a:lnSpc>
              <a:spcAft>
                <a:spcPts val="600"/>
              </a:spcAft>
              <a:buClr>
                <a:srgbClr val="5F7800"/>
              </a:buClr>
            </a:pPr>
            <a:r>
              <a:rPr lang="en-US" sz="1200" kern="0" dirty="0">
                <a:solidFill>
                  <a:srgbClr val="13132D"/>
                </a:solidFill>
                <a:latin typeface="Arial"/>
              </a:rPr>
              <a:t>Legacy Data</a:t>
            </a:r>
          </a:p>
        </p:txBody>
      </p:sp>
      <p:sp>
        <p:nvSpPr>
          <p:cNvPr id="5132" name="Flowchart: Alternate Process 5131">
            <a:extLst>
              <a:ext uri="{FF2B5EF4-FFF2-40B4-BE49-F238E27FC236}">
                <a16:creationId xmlns:a16="http://schemas.microsoft.com/office/drawing/2014/main" id="{04813B4A-56DF-750D-6849-352BFCF5B394}"/>
              </a:ext>
            </a:extLst>
          </p:cNvPr>
          <p:cNvSpPr/>
          <p:nvPr/>
        </p:nvSpPr>
        <p:spPr bwMode="auto">
          <a:xfrm>
            <a:off x="3197689" y="3956979"/>
            <a:ext cx="1684149" cy="294109"/>
          </a:xfrm>
          <a:prstGeom prst="flowChartAlternateProcess">
            <a:avLst/>
          </a:prstGeom>
          <a:solidFill>
            <a:srgbClr val="E3E6E9"/>
          </a:solidFill>
          <a:ln w="19050">
            <a:solidFill>
              <a:srgbClr val="788896"/>
            </a:solidFill>
            <a:headEnd type="none" w="sm" len="sm"/>
            <a:tailEnd type="none" w="sm" len="sm"/>
          </a:ln>
          <a:effectLst>
            <a:glow rad="50800">
              <a:schemeClr val="bg1"/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14400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algn="ctr" defTabSz="957263">
              <a:lnSpc>
                <a:spcPct val="150000"/>
              </a:lnSpc>
              <a:spcAft>
                <a:spcPts val="600"/>
              </a:spcAft>
              <a:buClr>
                <a:srgbClr val="5F7800"/>
              </a:buClr>
            </a:pPr>
            <a:r>
              <a:rPr lang="en-US" sz="1200" kern="0" dirty="0">
                <a:solidFill>
                  <a:srgbClr val="13132D"/>
                </a:solidFill>
                <a:latin typeface="Arial"/>
              </a:rPr>
              <a:t>External Sources</a:t>
            </a:r>
          </a:p>
        </p:txBody>
      </p:sp>
      <p:sp>
        <p:nvSpPr>
          <p:cNvPr id="5133" name="Flowchart: Alternate Process 5132">
            <a:extLst>
              <a:ext uri="{FF2B5EF4-FFF2-40B4-BE49-F238E27FC236}">
                <a16:creationId xmlns:a16="http://schemas.microsoft.com/office/drawing/2014/main" id="{8476DE01-6EA8-72DA-5076-DA848207E65F}"/>
              </a:ext>
            </a:extLst>
          </p:cNvPr>
          <p:cNvSpPr/>
          <p:nvPr/>
        </p:nvSpPr>
        <p:spPr bwMode="auto">
          <a:xfrm>
            <a:off x="3194223" y="4441883"/>
            <a:ext cx="1684149" cy="294109"/>
          </a:xfrm>
          <a:prstGeom prst="flowChartAlternateProcess">
            <a:avLst/>
          </a:prstGeom>
          <a:solidFill>
            <a:srgbClr val="F2F5F7"/>
          </a:solidFill>
          <a:ln w="19050">
            <a:solidFill>
              <a:srgbClr val="C0CDD7"/>
            </a:solidFill>
            <a:headEnd type="none" w="sm" len="sm"/>
            <a:tailEnd type="none" w="sm" len="sm"/>
          </a:ln>
          <a:effectLst>
            <a:glow rad="50800">
              <a:schemeClr val="bg1"/>
            </a:glo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0" rIns="14400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algn="ctr" defTabSz="957263">
              <a:lnSpc>
                <a:spcPct val="150000"/>
              </a:lnSpc>
              <a:spcAft>
                <a:spcPts val="600"/>
              </a:spcAft>
              <a:buClr>
                <a:srgbClr val="5F7800"/>
              </a:buClr>
            </a:pPr>
            <a:r>
              <a:rPr lang="en-US" sz="1200" kern="0" dirty="0">
                <a:solidFill>
                  <a:srgbClr val="13132D"/>
                </a:solidFill>
                <a:latin typeface="Arial"/>
              </a:rPr>
              <a:t>Patents (Pistachio)</a:t>
            </a:r>
          </a:p>
        </p:txBody>
      </p:sp>
      <p:grpSp>
        <p:nvGrpSpPr>
          <p:cNvPr id="5139" name="Group 5138">
            <a:extLst>
              <a:ext uri="{FF2B5EF4-FFF2-40B4-BE49-F238E27FC236}">
                <a16:creationId xmlns:a16="http://schemas.microsoft.com/office/drawing/2014/main" id="{C8FB2B8A-CE07-4B4B-0CBC-1626552AB422}"/>
              </a:ext>
            </a:extLst>
          </p:cNvPr>
          <p:cNvGrpSpPr/>
          <p:nvPr/>
        </p:nvGrpSpPr>
        <p:grpSpPr>
          <a:xfrm>
            <a:off x="6007222" y="2086496"/>
            <a:ext cx="642960" cy="2518755"/>
            <a:chOff x="5246526" y="2041446"/>
            <a:chExt cx="475448" cy="2612906"/>
          </a:xfrm>
        </p:grpSpPr>
        <p:sp>
          <p:nvSpPr>
            <p:cNvPr id="5128" name="左中かっこ 4">
              <a:extLst>
                <a:ext uri="{FF2B5EF4-FFF2-40B4-BE49-F238E27FC236}">
                  <a16:creationId xmlns:a16="http://schemas.microsoft.com/office/drawing/2014/main" id="{2FA5197D-D391-930E-A346-220074B4730F}"/>
                </a:ext>
              </a:extLst>
            </p:cNvPr>
            <p:cNvSpPr/>
            <p:nvPr/>
          </p:nvSpPr>
          <p:spPr bwMode="auto">
            <a:xfrm flipH="1">
              <a:off x="5246526" y="2041446"/>
              <a:ext cx="53732" cy="2612906"/>
            </a:xfrm>
            <a:prstGeom prst="leftBrace">
              <a:avLst>
                <a:gd name="adj1" fmla="val 8333"/>
                <a:gd name="adj2" fmla="val 50646"/>
              </a:avLst>
            </a:prstGeom>
            <a:ln w="28575">
              <a:solidFill>
                <a:schemeClr val="bg1"/>
              </a:solidFill>
              <a:headEnd type="none" w="sm" len="sm"/>
              <a:tailEnd type="none" w="sm" len="sm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5135" name="Straight Arrow Connector 5134">
              <a:extLst>
                <a:ext uri="{FF2B5EF4-FFF2-40B4-BE49-F238E27FC236}">
                  <a16:creationId xmlns:a16="http://schemas.microsoft.com/office/drawing/2014/main" id="{536E911A-59E0-96F1-8663-70990F57B592}"/>
                </a:ext>
              </a:extLst>
            </p:cNvPr>
            <p:cNvCxnSpPr>
              <a:cxnSpLocks/>
              <a:stCxn id="5128" idx="1"/>
            </p:cNvCxnSpPr>
            <p:nvPr/>
          </p:nvCxnSpPr>
          <p:spPr bwMode="auto">
            <a:xfrm>
              <a:off x="5300258" y="3364778"/>
              <a:ext cx="421716" cy="0"/>
            </a:xfrm>
            <a:prstGeom prst="straightConnector1">
              <a:avLst/>
            </a:prstGeom>
            <a:solidFill>
              <a:schemeClr val="accent2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</p:grpSp>
      <p:sp>
        <p:nvSpPr>
          <p:cNvPr id="5138" name="Cylinder 5137">
            <a:extLst>
              <a:ext uri="{FF2B5EF4-FFF2-40B4-BE49-F238E27FC236}">
                <a16:creationId xmlns:a16="http://schemas.microsoft.com/office/drawing/2014/main" id="{D5598443-02B8-9DD3-5308-C3DA193A2909}"/>
              </a:ext>
            </a:extLst>
          </p:cNvPr>
          <p:cNvSpPr/>
          <p:nvPr/>
        </p:nvSpPr>
        <p:spPr bwMode="auto">
          <a:xfrm>
            <a:off x="6761308" y="2992888"/>
            <a:ext cx="1669264" cy="710022"/>
          </a:xfrm>
          <a:prstGeom prst="can">
            <a:avLst/>
          </a:prstGeom>
          <a:solidFill>
            <a:srgbClr val="FDF2D1"/>
          </a:solidFill>
          <a:ln w="28575">
            <a:solidFill>
              <a:srgbClr val="F7C222"/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100" kern="0" dirty="0">
                <a:solidFill>
                  <a:srgbClr val="626469"/>
                </a:solidFill>
                <a:latin typeface="Abadi" panose="020F0502020204030204" pitchFamily="34" charset="0"/>
              </a:rPr>
              <a:t>Reaction Data Lake</a:t>
            </a:r>
          </a:p>
        </p:txBody>
      </p:sp>
      <p:sp>
        <p:nvSpPr>
          <p:cNvPr id="5140" name="Cylinder 5139">
            <a:extLst>
              <a:ext uri="{FF2B5EF4-FFF2-40B4-BE49-F238E27FC236}">
                <a16:creationId xmlns:a16="http://schemas.microsoft.com/office/drawing/2014/main" id="{72D61567-93E3-A2F7-C75B-1FEEE9BFCFD3}"/>
              </a:ext>
            </a:extLst>
          </p:cNvPr>
          <p:cNvSpPr/>
          <p:nvPr/>
        </p:nvSpPr>
        <p:spPr bwMode="auto">
          <a:xfrm>
            <a:off x="9631970" y="2970546"/>
            <a:ext cx="1669264" cy="710022"/>
          </a:xfrm>
          <a:prstGeom prst="can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accent1">
                <a:lumMod val="60000"/>
                <a:lumOff val="40000"/>
              </a:schemeClr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100" kern="0" dirty="0">
                <a:solidFill>
                  <a:srgbClr val="626469"/>
                </a:solidFill>
                <a:latin typeface="Abadi" panose="020F0502020204030204" pitchFamily="34" charset="0"/>
              </a:rPr>
              <a:t>Network of Organic Chemistry</a:t>
            </a:r>
          </a:p>
        </p:txBody>
      </p:sp>
      <p:cxnSp>
        <p:nvCxnSpPr>
          <p:cNvPr id="5141" name="Straight Arrow Connector 5140">
            <a:extLst>
              <a:ext uri="{FF2B5EF4-FFF2-40B4-BE49-F238E27FC236}">
                <a16:creationId xmlns:a16="http://schemas.microsoft.com/office/drawing/2014/main" id="{E5F39E45-28C1-D8C9-EF10-9938D22CAD4B}"/>
              </a:ext>
            </a:extLst>
          </p:cNvPr>
          <p:cNvCxnSpPr>
            <a:cxnSpLocks/>
          </p:cNvCxnSpPr>
          <p:nvPr/>
        </p:nvCxnSpPr>
        <p:spPr bwMode="auto">
          <a:xfrm>
            <a:off x="8586345" y="3348577"/>
            <a:ext cx="865226" cy="0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5143" name="TextBox 5142">
            <a:extLst>
              <a:ext uri="{FF2B5EF4-FFF2-40B4-BE49-F238E27FC236}">
                <a16:creationId xmlns:a16="http://schemas.microsoft.com/office/drawing/2014/main" id="{97E24276-4954-2377-0D06-6649A8AB5044}"/>
              </a:ext>
            </a:extLst>
          </p:cNvPr>
          <p:cNvSpPr txBox="1"/>
          <p:nvPr/>
        </p:nvSpPr>
        <p:spPr bwMode="auto">
          <a:xfrm>
            <a:off x="5030789" y="2005503"/>
            <a:ext cx="773084" cy="129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100% usable</a:t>
            </a:r>
          </a:p>
        </p:txBody>
      </p:sp>
      <p:sp>
        <p:nvSpPr>
          <p:cNvPr id="5144" name="TextBox 5143">
            <a:extLst>
              <a:ext uri="{FF2B5EF4-FFF2-40B4-BE49-F238E27FC236}">
                <a16:creationId xmlns:a16="http://schemas.microsoft.com/office/drawing/2014/main" id="{0263BD81-B9E1-471B-57D9-BAF14B4AB1EE}"/>
              </a:ext>
            </a:extLst>
          </p:cNvPr>
          <p:cNvSpPr txBox="1"/>
          <p:nvPr/>
        </p:nvSpPr>
        <p:spPr bwMode="auto">
          <a:xfrm>
            <a:off x="5020242" y="2471367"/>
            <a:ext cx="773084" cy="129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100% usable</a:t>
            </a:r>
          </a:p>
        </p:txBody>
      </p:sp>
      <p:sp>
        <p:nvSpPr>
          <p:cNvPr id="5145" name="TextBox 5144">
            <a:extLst>
              <a:ext uri="{FF2B5EF4-FFF2-40B4-BE49-F238E27FC236}">
                <a16:creationId xmlns:a16="http://schemas.microsoft.com/office/drawing/2014/main" id="{8E4FA2AD-4E2E-21CC-B671-845AE7A3547E}"/>
              </a:ext>
            </a:extLst>
          </p:cNvPr>
          <p:cNvSpPr txBox="1"/>
          <p:nvPr/>
        </p:nvSpPr>
        <p:spPr bwMode="auto">
          <a:xfrm>
            <a:off x="5007956" y="2963160"/>
            <a:ext cx="773084" cy="129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100% usable</a:t>
            </a:r>
          </a:p>
        </p:txBody>
      </p:sp>
      <p:sp>
        <p:nvSpPr>
          <p:cNvPr id="5146" name="TextBox 5145">
            <a:extLst>
              <a:ext uri="{FF2B5EF4-FFF2-40B4-BE49-F238E27FC236}">
                <a16:creationId xmlns:a16="http://schemas.microsoft.com/office/drawing/2014/main" id="{2F5E38AF-7801-3C08-28C5-B879306F9698}"/>
              </a:ext>
            </a:extLst>
          </p:cNvPr>
          <p:cNvSpPr txBox="1"/>
          <p:nvPr/>
        </p:nvSpPr>
        <p:spPr bwMode="auto">
          <a:xfrm>
            <a:off x="5045314" y="3482366"/>
            <a:ext cx="773084" cy="129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60% usable</a:t>
            </a:r>
          </a:p>
        </p:txBody>
      </p:sp>
      <p:sp>
        <p:nvSpPr>
          <p:cNvPr id="5147" name="TextBox 5146">
            <a:extLst>
              <a:ext uri="{FF2B5EF4-FFF2-40B4-BE49-F238E27FC236}">
                <a16:creationId xmlns:a16="http://schemas.microsoft.com/office/drawing/2014/main" id="{C14EFBCD-FD25-3472-DC08-A86A67A37292}"/>
              </a:ext>
            </a:extLst>
          </p:cNvPr>
          <p:cNvSpPr txBox="1"/>
          <p:nvPr/>
        </p:nvSpPr>
        <p:spPr bwMode="auto">
          <a:xfrm>
            <a:off x="5046903" y="4511971"/>
            <a:ext cx="773084" cy="129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20% usable</a:t>
            </a:r>
          </a:p>
        </p:txBody>
      </p:sp>
      <p:cxnSp>
        <p:nvCxnSpPr>
          <p:cNvPr id="5149" name="Straight Connector 5148">
            <a:extLst>
              <a:ext uri="{FF2B5EF4-FFF2-40B4-BE49-F238E27FC236}">
                <a16:creationId xmlns:a16="http://schemas.microsoft.com/office/drawing/2014/main" id="{05AFFD4F-98F4-70DA-E20E-996E2F95634F}"/>
              </a:ext>
            </a:extLst>
          </p:cNvPr>
          <p:cNvCxnSpPr>
            <a:cxnSpLocks/>
          </p:cNvCxnSpPr>
          <p:nvPr/>
        </p:nvCxnSpPr>
        <p:spPr bwMode="auto">
          <a:xfrm>
            <a:off x="5065917" y="4098174"/>
            <a:ext cx="975871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5152" name="Straight Connector 5151">
            <a:extLst>
              <a:ext uri="{FF2B5EF4-FFF2-40B4-BE49-F238E27FC236}">
                <a16:creationId xmlns:a16="http://schemas.microsoft.com/office/drawing/2014/main" id="{B5FC7489-6937-2861-D8B5-B09ADA1E0587}"/>
              </a:ext>
            </a:extLst>
          </p:cNvPr>
          <p:cNvCxnSpPr>
            <a:cxnSpLocks/>
          </p:cNvCxnSpPr>
          <p:nvPr/>
        </p:nvCxnSpPr>
        <p:spPr bwMode="auto">
          <a:xfrm>
            <a:off x="5836505" y="4605251"/>
            <a:ext cx="183416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5154" name="Straight Connector 5153">
            <a:extLst>
              <a:ext uri="{FF2B5EF4-FFF2-40B4-BE49-F238E27FC236}">
                <a16:creationId xmlns:a16="http://schemas.microsoft.com/office/drawing/2014/main" id="{270EEE23-E6B2-B318-7206-6F282B096C9A}"/>
              </a:ext>
            </a:extLst>
          </p:cNvPr>
          <p:cNvCxnSpPr>
            <a:cxnSpLocks/>
          </p:cNvCxnSpPr>
          <p:nvPr/>
        </p:nvCxnSpPr>
        <p:spPr bwMode="auto">
          <a:xfrm>
            <a:off x="5858372" y="3569954"/>
            <a:ext cx="183416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5155" name="Straight Connector 5154">
            <a:extLst>
              <a:ext uri="{FF2B5EF4-FFF2-40B4-BE49-F238E27FC236}">
                <a16:creationId xmlns:a16="http://schemas.microsoft.com/office/drawing/2014/main" id="{076BBD4E-34F4-E5F3-CF6B-9AD0B3363D42}"/>
              </a:ext>
            </a:extLst>
          </p:cNvPr>
          <p:cNvCxnSpPr>
            <a:cxnSpLocks/>
          </p:cNvCxnSpPr>
          <p:nvPr/>
        </p:nvCxnSpPr>
        <p:spPr bwMode="auto">
          <a:xfrm>
            <a:off x="5858370" y="3040787"/>
            <a:ext cx="183416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5156" name="Straight Connector 5155">
            <a:extLst>
              <a:ext uri="{FF2B5EF4-FFF2-40B4-BE49-F238E27FC236}">
                <a16:creationId xmlns:a16="http://schemas.microsoft.com/office/drawing/2014/main" id="{B8B761BA-8C82-5C83-8189-8D4A05E72379}"/>
              </a:ext>
            </a:extLst>
          </p:cNvPr>
          <p:cNvCxnSpPr>
            <a:cxnSpLocks/>
          </p:cNvCxnSpPr>
          <p:nvPr/>
        </p:nvCxnSpPr>
        <p:spPr bwMode="auto">
          <a:xfrm>
            <a:off x="5858370" y="2577141"/>
            <a:ext cx="183416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5157" name="Straight Connector 5156">
            <a:extLst>
              <a:ext uri="{FF2B5EF4-FFF2-40B4-BE49-F238E27FC236}">
                <a16:creationId xmlns:a16="http://schemas.microsoft.com/office/drawing/2014/main" id="{32C66425-FDCB-C3D4-D660-C2AD7A1A487E}"/>
              </a:ext>
            </a:extLst>
          </p:cNvPr>
          <p:cNvCxnSpPr>
            <a:cxnSpLocks/>
          </p:cNvCxnSpPr>
          <p:nvPr/>
        </p:nvCxnSpPr>
        <p:spPr bwMode="auto">
          <a:xfrm>
            <a:off x="5858370" y="2085537"/>
            <a:ext cx="183416" cy="0"/>
          </a:xfrm>
          <a:prstGeom prst="line">
            <a:avLst/>
          </a:prstGeom>
          <a:solidFill>
            <a:schemeClr val="accent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11" name="Picture 10" descr="A logo with a moon and stars&#10;&#10;Description automatically generated">
            <a:extLst>
              <a:ext uri="{FF2B5EF4-FFF2-40B4-BE49-F238E27FC236}">
                <a16:creationId xmlns:a16="http://schemas.microsoft.com/office/drawing/2014/main" id="{F170CCB1-FCAE-5D0A-63D5-3E3A0576B27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48" t="4359" r="29435" b="11205"/>
          <a:stretch/>
        </p:blipFill>
        <p:spPr>
          <a:xfrm>
            <a:off x="8315543" y="1485281"/>
            <a:ext cx="1280077" cy="14529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93581887"/>
      </p:ext>
    </p:extLst>
  </p:cSld>
  <p:clrMapOvr>
    <a:masterClrMapping/>
  </p:clrMapOvr>
  <p:transition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31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462F0D-0667-0641-986B-9ACDAE579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462F0D-0667-0641-986B-9ACDAE579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8F92D29D-B629-4D8F-A5E6-F51B9BFDAA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bg1"/>
                </a:solidFill>
              </a:rPr>
              <a:t>Classification: PUBLIC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9F11A7-3B14-466B-ABB0-9AE773AC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ja-JP" dirty="0">
                <a:solidFill>
                  <a:schemeClr val="bg1"/>
                </a:solidFill>
              </a:rPr>
              <a:t>How does text become a graph ?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A9BA59CD-38E2-4A16-AF15-58BC88EBAB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de-DE" smtClean="0">
                <a:solidFill>
                  <a:schemeClr val="bg1"/>
                </a:solidFill>
              </a:rPr>
              <a:pPr/>
              <a:t>12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122" name="Graphic 5121">
            <a:extLst>
              <a:ext uri="{FF2B5EF4-FFF2-40B4-BE49-F238E27FC236}">
                <a16:creationId xmlns:a16="http://schemas.microsoft.com/office/drawing/2014/main" id="{9CEF06BE-2A0B-55A3-F9E4-2EE7B98C0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8215" y="6432615"/>
            <a:ext cx="1109670" cy="366259"/>
          </a:xfrm>
          <a:prstGeom prst="rect">
            <a:avLst/>
          </a:prstGeom>
        </p:spPr>
      </p:pic>
      <p:pic>
        <p:nvPicPr>
          <p:cNvPr id="7" name="Picture 6" descr="A black background with a white circle and a white line">
            <a:extLst>
              <a:ext uri="{FF2B5EF4-FFF2-40B4-BE49-F238E27FC236}">
                <a16:creationId xmlns:a16="http://schemas.microsoft.com/office/drawing/2014/main" id="{E0202EFF-D210-9D5F-BA7C-67CEE43DF4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772" y="865108"/>
            <a:ext cx="7476751" cy="3025748"/>
          </a:xfrm>
          <a:prstGeom prst="rect">
            <a:avLst/>
          </a:prstGeom>
          <a:effectLst>
            <a:glow rad="127000">
              <a:schemeClr val="tx1">
                <a:alpha val="36000"/>
              </a:schemeClr>
            </a:glow>
          </a:effectLst>
        </p:spPr>
      </p:pic>
      <p:pic>
        <p:nvPicPr>
          <p:cNvPr id="9" name="Picture 8" descr="A logo with a moon and stars&#10;&#10;Description automatically generated">
            <a:extLst>
              <a:ext uri="{FF2B5EF4-FFF2-40B4-BE49-F238E27FC236}">
                <a16:creationId xmlns:a16="http://schemas.microsoft.com/office/drawing/2014/main" id="{31D3BAE2-E257-EF53-2667-F19DC02A93C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48" t="4359" r="29435" b="11205"/>
          <a:stretch/>
        </p:blipFill>
        <p:spPr>
          <a:xfrm>
            <a:off x="405780" y="3774090"/>
            <a:ext cx="1762385" cy="20004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blue circle with arrows pointing to the center&#10;&#10;Description automatically generated">
            <a:extLst>
              <a:ext uri="{FF2B5EF4-FFF2-40B4-BE49-F238E27FC236}">
                <a16:creationId xmlns:a16="http://schemas.microsoft.com/office/drawing/2014/main" id="{5DBE34A4-45BD-A2A0-9D72-9A858AAC663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4169" y="3774090"/>
            <a:ext cx="6675956" cy="2285300"/>
          </a:xfrm>
          <a:prstGeom prst="rect">
            <a:avLst/>
          </a:prstGeom>
          <a:effectLst>
            <a:glow rad="139700">
              <a:schemeClr val="bg1">
                <a:alpha val="80000"/>
              </a:schemeClr>
            </a:glow>
          </a:effectLst>
        </p:spPr>
      </p:pic>
      <p:pic>
        <p:nvPicPr>
          <p:cNvPr id="13" name="Graphic 12" descr="Document with solid fill">
            <a:extLst>
              <a:ext uri="{FF2B5EF4-FFF2-40B4-BE49-F238E27FC236}">
                <a16:creationId xmlns:a16="http://schemas.microsoft.com/office/drawing/2014/main" id="{F66A447B-C2F4-14FE-3BE5-4351B868F0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88327" y="1302582"/>
            <a:ext cx="1417034" cy="141703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239A0DC-9155-7823-8972-30F12A968E09}"/>
              </a:ext>
            </a:extLst>
          </p:cNvPr>
          <p:cNvSpPr txBox="1"/>
          <p:nvPr/>
        </p:nvSpPr>
        <p:spPr bwMode="auto">
          <a:xfrm>
            <a:off x="1905361" y="1900695"/>
            <a:ext cx="1628456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</a:rPr>
              <a:t>Chemical strings </a:t>
            </a:r>
          </a:p>
        </p:txBody>
      </p:sp>
      <p:pic>
        <p:nvPicPr>
          <p:cNvPr id="3" name="Picture 2" descr="A blue circle with arrows pointing to the center&#10;&#10;Description automatically generated">
            <a:extLst>
              <a:ext uri="{FF2B5EF4-FFF2-40B4-BE49-F238E27FC236}">
                <a16:creationId xmlns:a16="http://schemas.microsoft.com/office/drawing/2014/main" id="{0956684C-738C-3053-6E05-BBC47C9E293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37105" y="3270572"/>
            <a:ext cx="6675956" cy="2285300"/>
          </a:xfrm>
          <a:prstGeom prst="rect">
            <a:avLst/>
          </a:prstGeom>
          <a:effectLst>
            <a:glow rad="139700">
              <a:schemeClr val="bg1">
                <a:alpha val="80000"/>
              </a:schemeClr>
            </a:glow>
          </a:effectLst>
        </p:spPr>
      </p:pic>
      <p:sp>
        <p:nvSpPr>
          <p:cNvPr id="5" name="テキスト ボックス 10">
            <a:extLst>
              <a:ext uri="{FF2B5EF4-FFF2-40B4-BE49-F238E27FC236}">
                <a16:creationId xmlns:a16="http://schemas.microsoft.com/office/drawing/2014/main" id="{85B833F0-70DA-3583-3DFB-55EE8AE17981}"/>
              </a:ext>
            </a:extLst>
          </p:cNvPr>
          <p:cNvSpPr txBox="1"/>
          <p:nvPr/>
        </p:nvSpPr>
        <p:spPr bwMode="auto">
          <a:xfrm>
            <a:off x="2346381" y="6347749"/>
            <a:ext cx="847232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Grzybowski</a:t>
            </a:r>
            <a:r>
              <a:rPr lang="en-US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, Bartosz A., et al. "</a:t>
            </a:r>
            <a:r>
              <a:rPr lang="en-US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The'wired'universe</a:t>
            </a:r>
            <a:r>
              <a:rPr lang="en-US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of organic chemistry." </a:t>
            </a:r>
            <a:r>
              <a:rPr lang="en-US" b="0" i="1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Nature Chemistry</a:t>
            </a:r>
            <a:r>
              <a:rPr lang="en-US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 1.1 (2009): 31-36.</a:t>
            </a:r>
          </a:p>
          <a:p>
            <a:r>
              <a:rPr lang="en-US" dirty="0" err="1">
                <a:solidFill>
                  <a:schemeClr val="bg1"/>
                </a:solidFill>
              </a:rPr>
              <a:t>Lapkin</a:t>
            </a:r>
            <a:r>
              <a:rPr lang="en-US" dirty="0">
                <a:solidFill>
                  <a:schemeClr val="bg1"/>
                </a:solidFill>
              </a:rPr>
              <a:t>, A. A., et al. "Automation of route identification and </a:t>
            </a:r>
            <a:r>
              <a:rPr lang="en-US" dirty="0" err="1">
                <a:solidFill>
                  <a:schemeClr val="bg1"/>
                </a:solidFill>
              </a:rPr>
              <a:t>optimisation</a:t>
            </a:r>
            <a:r>
              <a:rPr lang="en-US" dirty="0">
                <a:solidFill>
                  <a:schemeClr val="bg1"/>
                </a:solidFill>
              </a:rPr>
              <a:t> based on data-mining and chemical intuition." Faraday discussions 202 (2017): 483-496.</a:t>
            </a:r>
          </a:p>
        </p:txBody>
      </p:sp>
    </p:spTree>
    <p:extLst>
      <p:ext uri="{BB962C8B-B14F-4D97-AF65-F5344CB8AC3E}">
        <p14:creationId xmlns:p14="http://schemas.microsoft.com/office/powerpoint/2010/main" val="216358010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31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462F0D-0667-0641-986B-9ACDAE579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462F0D-0667-0641-986B-9ACDAE579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8F92D29D-B629-4D8F-A5E6-F51B9BFDAA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bg1"/>
                </a:solidFill>
              </a:rPr>
              <a:t>Classification: PUBLIC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9F11A7-3B14-466B-ABB0-9AE773AC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ja-JP" dirty="0">
                <a:solidFill>
                  <a:schemeClr val="bg1"/>
                </a:solidFill>
              </a:rPr>
              <a:t>Synthesis tree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A9BA59CD-38E2-4A16-AF15-58BC88EBAB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de-DE" smtClean="0">
                <a:solidFill>
                  <a:schemeClr val="bg1"/>
                </a:solidFill>
              </a:rPr>
              <a:pPr/>
              <a:t>13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122" name="Graphic 5121">
            <a:extLst>
              <a:ext uri="{FF2B5EF4-FFF2-40B4-BE49-F238E27FC236}">
                <a16:creationId xmlns:a16="http://schemas.microsoft.com/office/drawing/2014/main" id="{9CEF06BE-2A0B-55A3-F9E4-2EE7B98C0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8215" y="6432615"/>
            <a:ext cx="1109670" cy="366259"/>
          </a:xfrm>
          <a:prstGeom prst="rect">
            <a:avLst/>
          </a:prstGeom>
        </p:spPr>
      </p:pic>
      <p:pic>
        <p:nvPicPr>
          <p:cNvPr id="14" name="Picture 13" descr="A screenshot of a computer program&#10;&#10;Description automatically generated">
            <a:extLst>
              <a:ext uri="{FF2B5EF4-FFF2-40B4-BE49-F238E27FC236}">
                <a16:creationId xmlns:a16="http://schemas.microsoft.com/office/drawing/2014/main" id="{26019488-FFFF-B834-EC3B-8B267CEE3AD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029" y="540314"/>
            <a:ext cx="5532327" cy="2239841"/>
          </a:xfrm>
          <a:prstGeom prst="rect">
            <a:avLst/>
          </a:prstGeom>
        </p:spPr>
      </p:pic>
      <p:pic>
        <p:nvPicPr>
          <p:cNvPr id="16" name="Picture 1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5EC507C6-DFFF-DDC7-E8C2-378B5D3C721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0470" y="526526"/>
            <a:ext cx="5522780" cy="2062154"/>
          </a:xfrm>
          <a:prstGeom prst="rect">
            <a:avLst/>
          </a:prstGeom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2A586518-9EBE-33C7-AEF1-DD806B4AF1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1683" y="732774"/>
            <a:ext cx="972837" cy="365105"/>
          </a:xfrm>
          <a:prstGeom prst="rect">
            <a:avLst/>
          </a:prstGeom>
          <a:noFill/>
          <a:effectLst>
            <a:glow rad="1270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 descr="A logo of a moon and stars&#10;&#10;Description automatically generated">
            <a:extLst>
              <a:ext uri="{FF2B5EF4-FFF2-40B4-BE49-F238E27FC236}">
                <a16:creationId xmlns:a16="http://schemas.microsoft.com/office/drawing/2014/main" id="{353CFCBF-D9A2-E85B-4484-43B74D69237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3570" t="8629" r="34827" b="34265"/>
          <a:stretch/>
        </p:blipFill>
        <p:spPr>
          <a:xfrm>
            <a:off x="10724296" y="1710311"/>
            <a:ext cx="708369" cy="719996"/>
          </a:xfrm>
          <a:prstGeom prst="rect">
            <a:avLst/>
          </a:prstGeom>
          <a:effectLst>
            <a:glow rad="127000">
              <a:schemeClr val="bg1"/>
            </a:glow>
          </a:effectLst>
        </p:spPr>
      </p:pic>
      <p:pic>
        <p:nvPicPr>
          <p:cNvPr id="18" name="Picture 17" descr="A diagram of a molecule&#10;&#10;Description automatically generated">
            <a:extLst>
              <a:ext uri="{FF2B5EF4-FFF2-40B4-BE49-F238E27FC236}">
                <a16:creationId xmlns:a16="http://schemas.microsoft.com/office/drawing/2014/main" id="{207C6CAC-8386-6184-07BD-7179B47A2CB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7955" y="2120116"/>
            <a:ext cx="6115713" cy="4077142"/>
          </a:xfrm>
          <a:prstGeom prst="rect">
            <a:avLst/>
          </a:prstGeom>
          <a:effectLst>
            <a:glow rad="101600">
              <a:schemeClr val="bg1">
                <a:alpha val="80000"/>
              </a:schemeClr>
            </a:glow>
          </a:effectLst>
        </p:spPr>
      </p:pic>
      <p:sp>
        <p:nvSpPr>
          <p:cNvPr id="19" name="テキスト ボックス 15">
            <a:extLst>
              <a:ext uri="{FF2B5EF4-FFF2-40B4-BE49-F238E27FC236}">
                <a16:creationId xmlns:a16="http://schemas.microsoft.com/office/drawing/2014/main" id="{0BB6A934-3E91-A029-D75D-EC75D4C56587}"/>
              </a:ext>
            </a:extLst>
          </p:cNvPr>
          <p:cNvSpPr txBox="1"/>
          <p:nvPr/>
        </p:nvSpPr>
        <p:spPr bwMode="auto">
          <a:xfrm>
            <a:off x="5823673" y="5166842"/>
            <a:ext cx="704510" cy="349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chemeClr val="bg1"/>
                </a:solidFill>
                <a:latin typeface="Arial"/>
              </a:rPr>
              <a:t>Target</a:t>
            </a:r>
          </a:p>
        </p:txBody>
      </p:sp>
    </p:spTree>
    <p:extLst>
      <p:ext uri="{BB962C8B-B14F-4D97-AF65-F5344CB8AC3E}">
        <p14:creationId xmlns:p14="http://schemas.microsoft.com/office/powerpoint/2010/main" val="3658194971"/>
      </p:ext>
    </p:extLst>
  </p:cSld>
  <p:clrMapOvr>
    <a:masterClrMapping/>
  </p:clrMapOvr>
  <p:transition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31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iagram of a molecule&#10;&#10;Description automatically generated">
            <a:extLst>
              <a:ext uri="{FF2B5EF4-FFF2-40B4-BE49-F238E27FC236}">
                <a16:creationId xmlns:a16="http://schemas.microsoft.com/office/drawing/2014/main" id="{079671B9-0E18-13F4-9473-43FDAA5684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7955" y="2120116"/>
            <a:ext cx="6115713" cy="4077142"/>
          </a:xfrm>
          <a:prstGeom prst="rect">
            <a:avLst/>
          </a:prstGeom>
          <a:effectLst>
            <a:glow rad="101600">
              <a:schemeClr val="bg1">
                <a:alpha val="80000"/>
              </a:schemeClr>
            </a:glow>
          </a:effectLst>
        </p:spPr>
      </p:pic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462F0D-0667-0641-986B-9ACDAE579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462F0D-0667-0641-986B-9ACDAE579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8F92D29D-B629-4D8F-A5E6-F51B9BFDAA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bg1"/>
                </a:solidFill>
              </a:rPr>
              <a:t>Classification: PUBLIC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9F11A7-3B14-466B-ABB0-9AE773AC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ja-JP" dirty="0">
                <a:solidFill>
                  <a:schemeClr val="bg1"/>
                </a:solidFill>
              </a:rPr>
              <a:t>Synthesis route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A9BA59CD-38E2-4A16-AF15-58BC88EBAB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de-DE" smtClean="0">
                <a:solidFill>
                  <a:schemeClr val="bg1"/>
                </a:solidFill>
              </a:rPr>
              <a:pPr/>
              <a:t>14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122" name="Graphic 5121">
            <a:extLst>
              <a:ext uri="{FF2B5EF4-FFF2-40B4-BE49-F238E27FC236}">
                <a16:creationId xmlns:a16="http://schemas.microsoft.com/office/drawing/2014/main" id="{9CEF06BE-2A0B-55A3-F9E4-2EE7B98C0C2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38215" y="6432615"/>
            <a:ext cx="1109670" cy="366259"/>
          </a:xfrm>
          <a:prstGeom prst="rect">
            <a:avLst/>
          </a:prstGeom>
        </p:spPr>
      </p:pic>
      <p:sp>
        <p:nvSpPr>
          <p:cNvPr id="5" name="テキスト ボックス 15">
            <a:extLst>
              <a:ext uri="{FF2B5EF4-FFF2-40B4-BE49-F238E27FC236}">
                <a16:creationId xmlns:a16="http://schemas.microsoft.com/office/drawing/2014/main" id="{7A5EFABA-FD2B-2BB7-A8E9-543DF8F01617}"/>
              </a:ext>
            </a:extLst>
          </p:cNvPr>
          <p:cNvSpPr txBox="1"/>
          <p:nvPr/>
        </p:nvSpPr>
        <p:spPr bwMode="auto">
          <a:xfrm>
            <a:off x="5823673" y="5166842"/>
            <a:ext cx="704510" cy="349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chemeClr val="bg1"/>
                </a:solidFill>
                <a:latin typeface="Arial"/>
              </a:rPr>
              <a:t>Target</a:t>
            </a:r>
          </a:p>
        </p:txBody>
      </p:sp>
      <p:grpSp>
        <p:nvGrpSpPr>
          <p:cNvPr id="5121" name="Group 5120">
            <a:extLst>
              <a:ext uri="{FF2B5EF4-FFF2-40B4-BE49-F238E27FC236}">
                <a16:creationId xmlns:a16="http://schemas.microsoft.com/office/drawing/2014/main" id="{037CF2C7-FCDB-1DAE-EB81-FA5DCD1CE88F}"/>
              </a:ext>
            </a:extLst>
          </p:cNvPr>
          <p:cNvGrpSpPr/>
          <p:nvPr/>
        </p:nvGrpSpPr>
        <p:grpSpPr>
          <a:xfrm>
            <a:off x="5270056" y="3799322"/>
            <a:ext cx="2998307" cy="2134357"/>
            <a:chOff x="5270056" y="3799322"/>
            <a:chExt cx="2998307" cy="2134357"/>
          </a:xfrm>
        </p:grpSpPr>
        <p:sp>
          <p:nvSpPr>
            <p:cNvPr id="12" name="Flowchart: Alternate Process 11">
              <a:extLst>
                <a:ext uri="{FF2B5EF4-FFF2-40B4-BE49-F238E27FC236}">
                  <a16:creationId xmlns:a16="http://schemas.microsoft.com/office/drawing/2014/main" id="{98DEDB55-1685-2CFE-58D8-89574A8F98B9}"/>
                </a:ext>
              </a:extLst>
            </p:cNvPr>
            <p:cNvSpPr/>
            <p:nvPr/>
          </p:nvSpPr>
          <p:spPr bwMode="auto">
            <a:xfrm rot="16949960">
              <a:off x="5311331" y="5521284"/>
              <a:ext cx="368300" cy="450850"/>
            </a:xfrm>
            <a:prstGeom prst="flowChartAlternateProcess">
              <a:avLst/>
            </a:prstGeom>
            <a:noFill/>
            <a:ln w="76200">
              <a:solidFill>
                <a:srgbClr val="FFC000"/>
              </a:solidFill>
              <a:headEnd type="none" w="sm" len="sm"/>
              <a:tailEnd type="non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sp>
          <p:nvSpPr>
            <p:cNvPr id="13" name="Flowchart: Alternate Process 12">
              <a:extLst>
                <a:ext uri="{FF2B5EF4-FFF2-40B4-BE49-F238E27FC236}">
                  <a16:creationId xmlns:a16="http://schemas.microsoft.com/office/drawing/2014/main" id="{80CEB34A-FD22-C6F2-43E3-79613BCE3712}"/>
                </a:ext>
              </a:extLst>
            </p:cNvPr>
            <p:cNvSpPr/>
            <p:nvPr/>
          </p:nvSpPr>
          <p:spPr bwMode="auto">
            <a:xfrm rot="15353542">
              <a:off x="6675799" y="5524104"/>
              <a:ext cx="368300" cy="450850"/>
            </a:xfrm>
            <a:prstGeom prst="flowChartAlternateProcess">
              <a:avLst/>
            </a:prstGeom>
            <a:noFill/>
            <a:ln w="76200">
              <a:solidFill>
                <a:srgbClr val="FFC000"/>
              </a:solidFill>
              <a:headEnd type="none" w="sm" len="sm"/>
              <a:tailEnd type="non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sp>
          <p:nvSpPr>
            <p:cNvPr id="15" name="Flowchart: Alternate Process 14">
              <a:extLst>
                <a:ext uri="{FF2B5EF4-FFF2-40B4-BE49-F238E27FC236}">
                  <a16:creationId xmlns:a16="http://schemas.microsoft.com/office/drawing/2014/main" id="{C05F541B-4617-4C38-1E8B-635041F22A6B}"/>
                </a:ext>
              </a:extLst>
            </p:cNvPr>
            <p:cNvSpPr/>
            <p:nvPr/>
          </p:nvSpPr>
          <p:spPr bwMode="auto">
            <a:xfrm rot="13762903">
              <a:off x="7858788" y="3758047"/>
              <a:ext cx="368300" cy="450850"/>
            </a:xfrm>
            <a:prstGeom prst="flowChartAlternateProcess">
              <a:avLst/>
            </a:prstGeom>
            <a:noFill/>
            <a:ln w="76200">
              <a:solidFill>
                <a:srgbClr val="FFC000"/>
              </a:solidFill>
              <a:headEnd type="none" w="sm" len="sm"/>
              <a:tailEnd type="non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sp>
          <p:nvSpPr>
            <p:cNvPr id="17" name="Flowchart: Alternate Process 16">
              <a:extLst>
                <a:ext uri="{FF2B5EF4-FFF2-40B4-BE49-F238E27FC236}">
                  <a16:creationId xmlns:a16="http://schemas.microsoft.com/office/drawing/2014/main" id="{EE464827-CF4B-1C07-9E87-6EF20CCB96A8}"/>
                </a:ext>
              </a:extLst>
            </p:cNvPr>
            <p:cNvSpPr/>
            <p:nvPr/>
          </p:nvSpPr>
          <p:spPr bwMode="auto">
            <a:xfrm rot="10800000">
              <a:off x="7287155" y="3800019"/>
              <a:ext cx="368300" cy="450850"/>
            </a:xfrm>
            <a:prstGeom prst="flowChartAlternateProcess">
              <a:avLst/>
            </a:prstGeom>
            <a:noFill/>
            <a:ln w="76200">
              <a:solidFill>
                <a:srgbClr val="FFC000"/>
              </a:solidFill>
              <a:headEnd type="none" w="sm" len="sm"/>
              <a:tailEnd type="non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sp>
          <p:nvSpPr>
            <p:cNvPr id="18" name="Flowchart: Alternate Process 17">
              <a:extLst>
                <a:ext uri="{FF2B5EF4-FFF2-40B4-BE49-F238E27FC236}">
                  <a16:creationId xmlns:a16="http://schemas.microsoft.com/office/drawing/2014/main" id="{E9AFE9AB-D98D-290F-25C3-13DEFCABBCFA}"/>
                </a:ext>
              </a:extLst>
            </p:cNvPr>
            <p:cNvSpPr/>
            <p:nvPr/>
          </p:nvSpPr>
          <p:spPr bwMode="auto">
            <a:xfrm rot="8004766">
              <a:off x="6685585" y="3766096"/>
              <a:ext cx="368300" cy="450850"/>
            </a:xfrm>
            <a:prstGeom prst="flowChartAlternateProcess">
              <a:avLst/>
            </a:prstGeom>
            <a:noFill/>
            <a:ln w="76200">
              <a:solidFill>
                <a:srgbClr val="FFC000"/>
              </a:solidFill>
              <a:headEnd type="none" w="sm" len="sm"/>
              <a:tailEnd type="none" w="sm" len="sm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</p:grpSp>
      <p:grpSp>
        <p:nvGrpSpPr>
          <p:cNvPr id="5142" name="Group 5141">
            <a:extLst>
              <a:ext uri="{FF2B5EF4-FFF2-40B4-BE49-F238E27FC236}">
                <a16:creationId xmlns:a16="http://schemas.microsoft.com/office/drawing/2014/main" id="{9220E438-4895-AAA2-7674-0B7BC10D5C5F}"/>
              </a:ext>
            </a:extLst>
          </p:cNvPr>
          <p:cNvGrpSpPr/>
          <p:nvPr/>
        </p:nvGrpSpPr>
        <p:grpSpPr>
          <a:xfrm>
            <a:off x="476030" y="528445"/>
            <a:ext cx="5539376" cy="1204557"/>
            <a:chOff x="476030" y="593762"/>
            <a:chExt cx="5539376" cy="1204557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AF92528E-5890-FD80-1286-21699360102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030" y="593762"/>
              <a:ext cx="5539376" cy="1204557"/>
            </a:xfrm>
            <a:prstGeom prst="rect">
              <a:avLst/>
            </a:prstGeom>
          </p:spPr>
        </p:pic>
        <p:pic>
          <p:nvPicPr>
            <p:cNvPr id="5120" name="Picture 2">
              <a:extLst>
                <a:ext uri="{FF2B5EF4-FFF2-40B4-BE49-F238E27FC236}">
                  <a16:creationId xmlns:a16="http://schemas.microsoft.com/office/drawing/2014/main" id="{254639B7-A8D7-B574-02B2-B003F1A6B6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1683" y="798091"/>
              <a:ext cx="972837" cy="365105"/>
            </a:xfrm>
            <a:prstGeom prst="rect">
              <a:avLst/>
            </a:prstGeom>
            <a:noFill/>
            <a:effectLst>
              <a:glow rad="127000">
                <a:schemeClr val="bg1"/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43" name="Group 5142">
            <a:extLst>
              <a:ext uri="{FF2B5EF4-FFF2-40B4-BE49-F238E27FC236}">
                <a16:creationId xmlns:a16="http://schemas.microsoft.com/office/drawing/2014/main" id="{0AD5587D-56B1-4C0B-2C97-E7FEA310D7D6}"/>
              </a:ext>
            </a:extLst>
          </p:cNvPr>
          <p:cNvGrpSpPr/>
          <p:nvPr/>
        </p:nvGrpSpPr>
        <p:grpSpPr>
          <a:xfrm>
            <a:off x="6175422" y="195331"/>
            <a:ext cx="5536518" cy="1518437"/>
            <a:chOff x="6175422" y="260648"/>
            <a:chExt cx="5536518" cy="1518437"/>
          </a:xfrm>
        </p:grpSpPr>
        <p:pic>
          <p:nvPicPr>
            <p:cNvPr id="5125" name="Picture 5124">
              <a:extLst>
                <a:ext uri="{FF2B5EF4-FFF2-40B4-BE49-F238E27FC236}">
                  <a16:creationId xmlns:a16="http://schemas.microsoft.com/office/drawing/2014/main" id="{EB5E8FB7-4511-9EBD-D9B1-78564A5FA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5422" y="575150"/>
              <a:ext cx="5536518" cy="1203935"/>
            </a:xfrm>
            <a:prstGeom prst="rect">
              <a:avLst/>
            </a:prstGeom>
          </p:spPr>
        </p:pic>
        <p:pic>
          <p:nvPicPr>
            <p:cNvPr id="5126" name="Picture 5125" descr="A logo of a moon and stars&#10;&#10;Description automatically generated">
              <a:extLst>
                <a:ext uri="{FF2B5EF4-FFF2-40B4-BE49-F238E27FC236}">
                  <a16:creationId xmlns:a16="http://schemas.microsoft.com/office/drawing/2014/main" id="{025E8B75-D71E-B1E4-4D2F-701BA0AE09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artisticGlowEdges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70" t="8629" r="34827" b="34265"/>
            <a:stretch/>
          </p:blipFill>
          <p:spPr>
            <a:xfrm>
              <a:off x="10800499" y="260648"/>
              <a:ext cx="708369" cy="719996"/>
            </a:xfrm>
            <a:prstGeom prst="rect">
              <a:avLst/>
            </a:prstGeom>
            <a:effectLst>
              <a:glow rad="127000">
                <a:schemeClr val="bg1"/>
              </a:glow>
            </a:effectLst>
          </p:spPr>
        </p:pic>
      </p:grpSp>
      <p:sp>
        <p:nvSpPr>
          <p:cNvPr id="5130" name="Freeform: Shape 5129">
            <a:extLst>
              <a:ext uri="{FF2B5EF4-FFF2-40B4-BE49-F238E27FC236}">
                <a16:creationId xmlns:a16="http://schemas.microsoft.com/office/drawing/2014/main" id="{3EB382DF-13CA-769A-2D09-7091C5DDB545}"/>
              </a:ext>
            </a:extLst>
          </p:cNvPr>
          <p:cNvSpPr/>
          <p:nvPr/>
        </p:nvSpPr>
        <p:spPr bwMode="auto">
          <a:xfrm>
            <a:off x="2194560" y="1988820"/>
            <a:ext cx="7147560" cy="4556760"/>
          </a:xfrm>
          <a:custGeom>
            <a:avLst/>
            <a:gdLst>
              <a:gd name="connsiteX0" fmla="*/ 7147560 w 7147560"/>
              <a:gd name="connsiteY0" fmla="*/ 144780 h 4556760"/>
              <a:gd name="connsiteX1" fmla="*/ 7147560 w 7147560"/>
              <a:gd name="connsiteY1" fmla="*/ 144780 h 4556760"/>
              <a:gd name="connsiteX2" fmla="*/ 7071360 w 7147560"/>
              <a:gd name="connsiteY2" fmla="*/ 137160 h 4556760"/>
              <a:gd name="connsiteX3" fmla="*/ 7040880 w 7147560"/>
              <a:gd name="connsiteY3" fmla="*/ 129540 h 4556760"/>
              <a:gd name="connsiteX4" fmla="*/ 6987540 w 7147560"/>
              <a:gd name="connsiteY4" fmla="*/ 121920 h 4556760"/>
              <a:gd name="connsiteX5" fmla="*/ 6842760 w 7147560"/>
              <a:gd name="connsiteY5" fmla="*/ 121920 h 4556760"/>
              <a:gd name="connsiteX6" fmla="*/ 6576060 w 7147560"/>
              <a:gd name="connsiteY6" fmla="*/ 99060 h 4556760"/>
              <a:gd name="connsiteX7" fmla="*/ 6438900 w 7147560"/>
              <a:gd name="connsiteY7" fmla="*/ 30480 h 4556760"/>
              <a:gd name="connsiteX8" fmla="*/ 6294120 w 7147560"/>
              <a:gd name="connsiteY8" fmla="*/ 0 h 4556760"/>
              <a:gd name="connsiteX9" fmla="*/ 5829300 w 7147560"/>
              <a:gd name="connsiteY9" fmla="*/ 22860 h 4556760"/>
              <a:gd name="connsiteX10" fmla="*/ 5707380 w 7147560"/>
              <a:gd name="connsiteY10" fmla="*/ 38100 h 4556760"/>
              <a:gd name="connsiteX11" fmla="*/ 5669280 w 7147560"/>
              <a:gd name="connsiteY11" fmla="*/ 45720 h 4556760"/>
              <a:gd name="connsiteX12" fmla="*/ 4945380 w 7147560"/>
              <a:gd name="connsiteY12" fmla="*/ 68580 h 4556760"/>
              <a:gd name="connsiteX13" fmla="*/ 4914900 w 7147560"/>
              <a:gd name="connsiteY13" fmla="*/ 83820 h 4556760"/>
              <a:gd name="connsiteX14" fmla="*/ 4853940 w 7147560"/>
              <a:gd name="connsiteY14" fmla="*/ 99060 h 4556760"/>
              <a:gd name="connsiteX15" fmla="*/ 4777740 w 7147560"/>
              <a:gd name="connsiteY15" fmla="*/ 137160 h 4556760"/>
              <a:gd name="connsiteX16" fmla="*/ 4701540 w 7147560"/>
              <a:gd name="connsiteY16" fmla="*/ 198120 h 4556760"/>
              <a:gd name="connsiteX17" fmla="*/ 4686300 w 7147560"/>
              <a:gd name="connsiteY17" fmla="*/ 220980 h 4556760"/>
              <a:gd name="connsiteX18" fmla="*/ 4701540 w 7147560"/>
              <a:gd name="connsiteY18" fmla="*/ 1021080 h 4556760"/>
              <a:gd name="connsiteX19" fmla="*/ 4716780 w 7147560"/>
              <a:gd name="connsiteY19" fmla="*/ 1066800 h 4556760"/>
              <a:gd name="connsiteX20" fmla="*/ 4747260 w 7147560"/>
              <a:gd name="connsiteY20" fmla="*/ 1165860 h 4556760"/>
              <a:gd name="connsiteX21" fmla="*/ 4770120 w 7147560"/>
              <a:gd name="connsiteY21" fmla="*/ 1249680 h 4556760"/>
              <a:gd name="connsiteX22" fmla="*/ 4777740 w 7147560"/>
              <a:gd name="connsiteY22" fmla="*/ 1287780 h 4556760"/>
              <a:gd name="connsiteX23" fmla="*/ 4792980 w 7147560"/>
              <a:gd name="connsiteY23" fmla="*/ 1325880 h 4556760"/>
              <a:gd name="connsiteX24" fmla="*/ 4815840 w 7147560"/>
              <a:gd name="connsiteY24" fmla="*/ 1432560 h 4556760"/>
              <a:gd name="connsiteX25" fmla="*/ 4823460 w 7147560"/>
              <a:gd name="connsiteY25" fmla="*/ 1470660 h 4556760"/>
              <a:gd name="connsiteX26" fmla="*/ 4838700 w 7147560"/>
              <a:gd name="connsiteY26" fmla="*/ 1516380 h 4556760"/>
              <a:gd name="connsiteX27" fmla="*/ 4846320 w 7147560"/>
              <a:gd name="connsiteY27" fmla="*/ 1539240 h 4556760"/>
              <a:gd name="connsiteX28" fmla="*/ 4869180 w 7147560"/>
              <a:gd name="connsiteY28" fmla="*/ 1607820 h 4556760"/>
              <a:gd name="connsiteX29" fmla="*/ 4899660 w 7147560"/>
              <a:gd name="connsiteY29" fmla="*/ 1767840 h 4556760"/>
              <a:gd name="connsiteX30" fmla="*/ 4930140 w 7147560"/>
              <a:gd name="connsiteY30" fmla="*/ 1790700 h 4556760"/>
              <a:gd name="connsiteX31" fmla="*/ 4945380 w 7147560"/>
              <a:gd name="connsiteY31" fmla="*/ 1828800 h 4556760"/>
              <a:gd name="connsiteX32" fmla="*/ 5013960 w 7147560"/>
              <a:gd name="connsiteY32" fmla="*/ 1905000 h 4556760"/>
              <a:gd name="connsiteX33" fmla="*/ 5029200 w 7147560"/>
              <a:gd name="connsiteY33" fmla="*/ 1935480 h 4556760"/>
              <a:gd name="connsiteX34" fmla="*/ 5052060 w 7147560"/>
              <a:gd name="connsiteY34" fmla="*/ 2011680 h 4556760"/>
              <a:gd name="connsiteX35" fmla="*/ 5067300 w 7147560"/>
              <a:gd name="connsiteY35" fmla="*/ 2080260 h 4556760"/>
              <a:gd name="connsiteX36" fmla="*/ 5074920 w 7147560"/>
              <a:gd name="connsiteY36" fmla="*/ 2103120 h 4556760"/>
              <a:gd name="connsiteX37" fmla="*/ 5128260 w 7147560"/>
              <a:gd name="connsiteY37" fmla="*/ 2179320 h 4556760"/>
              <a:gd name="connsiteX38" fmla="*/ 5166360 w 7147560"/>
              <a:gd name="connsiteY38" fmla="*/ 2194560 h 4556760"/>
              <a:gd name="connsiteX39" fmla="*/ 5204460 w 7147560"/>
              <a:gd name="connsiteY39" fmla="*/ 2202180 h 4556760"/>
              <a:gd name="connsiteX40" fmla="*/ 5478780 w 7147560"/>
              <a:gd name="connsiteY40" fmla="*/ 2225040 h 4556760"/>
              <a:gd name="connsiteX41" fmla="*/ 5516880 w 7147560"/>
              <a:gd name="connsiteY41" fmla="*/ 2255520 h 4556760"/>
              <a:gd name="connsiteX42" fmla="*/ 5539740 w 7147560"/>
              <a:gd name="connsiteY42" fmla="*/ 2270760 h 4556760"/>
              <a:gd name="connsiteX43" fmla="*/ 5562600 w 7147560"/>
              <a:gd name="connsiteY43" fmla="*/ 2293620 h 4556760"/>
              <a:gd name="connsiteX44" fmla="*/ 5593080 w 7147560"/>
              <a:gd name="connsiteY44" fmla="*/ 2308860 h 4556760"/>
              <a:gd name="connsiteX45" fmla="*/ 5638800 w 7147560"/>
              <a:gd name="connsiteY45" fmla="*/ 2362200 h 4556760"/>
              <a:gd name="connsiteX46" fmla="*/ 5692140 w 7147560"/>
              <a:gd name="connsiteY46" fmla="*/ 2438400 h 4556760"/>
              <a:gd name="connsiteX47" fmla="*/ 5775960 w 7147560"/>
              <a:gd name="connsiteY47" fmla="*/ 2705100 h 4556760"/>
              <a:gd name="connsiteX48" fmla="*/ 5867400 w 7147560"/>
              <a:gd name="connsiteY48" fmla="*/ 2971800 h 4556760"/>
              <a:gd name="connsiteX49" fmla="*/ 5935980 w 7147560"/>
              <a:gd name="connsiteY49" fmla="*/ 3185160 h 4556760"/>
              <a:gd name="connsiteX50" fmla="*/ 5966460 w 7147560"/>
              <a:gd name="connsiteY50" fmla="*/ 3284220 h 4556760"/>
              <a:gd name="connsiteX51" fmla="*/ 5981700 w 7147560"/>
              <a:gd name="connsiteY51" fmla="*/ 3413760 h 4556760"/>
              <a:gd name="connsiteX52" fmla="*/ 6012180 w 7147560"/>
              <a:gd name="connsiteY52" fmla="*/ 3634740 h 4556760"/>
              <a:gd name="connsiteX53" fmla="*/ 5951220 w 7147560"/>
              <a:gd name="connsiteY53" fmla="*/ 3855720 h 4556760"/>
              <a:gd name="connsiteX54" fmla="*/ 5935980 w 7147560"/>
              <a:gd name="connsiteY54" fmla="*/ 3878580 h 4556760"/>
              <a:gd name="connsiteX55" fmla="*/ 5753100 w 7147560"/>
              <a:gd name="connsiteY55" fmla="*/ 4023360 h 4556760"/>
              <a:gd name="connsiteX56" fmla="*/ 5699760 w 7147560"/>
              <a:gd name="connsiteY56" fmla="*/ 4046220 h 4556760"/>
              <a:gd name="connsiteX57" fmla="*/ 5654040 w 7147560"/>
              <a:gd name="connsiteY57" fmla="*/ 4061460 h 4556760"/>
              <a:gd name="connsiteX58" fmla="*/ 5547360 w 7147560"/>
              <a:gd name="connsiteY58" fmla="*/ 4107180 h 4556760"/>
              <a:gd name="connsiteX59" fmla="*/ 5455920 w 7147560"/>
              <a:gd name="connsiteY59" fmla="*/ 4130040 h 4556760"/>
              <a:gd name="connsiteX60" fmla="*/ 5410200 w 7147560"/>
              <a:gd name="connsiteY60" fmla="*/ 4152900 h 4556760"/>
              <a:gd name="connsiteX61" fmla="*/ 5113020 w 7147560"/>
              <a:gd name="connsiteY61" fmla="*/ 4191000 h 4556760"/>
              <a:gd name="connsiteX62" fmla="*/ 5059680 w 7147560"/>
              <a:gd name="connsiteY62" fmla="*/ 4198620 h 4556760"/>
              <a:gd name="connsiteX63" fmla="*/ 5013960 w 7147560"/>
              <a:gd name="connsiteY63" fmla="*/ 4213860 h 4556760"/>
              <a:gd name="connsiteX64" fmla="*/ 4693920 w 7147560"/>
              <a:gd name="connsiteY64" fmla="*/ 4213860 h 4556760"/>
              <a:gd name="connsiteX65" fmla="*/ 4610100 w 7147560"/>
              <a:gd name="connsiteY65" fmla="*/ 4221480 h 4556760"/>
              <a:gd name="connsiteX66" fmla="*/ 4579620 w 7147560"/>
              <a:gd name="connsiteY66" fmla="*/ 4236720 h 4556760"/>
              <a:gd name="connsiteX67" fmla="*/ 4495800 w 7147560"/>
              <a:gd name="connsiteY67" fmla="*/ 4251960 h 4556760"/>
              <a:gd name="connsiteX68" fmla="*/ 4107180 w 7147560"/>
              <a:gd name="connsiteY68" fmla="*/ 4259580 h 4556760"/>
              <a:gd name="connsiteX69" fmla="*/ 3680460 w 7147560"/>
              <a:gd name="connsiteY69" fmla="*/ 4259580 h 4556760"/>
              <a:gd name="connsiteX70" fmla="*/ 3611880 w 7147560"/>
              <a:gd name="connsiteY70" fmla="*/ 4221480 h 4556760"/>
              <a:gd name="connsiteX71" fmla="*/ 3566160 w 7147560"/>
              <a:gd name="connsiteY71" fmla="*/ 4206240 h 4556760"/>
              <a:gd name="connsiteX72" fmla="*/ 3581400 w 7147560"/>
              <a:gd name="connsiteY72" fmla="*/ 4038600 h 4556760"/>
              <a:gd name="connsiteX73" fmla="*/ 3596640 w 7147560"/>
              <a:gd name="connsiteY73" fmla="*/ 4000500 h 4556760"/>
              <a:gd name="connsiteX74" fmla="*/ 3611880 w 7147560"/>
              <a:gd name="connsiteY74" fmla="*/ 3924300 h 4556760"/>
              <a:gd name="connsiteX75" fmla="*/ 3634740 w 7147560"/>
              <a:gd name="connsiteY75" fmla="*/ 3855720 h 4556760"/>
              <a:gd name="connsiteX76" fmla="*/ 3642360 w 7147560"/>
              <a:gd name="connsiteY76" fmla="*/ 3710940 h 4556760"/>
              <a:gd name="connsiteX77" fmla="*/ 3596640 w 7147560"/>
              <a:gd name="connsiteY77" fmla="*/ 3482340 h 4556760"/>
              <a:gd name="connsiteX78" fmla="*/ 3528060 w 7147560"/>
              <a:gd name="connsiteY78" fmla="*/ 3322320 h 4556760"/>
              <a:gd name="connsiteX79" fmla="*/ 3482340 w 7147560"/>
              <a:gd name="connsiteY79" fmla="*/ 3208020 h 4556760"/>
              <a:gd name="connsiteX80" fmla="*/ 3413760 w 7147560"/>
              <a:gd name="connsiteY80" fmla="*/ 2865120 h 4556760"/>
              <a:gd name="connsiteX81" fmla="*/ 3017520 w 7147560"/>
              <a:gd name="connsiteY81" fmla="*/ 1714500 h 4556760"/>
              <a:gd name="connsiteX82" fmla="*/ 2994660 w 7147560"/>
              <a:gd name="connsiteY82" fmla="*/ 1546860 h 4556760"/>
              <a:gd name="connsiteX83" fmla="*/ 3032760 w 7147560"/>
              <a:gd name="connsiteY83" fmla="*/ 1379220 h 4556760"/>
              <a:gd name="connsiteX84" fmla="*/ 3048000 w 7147560"/>
              <a:gd name="connsiteY84" fmla="*/ 1333500 h 4556760"/>
              <a:gd name="connsiteX85" fmla="*/ 3124200 w 7147560"/>
              <a:gd name="connsiteY85" fmla="*/ 1165860 h 4556760"/>
              <a:gd name="connsiteX86" fmla="*/ 3139440 w 7147560"/>
              <a:gd name="connsiteY86" fmla="*/ 1097280 h 4556760"/>
              <a:gd name="connsiteX87" fmla="*/ 3147060 w 7147560"/>
              <a:gd name="connsiteY87" fmla="*/ 1074420 h 4556760"/>
              <a:gd name="connsiteX88" fmla="*/ 3162300 w 7147560"/>
              <a:gd name="connsiteY88" fmla="*/ 693420 h 4556760"/>
              <a:gd name="connsiteX89" fmla="*/ 3169920 w 7147560"/>
              <a:gd name="connsiteY89" fmla="*/ 640080 h 4556760"/>
              <a:gd name="connsiteX90" fmla="*/ 3200400 w 7147560"/>
              <a:gd name="connsiteY90" fmla="*/ 541020 h 4556760"/>
              <a:gd name="connsiteX91" fmla="*/ 3169920 w 7147560"/>
              <a:gd name="connsiteY91" fmla="*/ 190500 h 4556760"/>
              <a:gd name="connsiteX92" fmla="*/ 3124200 w 7147560"/>
              <a:gd name="connsiteY92" fmla="*/ 144780 h 4556760"/>
              <a:gd name="connsiteX93" fmla="*/ 3078480 w 7147560"/>
              <a:gd name="connsiteY93" fmla="*/ 114300 h 4556760"/>
              <a:gd name="connsiteX94" fmla="*/ 2887980 w 7147560"/>
              <a:gd name="connsiteY94" fmla="*/ 83820 h 4556760"/>
              <a:gd name="connsiteX95" fmla="*/ 2720340 w 7147560"/>
              <a:gd name="connsiteY95" fmla="*/ 60960 h 4556760"/>
              <a:gd name="connsiteX96" fmla="*/ 2682240 w 7147560"/>
              <a:gd name="connsiteY96" fmla="*/ 38100 h 4556760"/>
              <a:gd name="connsiteX97" fmla="*/ 2636520 w 7147560"/>
              <a:gd name="connsiteY97" fmla="*/ 22860 h 4556760"/>
              <a:gd name="connsiteX98" fmla="*/ 2385060 w 7147560"/>
              <a:gd name="connsiteY98" fmla="*/ 7620 h 4556760"/>
              <a:gd name="connsiteX99" fmla="*/ 2240280 w 7147560"/>
              <a:gd name="connsiteY99" fmla="*/ 0 h 4556760"/>
              <a:gd name="connsiteX100" fmla="*/ 990600 w 7147560"/>
              <a:gd name="connsiteY100" fmla="*/ 30480 h 4556760"/>
              <a:gd name="connsiteX101" fmla="*/ 723900 w 7147560"/>
              <a:gd name="connsiteY101" fmla="*/ 121920 h 4556760"/>
              <a:gd name="connsiteX102" fmla="*/ 556260 w 7147560"/>
              <a:gd name="connsiteY102" fmla="*/ 198120 h 4556760"/>
              <a:gd name="connsiteX103" fmla="*/ 251460 w 7147560"/>
              <a:gd name="connsiteY103" fmla="*/ 441960 h 4556760"/>
              <a:gd name="connsiteX104" fmla="*/ 0 w 7147560"/>
              <a:gd name="connsiteY104" fmla="*/ 899160 h 4556760"/>
              <a:gd name="connsiteX105" fmla="*/ 15240 w 7147560"/>
              <a:gd name="connsiteY105" fmla="*/ 1165860 h 4556760"/>
              <a:gd name="connsiteX106" fmla="*/ 457200 w 7147560"/>
              <a:gd name="connsiteY106" fmla="*/ 2392680 h 4556760"/>
              <a:gd name="connsiteX107" fmla="*/ 883920 w 7147560"/>
              <a:gd name="connsiteY107" fmla="*/ 3223260 h 4556760"/>
              <a:gd name="connsiteX108" fmla="*/ 1455420 w 7147560"/>
              <a:gd name="connsiteY108" fmla="*/ 4084320 h 4556760"/>
              <a:gd name="connsiteX109" fmla="*/ 1912620 w 7147560"/>
              <a:gd name="connsiteY109" fmla="*/ 4541520 h 4556760"/>
              <a:gd name="connsiteX110" fmla="*/ 2072640 w 7147560"/>
              <a:gd name="connsiteY110" fmla="*/ 4556760 h 4556760"/>
              <a:gd name="connsiteX111" fmla="*/ 2270760 w 7147560"/>
              <a:gd name="connsiteY111" fmla="*/ 4503420 h 4556760"/>
              <a:gd name="connsiteX112" fmla="*/ 2316480 w 7147560"/>
              <a:gd name="connsiteY112" fmla="*/ 4465320 h 4556760"/>
              <a:gd name="connsiteX113" fmla="*/ 2400300 w 7147560"/>
              <a:gd name="connsiteY113" fmla="*/ 4404360 h 4556760"/>
              <a:gd name="connsiteX114" fmla="*/ 2484120 w 7147560"/>
              <a:gd name="connsiteY114" fmla="*/ 4343400 h 4556760"/>
              <a:gd name="connsiteX115" fmla="*/ 2506980 w 7147560"/>
              <a:gd name="connsiteY115" fmla="*/ 4320540 h 4556760"/>
              <a:gd name="connsiteX116" fmla="*/ 2522220 w 7147560"/>
              <a:gd name="connsiteY116" fmla="*/ 4351020 h 4556760"/>
              <a:gd name="connsiteX117" fmla="*/ 2377440 w 7147560"/>
              <a:gd name="connsiteY117" fmla="*/ 4511040 h 4556760"/>
              <a:gd name="connsiteX118" fmla="*/ 2324100 w 7147560"/>
              <a:gd name="connsiteY118" fmla="*/ 4533900 h 4556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7147560" h="4556760">
                <a:moveTo>
                  <a:pt x="7147560" y="144780"/>
                </a:moveTo>
                <a:lnTo>
                  <a:pt x="7147560" y="144780"/>
                </a:lnTo>
                <a:cubicBezTo>
                  <a:pt x="7122160" y="142240"/>
                  <a:pt x="7096630" y="140770"/>
                  <a:pt x="7071360" y="137160"/>
                </a:cubicBezTo>
                <a:cubicBezTo>
                  <a:pt x="7060993" y="135679"/>
                  <a:pt x="7051184" y="131413"/>
                  <a:pt x="7040880" y="129540"/>
                </a:cubicBezTo>
                <a:cubicBezTo>
                  <a:pt x="7023209" y="126327"/>
                  <a:pt x="7005320" y="124460"/>
                  <a:pt x="6987540" y="121920"/>
                </a:cubicBezTo>
                <a:cubicBezTo>
                  <a:pt x="6917186" y="98469"/>
                  <a:pt x="7017633" y="128778"/>
                  <a:pt x="6842760" y="121920"/>
                </a:cubicBezTo>
                <a:cubicBezTo>
                  <a:pt x="6753603" y="118424"/>
                  <a:pt x="6664960" y="106680"/>
                  <a:pt x="6576060" y="99060"/>
                </a:cubicBezTo>
                <a:cubicBezTo>
                  <a:pt x="6530340" y="76200"/>
                  <a:pt x="6486133" y="50024"/>
                  <a:pt x="6438900" y="30480"/>
                </a:cubicBezTo>
                <a:cubicBezTo>
                  <a:pt x="6385917" y="8556"/>
                  <a:pt x="6348042" y="6740"/>
                  <a:pt x="6294120" y="0"/>
                </a:cubicBezTo>
                <a:cubicBezTo>
                  <a:pt x="5984244" y="25823"/>
                  <a:pt x="6617299" y="-25632"/>
                  <a:pt x="5829300" y="22860"/>
                </a:cubicBezTo>
                <a:cubicBezTo>
                  <a:pt x="5788421" y="25376"/>
                  <a:pt x="5747925" y="32308"/>
                  <a:pt x="5707380" y="38100"/>
                </a:cubicBezTo>
                <a:cubicBezTo>
                  <a:pt x="5694559" y="39932"/>
                  <a:pt x="5682215" y="45062"/>
                  <a:pt x="5669280" y="45720"/>
                </a:cubicBezTo>
                <a:cubicBezTo>
                  <a:pt x="5422828" y="58251"/>
                  <a:pt x="5190755" y="62595"/>
                  <a:pt x="4945380" y="68580"/>
                </a:cubicBezTo>
                <a:cubicBezTo>
                  <a:pt x="4935220" y="73660"/>
                  <a:pt x="4925676" y="80228"/>
                  <a:pt x="4914900" y="83820"/>
                </a:cubicBezTo>
                <a:cubicBezTo>
                  <a:pt x="4895029" y="90444"/>
                  <a:pt x="4873461" y="91468"/>
                  <a:pt x="4853940" y="99060"/>
                </a:cubicBezTo>
                <a:cubicBezTo>
                  <a:pt x="4827473" y="109353"/>
                  <a:pt x="4801369" y="121408"/>
                  <a:pt x="4777740" y="137160"/>
                </a:cubicBezTo>
                <a:cubicBezTo>
                  <a:pt x="4738520" y="163307"/>
                  <a:pt x="4730494" y="164340"/>
                  <a:pt x="4701540" y="198120"/>
                </a:cubicBezTo>
                <a:cubicBezTo>
                  <a:pt x="4695580" y="205073"/>
                  <a:pt x="4691380" y="213360"/>
                  <a:pt x="4686300" y="220980"/>
                </a:cubicBezTo>
                <a:cubicBezTo>
                  <a:pt x="4714343" y="613583"/>
                  <a:pt x="4667891" y="-66914"/>
                  <a:pt x="4701540" y="1021080"/>
                </a:cubicBezTo>
                <a:cubicBezTo>
                  <a:pt x="4702037" y="1037137"/>
                  <a:pt x="4712884" y="1051215"/>
                  <a:pt x="4716780" y="1066800"/>
                </a:cubicBezTo>
                <a:cubicBezTo>
                  <a:pt x="4740540" y="1161841"/>
                  <a:pt x="4702087" y="1060457"/>
                  <a:pt x="4747260" y="1165860"/>
                </a:cubicBezTo>
                <a:cubicBezTo>
                  <a:pt x="4765686" y="1294839"/>
                  <a:pt x="4741030" y="1162409"/>
                  <a:pt x="4770120" y="1249680"/>
                </a:cubicBezTo>
                <a:cubicBezTo>
                  <a:pt x="4774216" y="1261967"/>
                  <a:pt x="4774018" y="1275375"/>
                  <a:pt x="4777740" y="1287780"/>
                </a:cubicBezTo>
                <a:cubicBezTo>
                  <a:pt x="4781670" y="1300881"/>
                  <a:pt x="4787900" y="1313180"/>
                  <a:pt x="4792980" y="1325880"/>
                </a:cubicBezTo>
                <a:cubicBezTo>
                  <a:pt x="4806851" y="1436851"/>
                  <a:pt x="4790783" y="1340686"/>
                  <a:pt x="4815840" y="1432560"/>
                </a:cubicBezTo>
                <a:cubicBezTo>
                  <a:pt x="4819248" y="1445055"/>
                  <a:pt x="4820052" y="1458165"/>
                  <a:pt x="4823460" y="1470660"/>
                </a:cubicBezTo>
                <a:cubicBezTo>
                  <a:pt x="4827687" y="1486158"/>
                  <a:pt x="4833620" y="1501140"/>
                  <a:pt x="4838700" y="1516380"/>
                </a:cubicBezTo>
                <a:cubicBezTo>
                  <a:pt x="4841240" y="1524000"/>
                  <a:pt x="4844372" y="1531448"/>
                  <a:pt x="4846320" y="1539240"/>
                </a:cubicBezTo>
                <a:cubicBezTo>
                  <a:pt x="4857257" y="1582990"/>
                  <a:pt x="4850051" y="1559996"/>
                  <a:pt x="4869180" y="1607820"/>
                </a:cubicBezTo>
                <a:cubicBezTo>
                  <a:pt x="4874082" y="1691158"/>
                  <a:pt x="4851864" y="1720044"/>
                  <a:pt x="4899660" y="1767840"/>
                </a:cubicBezTo>
                <a:cubicBezTo>
                  <a:pt x="4908640" y="1776820"/>
                  <a:pt x="4919980" y="1783080"/>
                  <a:pt x="4930140" y="1790700"/>
                </a:cubicBezTo>
                <a:cubicBezTo>
                  <a:pt x="4935220" y="1803400"/>
                  <a:pt x="4938343" y="1817071"/>
                  <a:pt x="4945380" y="1828800"/>
                </a:cubicBezTo>
                <a:cubicBezTo>
                  <a:pt x="4975157" y="1878428"/>
                  <a:pt x="4977526" y="1858157"/>
                  <a:pt x="5013960" y="1905000"/>
                </a:cubicBezTo>
                <a:cubicBezTo>
                  <a:pt x="5020934" y="1913966"/>
                  <a:pt x="5024120" y="1925320"/>
                  <a:pt x="5029200" y="1935480"/>
                </a:cubicBezTo>
                <a:cubicBezTo>
                  <a:pt x="5052159" y="2050275"/>
                  <a:pt x="5018643" y="1894721"/>
                  <a:pt x="5052060" y="2011680"/>
                </a:cubicBezTo>
                <a:cubicBezTo>
                  <a:pt x="5058493" y="2034197"/>
                  <a:pt x="5061620" y="2057542"/>
                  <a:pt x="5067300" y="2080260"/>
                </a:cubicBezTo>
                <a:cubicBezTo>
                  <a:pt x="5069248" y="2088052"/>
                  <a:pt x="5071658" y="2095780"/>
                  <a:pt x="5074920" y="2103120"/>
                </a:cubicBezTo>
                <a:cubicBezTo>
                  <a:pt x="5088964" y="2134720"/>
                  <a:pt x="5098584" y="2159536"/>
                  <a:pt x="5128260" y="2179320"/>
                </a:cubicBezTo>
                <a:cubicBezTo>
                  <a:pt x="5139641" y="2186907"/>
                  <a:pt x="5153259" y="2190630"/>
                  <a:pt x="5166360" y="2194560"/>
                </a:cubicBezTo>
                <a:cubicBezTo>
                  <a:pt x="5178765" y="2198282"/>
                  <a:pt x="5191570" y="2200922"/>
                  <a:pt x="5204460" y="2202180"/>
                </a:cubicBezTo>
                <a:cubicBezTo>
                  <a:pt x="5295783" y="2211090"/>
                  <a:pt x="5387340" y="2217420"/>
                  <a:pt x="5478780" y="2225040"/>
                </a:cubicBezTo>
                <a:cubicBezTo>
                  <a:pt x="5491480" y="2235200"/>
                  <a:pt x="5503869" y="2245762"/>
                  <a:pt x="5516880" y="2255520"/>
                </a:cubicBezTo>
                <a:cubicBezTo>
                  <a:pt x="5524206" y="2261015"/>
                  <a:pt x="5532705" y="2264897"/>
                  <a:pt x="5539740" y="2270760"/>
                </a:cubicBezTo>
                <a:cubicBezTo>
                  <a:pt x="5548019" y="2277659"/>
                  <a:pt x="5553831" y="2287356"/>
                  <a:pt x="5562600" y="2293620"/>
                </a:cubicBezTo>
                <a:cubicBezTo>
                  <a:pt x="5571843" y="2300222"/>
                  <a:pt x="5583837" y="2302258"/>
                  <a:pt x="5593080" y="2308860"/>
                </a:cubicBezTo>
                <a:cubicBezTo>
                  <a:pt x="5608866" y="2320136"/>
                  <a:pt x="5628394" y="2347334"/>
                  <a:pt x="5638800" y="2362200"/>
                </a:cubicBezTo>
                <a:cubicBezTo>
                  <a:pt x="5704468" y="2456012"/>
                  <a:pt x="5638776" y="2367248"/>
                  <a:pt x="5692140" y="2438400"/>
                </a:cubicBezTo>
                <a:cubicBezTo>
                  <a:pt x="5707863" y="2579904"/>
                  <a:pt x="5690614" y="2477511"/>
                  <a:pt x="5775960" y="2705100"/>
                </a:cubicBezTo>
                <a:cubicBezTo>
                  <a:pt x="5806845" y="2787459"/>
                  <a:pt x="5841021" y="2891015"/>
                  <a:pt x="5867400" y="2971800"/>
                </a:cubicBezTo>
                <a:cubicBezTo>
                  <a:pt x="5890588" y="3042814"/>
                  <a:pt x="5913401" y="3113950"/>
                  <a:pt x="5935980" y="3185160"/>
                </a:cubicBezTo>
                <a:cubicBezTo>
                  <a:pt x="5946422" y="3218092"/>
                  <a:pt x="5966460" y="3284220"/>
                  <a:pt x="5966460" y="3284220"/>
                </a:cubicBezTo>
                <a:cubicBezTo>
                  <a:pt x="5971540" y="3327400"/>
                  <a:pt x="5975719" y="3370696"/>
                  <a:pt x="5981700" y="3413760"/>
                </a:cubicBezTo>
                <a:cubicBezTo>
                  <a:pt x="6016849" y="3666834"/>
                  <a:pt x="5995358" y="3466518"/>
                  <a:pt x="6012180" y="3634740"/>
                </a:cubicBezTo>
                <a:cubicBezTo>
                  <a:pt x="5995561" y="3739995"/>
                  <a:pt x="6004968" y="3775098"/>
                  <a:pt x="5951220" y="3855720"/>
                </a:cubicBezTo>
                <a:cubicBezTo>
                  <a:pt x="5946140" y="3863340"/>
                  <a:pt x="5941603" y="3871351"/>
                  <a:pt x="5935980" y="3878580"/>
                </a:cubicBezTo>
                <a:cubicBezTo>
                  <a:pt x="5884304" y="3945020"/>
                  <a:pt x="5843925" y="3984435"/>
                  <a:pt x="5753100" y="4023360"/>
                </a:cubicBezTo>
                <a:cubicBezTo>
                  <a:pt x="5735320" y="4030980"/>
                  <a:pt x="5717815" y="4039276"/>
                  <a:pt x="5699760" y="4046220"/>
                </a:cubicBezTo>
                <a:cubicBezTo>
                  <a:pt x="5684766" y="4051987"/>
                  <a:pt x="5668955" y="4055494"/>
                  <a:pt x="5654040" y="4061460"/>
                </a:cubicBezTo>
                <a:cubicBezTo>
                  <a:pt x="5618119" y="4075828"/>
                  <a:pt x="5584560" y="4096552"/>
                  <a:pt x="5547360" y="4107180"/>
                </a:cubicBezTo>
                <a:cubicBezTo>
                  <a:pt x="5481567" y="4125978"/>
                  <a:pt x="5512152" y="4118794"/>
                  <a:pt x="5455920" y="4130040"/>
                </a:cubicBezTo>
                <a:cubicBezTo>
                  <a:pt x="5440680" y="4137660"/>
                  <a:pt x="5426687" y="4148599"/>
                  <a:pt x="5410200" y="4152900"/>
                </a:cubicBezTo>
                <a:cubicBezTo>
                  <a:pt x="5284878" y="4185593"/>
                  <a:pt x="5248219" y="4171686"/>
                  <a:pt x="5113020" y="4191000"/>
                </a:cubicBezTo>
                <a:lnTo>
                  <a:pt x="5059680" y="4198620"/>
                </a:lnTo>
                <a:cubicBezTo>
                  <a:pt x="5044440" y="4203700"/>
                  <a:pt x="5029545" y="4209964"/>
                  <a:pt x="5013960" y="4213860"/>
                </a:cubicBezTo>
                <a:cubicBezTo>
                  <a:pt x="4918795" y="4237651"/>
                  <a:pt x="4742210" y="4215201"/>
                  <a:pt x="4693920" y="4213860"/>
                </a:cubicBezTo>
                <a:cubicBezTo>
                  <a:pt x="4665980" y="4216400"/>
                  <a:pt x="4637610" y="4215978"/>
                  <a:pt x="4610100" y="4221480"/>
                </a:cubicBezTo>
                <a:cubicBezTo>
                  <a:pt x="4598961" y="4223708"/>
                  <a:pt x="4590061" y="4232245"/>
                  <a:pt x="4579620" y="4236720"/>
                </a:cubicBezTo>
                <a:cubicBezTo>
                  <a:pt x="4553778" y="4247795"/>
                  <a:pt x="4522803" y="4251045"/>
                  <a:pt x="4495800" y="4251960"/>
                </a:cubicBezTo>
                <a:cubicBezTo>
                  <a:pt x="4366309" y="4256350"/>
                  <a:pt x="4236720" y="4257040"/>
                  <a:pt x="4107180" y="4259580"/>
                </a:cubicBezTo>
                <a:cubicBezTo>
                  <a:pt x="3932691" y="4282845"/>
                  <a:pt x="3914195" y="4292303"/>
                  <a:pt x="3680460" y="4259580"/>
                </a:cubicBezTo>
                <a:cubicBezTo>
                  <a:pt x="3654562" y="4255954"/>
                  <a:pt x="3635578" y="4232539"/>
                  <a:pt x="3611880" y="4221480"/>
                </a:cubicBezTo>
                <a:cubicBezTo>
                  <a:pt x="3597323" y="4214687"/>
                  <a:pt x="3581400" y="4211320"/>
                  <a:pt x="3566160" y="4206240"/>
                </a:cubicBezTo>
                <a:cubicBezTo>
                  <a:pt x="3567425" y="4187260"/>
                  <a:pt x="3571931" y="4076477"/>
                  <a:pt x="3581400" y="4038600"/>
                </a:cubicBezTo>
                <a:cubicBezTo>
                  <a:pt x="3584717" y="4025330"/>
                  <a:pt x="3593116" y="4013716"/>
                  <a:pt x="3596640" y="4000500"/>
                </a:cubicBezTo>
                <a:cubicBezTo>
                  <a:pt x="3603314" y="3975472"/>
                  <a:pt x="3603689" y="3948874"/>
                  <a:pt x="3611880" y="3924300"/>
                </a:cubicBezTo>
                <a:lnTo>
                  <a:pt x="3634740" y="3855720"/>
                </a:lnTo>
                <a:cubicBezTo>
                  <a:pt x="3637280" y="3807460"/>
                  <a:pt x="3643666" y="3759249"/>
                  <a:pt x="3642360" y="3710940"/>
                </a:cubicBezTo>
                <a:cubicBezTo>
                  <a:pt x="3639987" y="3623128"/>
                  <a:pt x="3630202" y="3560652"/>
                  <a:pt x="3596640" y="3482340"/>
                </a:cubicBezTo>
                <a:cubicBezTo>
                  <a:pt x="3573780" y="3429000"/>
                  <a:pt x="3550380" y="3375888"/>
                  <a:pt x="3528060" y="3322320"/>
                </a:cubicBezTo>
                <a:cubicBezTo>
                  <a:pt x="3512277" y="3284442"/>
                  <a:pt x="3482340" y="3208020"/>
                  <a:pt x="3482340" y="3208020"/>
                </a:cubicBezTo>
                <a:cubicBezTo>
                  <a:pt x="3459480" y="3093720"/>
                  <a:pt x="3452399" y="2975093"/>
                  <a:pt x="3413760" y="2865120"/>
                </a:cubicBezTo>
                <a:cubicBezTo>
                  <a:pt x="3081167" y="1918509"/>
                  <a:pt x="3208946" y="2303503"/>
                  <a:pt x="3017520" y="1714500"/>
                </a:cubicBezTo>
                <a:cubicBezTo>
                  <a:pt x="3009900" y="1658620"/>
                  <a:pt x="2992099" y="1603199"/>
                  <a:pt x="2994660" y="1546860"/>
                </a:cubicBezTo>
                <a:cubicBezTo>
                  <a:pt x="2997262" y="1489614"/>
                  <a:pt x="3018861" y="1434814"/>
                  <a:pt x="3032760" y="1379220"/>
                </a:cubicBezTo>
                <a:cubicBezTo>
                  <a:pt x="3036656" y="1363635"/>
                  <a:pt x="3042146" y="1348460"/>
                  <a:pt x="3048000" y="1333500"/>
                </a:cubicBezTo>
                <a:cubicBezTo>
                  <a:pt x="3098554" y="1204308"/>
                  <a:pt x="3079987" y="1239549"/>
                  <a:pt x="3124200" y="1165860"/>
                </a:cubicBezTo>
                <a:cubicBezTo>
                  <a:pt x="3129280" y="1143000"/>
                  <a:pt x="3133760" y="1119998"/>
                  <a:pt x="3139440" y="1097280"/>
                </a:cubicBezTo>
                <a:cubicBezTo>
                  <a:pt x="3141388" y="1089488"/>
                  <a:pt x="3146739" y="1082446"/>
                  <a:pt x="3147060" y="1074420"/>
                </a:cubicBezTo>
                <a:cubicBezTo>
                  <a:pt x="3162642" y="684877"/>
                  <a:pt x="3116396" y="831132"/>
                  <a:pt x="3162300" y="693420"/>
                </a:cubicBezTo>
                <a:cubicBezTo>
                  <a:pt x="3164840" y="675640"/>
                  <a:pt x="3164986" y="657349"/>
                  <a:pt x="3169920" y="640080"/>
                </a:cubicBezTo>
                <a:cubicBezTo>
                  <a:pt x="3212374" y="491490"/>
                  <a:pt x="3178811" y="670555"/>
                  <a:pt x="3200400" y="541020"/>
                </a:cubicBezTo>
                <a:cubicBezTo>
                  <a:pt x="3196445" y="374926"/>
                  <a:pt x="3256334" y="286515"/>
                  <a:pt x="3169920" y="190500"/>
                </a:cubicBezTo>
                <a:cubicBezTo>
                  <a:pt x="3155502" y="174480"/>
                  <a:pt x="3140757" y="158578"/>
                  <a:pt x="3124200" y="144780"/>
                </a:cubicBezTo>
                <a:cubicBezTo>
                  <a:pt x="3110129" y="133054"/>
                  <a:pt x="3094863" y="122491"/>
                  <a:pt x="3078480" y="114300"/>
                </a:cubicBezTo>
                <a:cubicBezTo>
                  <a:pt x="3024227" y="87174"/>
                  <a:pt x="2935447" y="90293"/>
                  <a:pt x="2887980" y="83820"/>
                </a:cubicBezTo>
                <a:lnTo>
                  <a:pt x="2720340" y="60960"/>
                </a:lnTo>
                <a:cubicBezTo>
                  <a:pt x="2707640" y="53340"/>
                  <a:pt x="2695723" y="44229"/>
                  <a:pt x="2682240" y="38100"/>
                </a:cubicBezTo>
                <a:cubicBezTo>
                  <a:pt x="2667616" y="31453"/>
                  <a:pt x="2652018" y="27087"/>
                  <a:pt x="2636520" y="22860"/>
                </a:cubicBezTo>
                <a:cubicBezTo>
                  <a:pt x="2561500" y="2400"/>
                  <a:pt x="2430785" y="9566"/>
                  <a:pt x="2385060" y="7620"/>
                </a:cubicBezTo>
                <a:cubicBezTo>
                  <a:pt x="2336777" y="5565"/>
                  <a:pt x="2288540" y="2540"/>
                  <a:pt x="2240280" y="0"/>
                </a:cubicBezTo>
                <a:cubicBezTo>
                  <a:pt x="1823720" y="10160"/>
                  <a:pt x="1406770" y="9786"/>
                  <a:pt x="990600" y="30480"/>
                </a:cubicBezTo>
                <a:cubicBezTo>
                  <a:pt x="944821" y="32756"/>
                  <a:pt x="760424" y="106397"/>
                  <a:pt x="723900" y="121920"/>
                </a:cubicBezTo>
                <a:cubicBezTo>
                  <a:pt x="667408" y="145929"/>
                  <a:pt x="610206" y="168835"/>
                  <a:pt x="556260" y="198120"/>
                </a:cubicBezTo>
                <a:cubicBezTo>
                  <a:pt x="476121" y="241624"/>
                  <a:pt x="279171" y="411940"/>
                  <a:pt x="251460" y="441960"/>
                </a:cubicBezTo>
                <a:cubicBezTo>
                  <a:pt x="83495" y="623923"/>
                  <a:pt x="85672" y="677842"/>
                  <a:pt x="0" y="899160"/>
                </a:cubicBezTo>
                <a:cubicBezTo>
                  <a:pt x="5080" y="988060"/>
                  <a:pt x="769" y="1077999"/>
                  <a:pt x="15240" y="1165860"/>
                </a:cubicBezTo>
                <a:cubicBezTo>
                  <a:pt x="91958" y="1631648"/>
                  <a:pt x="257509" y="1921535"/>
                  <a:pt x="457200" y="2392680"/>
                </a:cubicBezTo>
                <a:cubicBezTo>
                  <a:pt x="571897" y="2663292"/>
                  <a:pt x="728404" y="2988949"/>
                  <a:pt x="883920" y="3223260"/>
                </a:cubicBezTo>
                <a:cubicBezTo>
                  <a:pt x="1074420" y="3510280"/>
                  <a:pt x="1228128" y="3825459"/>
                  <a:pt x="1455420" y="4084320"/>
                </a:cubicBezTo>
                <a:cubicBezTo>
                  <a:pt x="1529801" y="4169032"/>
                  <a:pt x="1762032" y="4471246"/>
                  <a:pt x="1912620" y="4541520"/>
                </a:cubicBezTo>
                <a:cubicBezTo>
                  <a:pt x="1961175" y="4564179"/>
                  <a:pt x="2019300" y="4551680"/>
                  <a:pt x="2072640" y="4556760"/>
                </a:cubicBezTo>
                <a:cubicBezTo>
                  <a:pt x="2103747" y="4549847"/>
                  <a:pt x="2224904" y="4529623"/>
                  <a:pt x="2270760" y="4503420"/>
                </a:cubicBezTo>
                <a:cubicBezTo>
                  <a:pt x="2287984" y="4493578"/>
                  <a:pt x="2300722" y="4477371"/>
                  <a:pt x="2316480" y="4465320"/>
                </a:cubicBezTo>
                <a:cubicBezTo>
                  <a:pt x="2343923" y="4444334"/>
                  <a:pt x="2373632" y="4426322"/>
                  <a:pt x="2400300" y="4404360"/>
                </a:cubicBezTo>
                <a:cubicBezTo>
                  <a:pt x="2478772" y="4339736"/>
                  <a:pt x="2411361" y="4372504"/>
                  <a:pt x="2484120" y="4343400"/>
                </a:cubicBezTo>
                <a:cubicBezTo>
                  <a:pt x="2491740" y="4335780"/>
                  <a:pt x="2496413" y="4318427"/>
                  <a:pt x="2506980" y="4320540"/>
                </a:cubicBezTo>
                <a:cubicBezTo>
                  <a:pt x="2518119" y="4322768"/>
                  <a:pt x="2528607" y="4341627"/>
                  <a:pt x="2522220" y="4351020"/>
                </a:cubicBezTo>
                <a:cubicBezTo>
                  <a:pt x="2481772" y="4410502"/>
                  <a:pt x="2430296" y="4462250"/>
                  <a:pt x="2377440" y="4511040"/>
                </a:cubicBezTo>
                <a:cubicBezTo>
                  <a:pt x="2363226" y="4524161"/>
                  <a:pt x="2324100" y="4533900"/>
                  <a:pt x="2324100" y="4533900"/>
                </a:cubicBezTo>
              </a:path>
            </a:pathLst>
          </a:custGeom>
          <a:noFill/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36" name="Freeform: Shape 5135">
            <a:extLst>
              <a:ext uri="{FF2B5EF4-FFF2-40B4-BE49-F238E27FC236}">
                <a16:creationId xmlns:a16="http://schemas.microsoft.com/office/drawing/2014/main" id="{9E007A3D-4AF4-1816-52E3-DE88F37EBA21}"/>
              </a:ext>
            </a:extLst>
          </p:cNvPr>
          <p:cNvSpPr/>
          <p:nvPr/>
        </p:nvSpPr>
        <p:spPr bwMode="auto">
          <a:xfrm>
            <a:off x="5476447" y="2019300"/>
            <a:ext cx="3926633" cy="4138884"/>
          </a:xfrm>
          <a:custGeom>
            <a:avLst/>
            <a:gdLst>
              <a:gd name="connsiteX0" fmla="*/ 3926633 w 3926633"/>
              <a:gd name="connsiteY0" fmla="*/ 167640 h 4138884"/>
              <a:gd name="connsiteX1" fmla="*/ 3926633 w 3926633"/>
              <a:gd name="connsiteY1" fmla="*/ 167640 h 4138884"/>
              <a:gd name="connsiteX2" fmla="*/ 3728513 w 3926633"/>
              <a:gd name="connsiteY2" fmla="*/ 152400 h 4138884"/>
              <a:gd name="connsiteX3" fmla="*/ 3507533 w 3926633"/>
              <a:gd name="connsiteY3" fmla="*/ 137160 h 4138884"/>
              <a:gd name="connsiteX4" fmla="*/ 3416093 w 3926633"/>
              <a:gd name="connsiteY4" fmla="*/ 114300 h 4138884"/>
              <a:gd name="connsiteX5" fmla="*/ 3377993 w 3926633"/>
              <a:gd name="connsiteY5" fmla="*/ 106680 h 4138884"/>
              <a:gd name="connsiteX6" fmla="*/ 3317033 w 3926633"/>
              <a:gd name="connsiteY6" fmla="*/ 83820 h 4138884"/>
              <a:gd name="connsiteX7" fmla="*/ 3263693 w 3926633"/>
              <a:gd name="connsiteY7" fmla="*/ 60960 h 4138884"/>
              <a:gd name="connsiteX8" fmla="*/ 3065573 w 3926633"/>
              <a:gd name="connsiteY8" fmla="*/ 45720 h 4138884"/>
              <a:gd name="connsiteX9" fmla="*/ 2021633 w 3926633"/>
              <a:gd name="connsiteY9" fmla="*/ 22860 h 4138884"/>
              <a:gd name="connsiteX10" fmla="*/ 1914953 w 3926633"/>
              <a:gd name="connsiteY10" fmla="*/ 15240 h 4138884"/>
              <a:gd name="connsiteX11" fmla="*/ 1457753 w 3926633"/>
              <a:gd name="connsiteY11" fmla="*/ 0 h 4138884"/>
              <a:gd name="connsiteX12" fmla="*/ 505253 w 3926633"/>
              <a:gd name="connsiteY12" fmla="*/ 15240 h 4138884"/>
              <a:gd name="connsiteX13" fmla="*/ 253793 w 3926633"/>
              <a:gd name="connsiteY13" fmla="*/ 30480 h 4138884"/>
              <a:gd name="connsiteX14" fmla="*/ 147113 w 3926633"/>
              <a:gd name="connsiteY14" fmla="*/ 91440 h 4138884"/>
              <a:gd name="connsiteX15" fmla="*/ 86153 w 3926633"/>
              <a:gd name="connsiteY15" fmla="*/ 137160 h 4138884"/>
              <a:gd name="connsiteX16" fmla="*/ 48053 w 3926633"/>
              <a:gd name="connsiteY16" fmla="*/ 190500 h 4138884"/>
              <a:gd name="connsiteX17" fmla="*/ 40433 w 3926633"/>
              <a:gd name="connsiteY17" fmla="*/ 220980 h 4138884"/>
              <a:gd name="connsiteX18" fmla="*/ 2333 w 3926633"/>
              <a:gd name="connsiteY18" fmla="*/ 457200 h 4138884"/>
              <a:gd name="connsiteX19" fmla="*/ 40433 w 3926633"/>
              <a:gd name="connsiteY19" fmla="*/ 960120 h 4138884"/>
              <a:gd name="connsiteX20" fmla="*/ 78533 w 3926633"/>
              <a:gd name="connsiteY20" fmla="*/ 1043940 h 4138884"/>
              <a:gd name="connsiteX21" fmla="*/ 124253 w 3926633"/>
              <a:gd name="connsiteY21" fmla="*/ 1127760 h 4138884"/>
              <a:gd name="connsiteX22" fmla="*/ 192833 w 3926633"/>
              <a:gd name="connsiteY22" fmla="*/ 1303020 h 4138884"/>
              <a:gd name="connsiteX23" fmla="*/ 329993 w 3926633"/>
              <a:gd name="connsiteY23" fmla="*/ 1539240 h 4138884"/>
              <a:gd name="connsiteX24" fmla="*/ 368093 w 3926633"/>
              <a:gd name="connsiteY24" fmla="*/ 1615440 h 4138884"/>
              <a:gd name="connsiteX25" fmla="*/ 581453 w 3926633"/>
              <a:gd name="connsiteY25" fmla="*/ 1897380 h 4138884"/>
              <a:gd name="connsiteX26" fmla="*/ 749093 w 3926633"/>
              <a:gd name="connsiteY26" fmla="*/ 2118360 h 4138884"/>
              <a:gd name="connsiteX27" fmla="*/ 855773 w 3926633"/>
              <a:gd name="connsiteY27" fmla="*/ 2225040 h 4138884"/>
              <a:gd name="connsiteX28" fmla="*/ 901493 w 3926633"/>
              <a:gd name="connsiteY28" fmla="*/ 2270760 h 4138884"/>
              <a:gd name="connsiteX29" fmla="*/ 1023413 w 3926633"/>
              <a:gd name="connsiteY29" fmla="*/ 2339340 h 4138884"/>
              <a:gd name="connsiteX30" fmla="*/ 1046273 w 3926633"/>
              <a:gd name="connsiteY30" fmla="*/ 2362200 h 4138884"/>
              <a:gd name="connsiteX31" fmla="*/ 1084373 w 3926633"/>
              <a:gd name="connsiteY31" fmla="*/ 2392680 h 4138884"/>
              <a:gd name="connsiteX32" fmla="*/ 1107233 w 3926633"/>
              <a:gd name="connsiteY32" fmla="*/ 2423160 h 4138884"/>
              <a:gd name="connsiteX33" fmla="*/ 1175813 w 3926633"/>
              <a:gd name="connsiteY33" fmla="*/ 2491740 h 4138884"/>
              <a:gd name="connsiteX34" fmla="*/ 1206293 w 3926633"/>
              <a:gd name="connsiteY34" fmla="*/ 2522220 h 4138884"/>
              <a:gd name="connsiteX35" fmla="*/ 1267253 w 3926633"/>
              <a:gd name="connsiteY35" fmla="*/ 2560320 h 4138884"/>
              <a:gd name="connsiteX36" fmla="*/ 1351073 w 3926633"/>
              <a:gd name="connsiteY36" fmla="*/ 2636520 h 4138884"/>
              <a:gd name="connsiteX37" fmla="*/ 1373933 w 3926633"/>
              <a:gd name="connsiteY37" fmla="*/ 2674620 h 4138884"/>
              <a:gd name="connsiteX38" fmla="*/ 1412033 w 3926633"/>
              <a:gd name="connsiteY38" fmla="*/ 2720340 h 4138884"/>
              <a:gd name="connsiteX39" fmla="*/ 1434893 w 3926633"/>
              <a:gd name="connsiteY39" fmla="*/ 2766060 h 4138884"/>
              <a:gd name="connsiteX40" fmla="*/ 1457753 w 3926633"/>
              <a:gd name="connsiteY40" fmla="*/ 2804160 h 4138884"/>
              <a:gd name="connsiteX41" fmla="*/ 1465373 w 3926633"/>
              <a:gd name="connsiteY41" fmla="*/ 2849880 h 4138884"/>
              <a:gd name="connsiteX42" fmla="*/ 1472993 w 3926633"/>
              <a:gd name="connsiteY42" fmla="*/ 2872740 h 4138884"/>
              <a:gd name="connsiteX43" fmla="*/ 1419653 w 3926633"/>
              <a:gd name="connsiteY43" fmla="*/ 3063240 h 4138884"/>
              <a:gd name="connsiteX44" fmla="*/ 1396793 w 3926633"/>
              <a:gd name="connsiteY44" fmla="*/ 3093720 h 4138884"/>
              <a:gd name="connsiteX45" fmla="*/ 1373933 w 3926633"/>
              <a:gd name="connsiteY45" fmla="*/ 3154680 h 4138884"/>
              <a:gd name="connsiteX46" fmla="*/ 1335833 w 3926633"/>
              <a:gd name="connsiteY46" fmla="*/ 3215640 h 4138884"/>
              <a:gd name="connsiteX47" fmla="*/ 1267253 w 3926633"/>
              <a:gd name="connsiteY47" fmla="*/ 3284220 h 4138884"/>
              <a:gd name="connsiteX48" fmla="*/ 1229153 w 3926633"/>
              <a:gd name="connsiteY48" fmla="*/ 3329940 h 4138884"/>
              <a:gd name="connsiteX49" fmla="*/ 1213913 w 3926633"/>
              <a:gd name="connsiteY49" fmla="*/ 3352800 h 4138884"/>
              <a:gd name="connsiteX50" fmla="*/ 1175813 w 3926633"/>
              <a:gd name="connsiteY50" fmla="*/ 3360420 h 4138884"/>
              <a:gd name="connsiteX51" fmla="*/ 1152953 w 3926633"/>
              <a:gd name="connsiteY51" fmla="*/ 3368040 h 4138884"/>
              <a:gd name="connsiteX52" fmla="*/ 1145333 w 3926633"/>
              <a:gd name="connsiteY52" fmla="*/ 3467100 h 4138884"/>
              <a:gd name="connsiteX53" fmla="*/ 1122473 w 3926633"/>
              <a:gd name="connsiteY53" fmla="*/ 3489960 h 4138884"/>
              <a:gd name="connsiteX54" fmla="*/ 1099613 w 3926633"/>
              <a:gd name="connsiteY54" fmla="*/ 3550920 h 4138884"/>
              <a:gd name="connsiteX55" fmla="*/ 1084373 w 3926633"/>
              <a:gd name="connsiteY55" fmla="*/ 3680460 h 4138884"/>
              <a:gd name="connsiteX56" fmla="*/ 1076753 w 3926633"/>
              <a:gd name="connsiteY56" fmla="*/ 3718560 h 4138884"/>
              <a:gd name="connsiteX57" fmla="*/ 1061513 w 3926633"/>
              <a:gd name="connsiteY57" fmla="*/ 3802380 h 4138884"/>
              <a:gd name="connsiteX58" fmla="*/ 1069133 w 3926633"/>
              <a:gd name="connsiteY58" fmla="*/ 3924300 h 4138884"/>
              <a:gd name="connsiteX59" fmla="*/ 1099613 w 3926633"/>
              <a:gd name="connsiteY59" fmla="*/ 3954780 h 4138884"/>
              <a:gd name="connsiteX60" fmla="*/ 1107233 w 3926633"/>
              <a:gd name="connsiteY60" fmla="*/ 3977640 h 4138884"/>
              <a:gd name="connsiteX61" fmla="*/ 1198673 w 3926633"/>
              <a:gd name="connsiteY61" fmla="*/ 4053840 h 4138884"/>
              <a:gd name="connsiteX62" fmla="*/ 1221533 w 3926633"/>
              <a:gd name="connsiteY62" fmla="*/ 4061460 h 4138884"/>
              <a:gd name="connsiteX63" fmla="*/ 1282493 w 3926633"/>
              <a:gd name="connsiteY63" fmla="*/ 4069080 h 4138884"/>
              <a:gd name="connsiteX64" fmla="*/ 1655873 w 3926633"/>
              <a:gd name="connsiteY64" fmla="*/ 4091940 h 4138884"/>
              <a:gd name="connsiteX65" fmla="*/ 1732073 w 3926633"/>
              <a:gd name="connsiteY65" fmla="*/ 4130040 h 4138884"/>
              <a:gd name="connsiteX66" fmla="*/ 1793033 w 3926633"/>
              <a:gd name="connsiteY66" fmla="*/ 4130040 h 4138884"/>
              <a:gd name="connsiteX67" fmla="*/ 1937813 w 3926633"/>
              <a:gd name="connsiteY67" fmla="*/ 4091940 h 4138884"/>
              <a:gd name="connsiteX68" fmla="*/ 2326433 w 3926633"/>
              <a:gd name="connsiteY68" fmla="*/ 4084320 h 4138884"/>
              <a:gd name="connsiteX69" fmla="*/ 2455973 w 3926633"/>
              <a:gd name="connsiteY69" fmla="*/ 4023360 h 4138884"/>
              <a:gd name="connsiteX70" fmla="*/ 2501693 w 3926633"/>
              <a:gd name="connsiteY70" fmla="*/ 3985260 h 4138884"/>
              <a:gd name="connsiteX71" fmla="*/ 2539793 w 3926633"/>
              <a:gd name="connsiteY71" fmla="*/ 3893820 h 4138884"/>
              <a:gd name="connsiteX72" fmla="*/ 2562653 w 3926633"/>
              <a:gd name="connsiteY72" fmla="*/ 3756660 h 4138884"/>
              <a:gd name="connsiteX73" fmla="*/ 2577893 w 3926633"/>
              <a:gd name="connsiteY73" fmla="*/ 3695700 h 4138884"/>
              <a:gd name="connsiteX74" fmla="*/ 2722673 w 3926633"/>
              <a:gd name="connsiteY74" fmla="*/ 3406140 h 4138884"/>
              <a:gd name="connsiteX75" fmla="*/ 2829353 w 3926633"/>
              <a:gd name="connsiteY75" fmla="*/ 3162300 h 4138884"/>
              <a:gd name="connsiteX76" fmla="*/ 2974133 w 3926633"/>
              <a:gd name="connsiteY76" fmla="*/ 2956560 h 4138884"/>
              <a:gd name="connsiteX77" fmla="*/ 3164633 w 3926633"/>
              <a:gd name="connsiteY77" fmla="*/ 2689860 h 4138884"/>
              <a:gd name="connsiteX78" fmla="*/ 3195113 w 3926633"/>
              <a:gd name="connsiteY78" fmla="*/ 2621280 h 4138884"/>
              <a:gd name="connsiteX79" fmla="*/ 3248453 w 3926633"/>
              <a:gd name="connsiteY79" fmla="*/ 2354580 h 4138884"/>
              <a:gd name="connsiteX80" fmla="*/ 3408473 w 3926633"/>
              <a:gd name="connsiteY80" fmla="*/ 1950720 h 4138884"/>
              <a:gd name="connsiteX81" fmla="*/ 3423713 w 3926633"/>
              <a:gd name="connsiteY81" fmla="*/ 1874520 h 4138884"/>
              <a:gd name="connsiteX82" fmla="*/ 3446573 w 3926633"/>
              <a:gd name="connsiteY82" fmla="*/ 1813560 h 4138884"/>
              <a:gd name="connsiteX83" fmla="*/ 3507533 w 3926633"/>
              <a:gd name="connsiteY83" fmla="*/ 1630680 h 4138884"/>
              <a:gd name="connsiteX84" fmla="*/ 3591353 w 3926633"/>
              <a:gd name="connsiteY84" fmla="*/ 1432560 h 4138884"/>
              <a:gd name="connsiteX85" fmla="*/ 3598973 w 3926633"/>
              <a:gd name="connsiteY85" fmla="*/ 1394460 h 4138884"/>
              <a:gd name="connsiteX86" fmla="*/ 3667553 w 3926633"/>
              <a:gd name="connsiteY86" fmla="*/ 1303020 h 4138884"/>
              <a:gd name="connsiteX87" fmla="*/ 3736133 w 3926633"/>
              <a:gd name="connsiteY87" fmla="*/ 1181100 h 4138884"/>
              <a:gd name="connsiteX88" fmla="*/ 3835193 w 3926633"/>
              <a:gd name="connsiteY88" fmla="*/ 914400 h 4138884"/>
              <a:gd name="connsiteX89" fmla="*/ 3850433 w 3926633"/>
              <a:gd name="connsiteY89" fmla="*/ 838200 h 4138884"/>
              <a:gd name="connsiteX90" fmla="*/ 3865673 w 3926633"/>
              <a:gd name="connsiteY90" fmla="*/ 685800 h 4138884"/>
              <a:gd name="connsiteX91" fmla="*/ 3873293 w 3926633"/>
              <a:gd name="connsiteY91" fmla="*/ 182880 h 4138884"/>
              <a:gd name="connsiteX92" fmla="*/ 3835193 w 3926633"/>
              <a:gd name="connsiteY92" fmla="*/ 175260 h 4138884"/>
              <a:gd name="connsiteX93" fmla="*/ 3819953 w 3926633"/>
              <a:gd name="connsiteY93" fmla="*/ 160020 h 4138884"/>
              <a:gd name="connsiteX94" fmla="*/ 3926633 w 3926633"/>
              <a:gd name="connsiteY94" fmla="*/ 167640 h 4138884"/>
              <a:gd name="connsiteX0" fmla="*/ 3926633 w 3926633"/>
              <a:gd name="connsiteY0" fmla="*/ 167640 h 4138884"/>
              <a:gd name="connsiteX1" fmla="*/ 3926633 w 3926633"/>
              <a:gd name="connsiteY1" fmla="*/ 167640 h 4138884"/>
              <a:gd name="connsiteX2" fmla="*/ 3728513 w 3926633"/>
              <a:gd name="connsiteY2" fmla="*/ 152400 h 4138884"/>
              <a:gd name="connsiteX3" fmla="*/ 3507533 w 3926633"/>
              <a:gd name="connsiteY3" fmla="*/ 137160 h 4138884"/>
              <a:gd name="connsiteX4" fmla="*/ 3416093 w 3926633"/>
              <a:gd name="connsiteY4" fmla="*/ 114300 h 4138884"/>
              <a:gd name="connsiteX5" fmla="*/ 3377993 w 3926633"/>
              <a:gd name="connsiteY5" fmla="*/ 106680 h 4138884"/>
              <a:gd name="connsiteX6" fmla="*/ 3317033 w 3926633"/>
              <a:gd name="connsiteY6" fmla="*/ 83820 h 4138884"/>
              <a:gd name="connsiteX7" fmla="*/ 3263693 w 3926633"/>
              <a:gd name="connsiteY7" fmla="*/ 60960 h 4138884"/>
              <a:gd name="connsiteX8" fmla="*/ 3065573 w 3926633"/>
              <a:gd name="connsiteY8" fmla="*/ 45720 h 4138884"/>
              <a:gd name="connsiteX9" fmla="*/ 2021633 w 3926633"/>
              <a:gd name="connsiteY9" fmla="*/ 22860 h 4138884"/>
              <a:gd name="connsiteX10" fmla="*/ 1914953 w 3926633"/>
              <a:gd name="connsiteY10" fmla="*/ 15240 h 4138884"/>
              <a:gd name="connsiteX11" fmla="*/ 1457753 w 3926633"/>
              <a:gd name="connsiteY11" fmla="*/ 0 h 4138884"/>
              <a:gd name="connsiteX12" fmla="*/ 505253 w 3926633"/>
              <a:gd name="connsiteY12" fmla="*/ 15240 h 4138884"/>
              <a:gd name="connsiteX13" fmla="*/ 253793 w 3926633"/>
              <a:gd name="connsiteY13" fmla="*/ 30480 h 4138884"/>
              <a:gd name="connsiteX14" fmla="*/ 147113 w 3926633"/>
              <a:gd name="connsiteY14" fmla="*/ 91440 h 4138884"/>
              <a:gd name="connsiteX15" fmla="*/ 86153 w 3926633"/>
              <a:gd name="connsiteY15" fmla="*/ 137160 h 4138884"/>
              <a:gd name="connsiteX16" fmla="*/ 48053 w 3926633"/>
              <a:gd name="connsiteY16" fmla="*/ 190500 h 4138884"/>
              <a:gd name="connsiteX17" fmla="*/ 40433 w 3926633"/>
              <a:gd name="connsiteY17" fmla="*/ 220980 h 4138884"/>
              <a:gd name="connsiteX18" fmla="*/ 2333 w 3926633"/>
              <a:gd name="connsiteY18" fmla="*/ 457200 h 4138884"/>
              <a:gd name="connsiteX19" fmla="*/ 40433 w 3926633"/>
              <a:gd name="connsiteY19" fmla="*/ 960120 h 4138884"/>
              <a:gd name="connsiteX20" fmla="*/ 78533 w 3926633"/>
              <a:gd name="connsiteY20" fmla="*/ 1043940 h 4138884"/>
              <a:gd name="connsiteX21" fmla="*/ 124253 w 3926633"/>
              <a:gd name="connsiteY21" fmla="*/ 1127760 h 4138884"/>
              <a:gd name="connsiteX22" fmla="*/ 192833 w 3926633"/>
              <a:gd name="connsiteY22" fmla="*/ 1303020 h 4138884"/>
              <a:gd name="connsiteX23" fmla="*/ 329993 w 3926633"/>
              <a:gd name="connsiteY23" fmla="*/ 1539240 h 4138884"/>
              <a:gd name="connsiteX24" fmla="*/ 368093 w 3926633"/>
              <a:gd name="connsiteY24" fmla="*/ 1615440 h 4138884"/>
              <a:gd name="connsiteX25" fmla="*/ 581453 w 3926633"/>
              <a:gd name="connsiteY25" fmla="*/ 1897380 h 4138884"/>
              <a:gd name="connsiteX26" fmla="*/ 749093 w 3926633"/>
              <a:gd name="connsiteY26" fmla="*/ 2118360 h 4138884"/>
              <a:gd name="connsiteX27" fmla="*/ 855773 w 3926633"/>
              <a:gd name="connsiteY27" fmla="*/ 2225040 h 4138884"/>
              <a:gd name="connsiteX28" fmla="*/ 901493 w 3926633"/>
              <a:gd name="connsiteY28" fmla="*/ 2270760 h 4138884"/>
              <a:gd name="connsiteX29" fmla="*/ 1023413 w 3926633"/>
              <a:gd name="connsiteY29" fmla="*/ 2339340 h 4138884"/>
              <a:gd name="connsiteX30" fmla="*/ 1046273 w 3926633"/>
              <a:gd name="connsiteY30" fmla="*/ 2362200 h 4138884"/>
              <a:gd name="connsiteX31" fmla="*/ 1084373 w 3926633"/>
              <a:gd name="connsiteY31" fmla="*/ 2392680 h 4138884"/>
              <a:gd name="connsiteX32" fmla="*/ 1107233 w 3926633"/>
              <a:gd name="connsiteY32" fmla="*/ 2423160 h 4138884"/>
              <a:gd name="connsiteX33" fmla="*/ 1175813 w 3926633"/>
              <a:gd name="connsiteY33" fmla="*/ 2491740 h 4138884"/>
              <a:gd name="connsiteX34" fmla="*/ 1206293 w 3926633"/>
              <a:gd name="connsiteY34" fmla="*/ 2522220 h 4138884"/>
              <a:gd name="connsiteX35" fmla="*/ 1267253 w 3926633"/>
              <a:gd name="connsiteY35" fmla="*/ 2560320 h 4138884"/>
              <a:gd name="connsiteX36" fmla="*/ 1351073 w 3926633"/>
              <a:gd name="connsiteY36" fmla="*/ 2636520 h 4138884"/>
              <a:gd name="connsiteX37" fmla="*/ 1373933 w 3926633"/>
              <a:gd name="connsiteY37" fmla="*/ 2674620 h 4138884"/>
              <a:gd name="connsiteX38" fmla="*/ 1412033 w 3926633"/>
              <a:gd name="connsiteY38" fmla="*/ 2720340 h 4138884"/>
              <a:gd name="connsiteX39" fmla="*/ 1434893 w 3926633"/>
              <a:gd name="connsiteY39" fmla="*/ 2766060 h 4138884"/>
              <a:gd name="connsiteX40" fmla="*/ 1457753 w 3926633"/>
              <a:gd name="connsiteY40" fmla="*/ 2804160 h 4138884"/>
              <a:gd name="connsiteX41" fmla="*/ 1465373 w 3926633"/>
              <a:gd name="connsiteY41" fmla="*/ 2849880 h 4138884"/>
              <a:gd name="connsiteX42" fmla="*/ 1472993 w 3926633"/>
              <a:gd name="connsiteY42" fmla="*/ 2872740 h 4138884"/>
              <a:gd name="connsiteX43" fmla="*/ 1419653 w 3926633"/>
              <a:gd name="connsiteY43" fmla="*/ 3063240 h 4138884"/>
              <a:gd name="connsiteX44" fmla="*/ 1396793 w 3926633"/>
              <a:gd name="connsiteY44" fmla="*/ 3093720 h 4138884"/>
              <a:gd name="connsiteX45" fmla="*/ 1373933 w 3926633"/>
              <a:gd name="connsiteY45" fmla="*/ 3154680 h 4138884"/>
              <a:gd name="connsiteX46" fmla="*/ 1335833 w 3926633"/>
              <a:gd name="connsiteY46" fmla="*/ 3215640 h 4138884"/>
              <a:gd name="connsiteX47" fmla="*/ 1267253 w 3926633"/>
              <a:gd name="connsiteY47" fmla="*/ 3284220 h 4138884"/>
              <a:gd name="connsiteX48" fmla="*/ 1229153 w 3926633"/>
              <a:gd name="connsiteY48" fmla="*/ 3329940 h 4138884"/>
              <a:gd name="connsiteX49" fmla="*/ 1213913 w 3926633"/>
              <a:gd name="connsiteY49" fmla="*/ 3352800 h 4138884"/>
              <a:gd name="connsiteX50" fmla="*/ 1175813 w 3926633"/>
              <a:gd name="connsiteY50" fmla="*/ 3360420 h 4138884"/>
              <a:gd name="connsiteX51" fmla="*/ 1152953 w 3926633"/>
              <a:gd name="connsiteY51" fmla="*/ 3368040 h 4138884"/>
              <a:gd name="connsiteX52" fmla="*/ 1145333 w 3926633"/>
              <a:gd name="connsiteY52" fmla="*/ 3467100 h 4138884"/>
              <a:gd name="connsiteX53" fmla="*/ 1122473 w 3926633"/>
              <a:gd name="connsiteY53" fmla="*/ 3489960 h 4138884"/>
              <a:gd name="connsiteX54" fmla="*/ 1099613 w 3926633"/>
              <a:gd name="connsiteY54" fmla="*/ 3550920 h 4138884"/>
              <a:gd name="connsiteX55" fmla="*/ 1084373 w 3926633"/>
              <a:gd name="connsiteY55" fmla="*/ 3680460 h 4138884"/>
              <a:gd name="connsiteX56" fmla="*/ 1000553 w 3926633"/>
              <a:gd name="connsiteY56" fmla="*/ 3556635 h 4138884"/>
              <a:gd name="connsiteX57" fmla="*/ 1061513 w 3926633"/>
              <a:gd name="connsiteY57" fmla="*/ 3802380 h 4138884"/>
              <a:gd name="connsiteX58" fmla="*/ 1069133 w 3926633"/>
              <a:gd name="connsiteY58" fmla="*/ 3924300 h 4138884"/>
              <a:gd name="connsiteX59" fmla="*/ 1099613 w 3926633"/>
              <a:gd name="connsiteY59" fmla="*/ 3954780 h 4138884"/>
              <a:gd name="connsiteX60" fmla="*/ 1107233 w 3926633"/>
              <a:gd name="connsiteY60" fmla="*/ 3977640 h 4138884"/>
              <a:gd name="connsiteX61" fmla="*/ 1198673 w 3926633"/>
              <a:gd name="connsiteY61" fmla="*/ 4053840 h 4138884"/>
              <a:gd name="connsiteX62" fmla="*/ 1221533 w 3926633"/>
              <a:gd name="connsiteY62" fmla="*/ 4061460 h 4138884"/>
              <a:gd name="connsiteX63" fmla="*/ 1282493 w 3926633"/>
              <a:gd name="connsiteY63" fmla="*/ 4069080 h 4138884"/>
              <a:gd name="connsiteX64" fmla="*/ 1655873 w 3926633"/>
              <a:gd name="connsiteY64" fmla="*/ 4091940 h 4138884"/>
              <a:gd name="connsiteX65" fmla="*/ 1732073 w 3926633"/>
              <a:gd name="connsiteY65" fmla="*/ 4130040 h 4138884"/>
              <a:gd name="connsiteX66" fmla="*/ 1793033 w 3926633"/>
              <a:gd name="connsiteY66" fmla="*/ 4130040 h 4138884"/>
              <a:gd name="connsiteX67" fmla="*/ 1937813 w 3926633"/>
              <a:gd name="connsiteY67" fmla="*/ 4091940 h 4138884"/>
              <a:gd name="connsiteX68" fmla="*/ 2326433 w 3926633"/>
              <a:gd name="connsiteY68" fmla="*/ 4084320 h 4138884"/>
              <a:gd name="connsiteX69" fmla="*/ 2455973 w 3926633"/>
              <a:gd name="connsiteY69" fmla="*/ 4023360 h 4138884"/>
              <a:gd name="connsiteX70" fmla="*/ 2501693 w 3926633"/>
              <a:gd name="connsiteY70" fmla="*/ 3985260 h 4138884"/>
              <a:gd name="connsiteX71" fmla="*/ 2539793 w 3926633"/>
              <a:gd name="connsiteY71" fmla="*/ 3893820 h 4138884"/>
              <a:gd name="connsiteX72" fmla="*/ 2562653 w 3926633"/>
              <a:gd name="connsiteY72" fmla="*/ 3756660 h 4138884"/>
              <a:gd name="connsiteX73" fmla="*/ 2577893 w 3926633"/>
              <a:gd name="connsiteY73" fmla="*/ 3695700 h 4138884"/>
              <a:gd name="connsiteX74" fmla="*/ 2722673 w 3926633"/>
              <a:gd name="connsiteY74" fmla="*/ 3406140 h 4138884"/>
              <a:gd name="connsiteX75" fmla="*/ 2829353 w 3926633"/>
              <a:gd name="connsiteY75" fmla="*/ 3162300 h 4138884"/>
              <a:gd name="connsiteX76" fmla="*/ 2974133 w 3926633"/>
              <a:gd name="connsiteY76" fmla="*/ 2956560 h 4138884"/>
              <a:gd name="connsiteX77" fmla="*/ 3164633 w 3926633"/>
              <a:gd name="connsiteY77" fmla="*/ 2689860 h 4138884"/>
              <a:gd name="connsiteX78" fmla="*/ 3195113 w 3926633"/>
              <a:gd name="connsiteY78" fmla="*/ 2621280 h 4138884"/>
              <a:gd name="connsiteX79" fmla="*/ 3248453 w 3926633"/>
              <a:gd name="connsiteY79" fmla="*/ 2354580 h 4138884"/>
              <a:gd name="connsiteX80" fmla="*/ 3408473 w 3926633"/>
              <a:gd name="connsiteY80" fmla="*/ 1950720 h 4138884"/>
              <a:gd name="connsiteX81" fmla="*/ 3423713 w 3926633"/>
              <a:gd name="connsiteY81" fmla="*/ 1874520 h 4138884"/>
              <a:gd name="connsiteX82" fmla="*/ 3446573 w 3926633"/>
              <a:gd name="connsiteY82" fmla="*/ 1813560 h 4138884"/>
              <a:gd name="connsiteX83" fmla="*/ 3507533 w 3926633"/>
              <a:gd name="connsiteY83" fmla="*/ 1630680 h 4138884"/>
              <a:gd name="connsiteX84" fmla="*/ 3591353 w 3926633"/>
              <a:gd name="connsiteY84" fmla="*/ 1432560 h 4138884"/>
              <a:gd name="connsiteX85" fmla="*/ 3598973 w 3926633"/>
              <a:gd name="connsiteY85" fmla="*/ 1394460 h 4138884"/>
              <a:gd name="connsiteX86" fmla="*/ 3667553 w 3926633"/>
              <a:gd name="connsiteY86" fmla="*/ 1303020 h 4138884"/>
              <a:gd name="connsiteX87" fmla="*/ 3736133 w 3926633"/>
              <a:gd name="connsiteY87" fmla="*/ 1181100 h 4138884"/>
              <a:gd name="connsiteX88" fmla="*/ 3835193 w 3926633"/>
              <a:gd name="connsiteY88" fmla="*/ 914400 h 4138884"/>
              <a:gd name="connsiteX89" fmla="*/ 3850433 w 3926633"/>
              <a:gd name="connsiteY89" fmla="*/ 838200 h 4138884"/>
              <a:gd name="connsiteX90" fmla="*/ 3865673 w 3926633"/>
              <a:gd name="connsiteY90" fmla="*/ 685800 h 4138884"/>
              <a:gd name="connsiteX91" fmla="*/ 3873293 w 3926633"/>
              <a:gd name="connsiteY91" fmla="*/ 182880 h 4138884"/>
              <a:gd name="connsiteX92" fmla="*/ 3835193 w 3926633"/>
              <a:gd name="connsiteY92" fmla="*/ 175260 h 4138884"/>
              <a:gd name="connsiteX93" fmla="*/ 3819953 w 3926633"/>
              <a:gd name="connsiteY93" fmla="*/ 160020 h 4138884"/>
              <a:gd name="connsiteX94" fmla="*/ 3926633 w 3926633"/>
              <a:gd name="connsiteY94" fmla="*/ 167640 h 4138884"/>
              <a:gd name="connsiteX0" fmla="*/ 3926633 w 3926633"/>
              <a:gd name="connsiteY0" fmla="*/ 167640 h 4138884"/>
              <a:gd name="connsiteX1" fmla="*/ 3926633 w 3926633"/>
              <a:gd name="connsiteY1" fmla="*/ 167640 h 4138884"/>
              <a:gd name="connsiteX2" fmla="*/ 3728513 w 3926633"/>
              <a:gd name="connsiteY2" fmla="*/ 152400 h 4138884"/>
              <a:gd name="connsiteX3" fmla="*/ 3507533 w 3926633"/>
              <a:gd name="connsiteY3" fmla="*/ 137160 h 4138884"/>
              <a:gd name="connsiteX4" fmla="*/ 3416093 w 3926633"/>
              <a:gd name="connsiteY4" fmla="*/ 114300 h 4138884"/>
              <a:gd name="connsiteX5" fmla="*/ 3377993 w 3926633"/>
              <a:gd name="connsiteY5" fmla="*/ 106680 h 4138884"/>
              <a:gd name="connsiteX6" fmla="*/ 3317033 w 3926633"/>
              <a:gd name="connsiteY6" fmla="*/ 83820 h 4138884"/>
              <a:gd name="connsiteX7" fmla="*/ 3263693 w 3926633"/>
              <a:gd name="connsiteY7" fmla="*/ 60960 h 4138884"/>
              <a:gd name="connsiteX8" fmla="*/ 3065573 w 3926633"/>
              <a:gd name="connsiteY8" fmla="*/ 45720 h 4138884"/>
              <a:gd name="connsiteX9" fmla="*/ 2021633 w 3926633"/>
              <a:gd name="connsiteY9" fmla="*/ 22860 h 4138884"/>
              <a:gd name="connsiteX10" fmla="*/ 1914953 w 3926633"/>
              <a:gd name="connsiteY10" fmla="*/ 15240 h 4138884"/>
              <a:gd name="connsiteX11" fmla="*/ 1457753 w 3926633"/>
              <a:gd name="connsiteY11" fmla="*/ 0 h 4138884"/>
              <a:gd name="connsiteX12" fmla="*/ 505253 w 3926633"/>
              <a:gd name="connsiteY12" fmla="*/ 15240 h 4138884"/>
              <a:gd name="connsiteX13" fmla="*/ 253793 w 3926633"/>
              <a:gd name="connsiteY13" fmla="*/ 30480 h 4138884"/>
              <a:gd name="connsiteX14" fmla="*/ 147113 w 3926633"/>
              <a:gd name="connsiteY14" fmla="*/ 91440 h 4138884"/>
              <a:gd name="connsiteX15" fmla="*/ 86153 w 3926633"/>
              <a:gd name="connsiteY15" fmla="*/ 137160 h 4138884"/>
              <a:gd name="connsiteX16" fmla="*/ 48053 w 3926633"/>
              <a:gd name="connsiteY16" fmla="*/ 190500 h 4138884"/>
              <a:gd name="connsiteX17" fmla="*/ 40433 w 3926633"/>
              <a:gd name="connsiteY17" fmla="*/ 220980 h 4138884"/>
              <a:gd name="connsiteX18" fmla="*/ 2333 w 3926633"/>
              <a:gd name="connsiteY18" fmla="*/ 457200 h 4138884"/>
              <a:gd name="connsiteX19" fmla="*/ 40433 w 3926633"/>
              <a:gd name="connsiteY19" fmla="*/ 960120 h 4138884"/>
              <a:gd name="connsiteX20" fmla="*/ 78533 w 3926633"/>
              <a:gd name="connsiteY20" fmla="*/ 1043940 h 4138884"/>
              <a:gd name="connsiteX21" fmla="*/ 124253 w 3926633"/>
              <a:gd name="connsiteY21" fmla="*/ 1127760 h 4138884"/>
              <a:gd name="connsiteX22" fmla="*/ 192833 w 3926633"/>
              <a:gd name="connsiteY22" fmla="*/ 1303020 h 4138884"/>
              <a:gd name="connsiteX23" fmla="*/ 329993 w 3926633"/>
              <a:gd name="connsiteY23" fmla="*/ 1539240 h 4138884"/>
              <a:gd name="connsiteX24" fmla="*/ 368093 w 3926633"/>
              <a:gd name="connsiteY24" fmla="*/ 1615440 h 4138884"/>
              <a:gd name="connsiteX25" fmla="*/ 581453 w 3926633"/>
              <a:gd name="connsiteY25" fmla="*/ 1897380 h 4138884"/>
              <a:gd name="connsiteX26" fmla="*/ 749093 w 3926633"/>
              <a:gd name="connsiteY26" fmla="*/ 2118360 h 4138884"/>
              <a:gd name="connsiteX27" fmla="*/ 855773 w 3926633"/>
              <a:gd name="connsiteY27" fmla="*/ 2225040 h 4138884"/>
              <a:gd name="connsiteX28" fmla="*/ 901493 w 3926633"/>
              <a:gd name="connsiteY28" fmla="*/ 2270760 h 4138884"/>
              <a:gd name="connsiteX29" fmla="*/ 1023413 w 3926633"/>
              <a:gd name="connsiteY29" fmla="*/ 2339340 h 4138884"/>
              <a:gd name="connsiteX30" fmla="*/ 1046273 w 3926633"/>
              <a:gd name="connsiteY30" fmla="*/ 2362200 h 4138884"/>
              <a:gd name="connsiteX31" fmla="*/ 1084373 w 3926633"/>
              <a:gd name="connsiteY31" fmla="*/ 2392680 h 4138884"/>
              <a:gd name="connsiteX32" fmla="*/ 1107233 w 3926633"/>
              <a:gd name="connsiteY32" fmla="*/ 2423160 h 4138884"/>
              <a:gd name="connsiteX33" fmla="*/ 1175813 w 3926633"/>
              <a:gd name="connsiteY33" fmla="*/ 2491740 h 4138884"/>
              <a:gd name="connsiteX34" fmla="*/ 1206293 w 3926633"/>
              <a:gd name="connsiteY34" fmla="*/ 2522220 h 4138884"/>
              <a:gd name="connsiteX35" fmla="*/ 1267253 w 3926633"/>
              <a:gd name="connsiteY35" fmla="*/ 2560320 h 4138884"/>
              <a:gd name="connsiteX36" fmla="*/ 1351073 w 3926633"/>
              <a:gd name="connsiteY36" fmla="*/ 2636520 h 4138884"/>
              <a:gd name="connsiteX37" fmla="*/ 1373933 w 3926633"/>
              <a:gd name="connsiteY37" fmla="*/ 2674620 h 4138884"/>
              <a:gd name="connsiteX38" fmla="*/ 1412033 w 3926633"/>
              <a:gd name="connsiteY38" fmla="*/ 2720340 h 4138884"/>
              <a:gd name="connsiteX39" fmla="*/ 1434893 w 3926633"/>
              <a:gd name="connsiteY39" fmla="*/ 2766060 h 4138884"/>
              <a:gd name="connsiteX40" fmla="*/ 1457753 w 3926633"/>
              <a:gd name="connsiteY40" fmla="*/ 2804160 h 4138884"/>
              <a:gd name="connsiteX41" fmla="*/ 1465373 w 3926633"/>
              <a:gd name="connsiteY41" fmla="*/ 2849880 h 4138884"/>
              <a:gd name="connsiteX42" fmla="*/ 1472993 w 3926633"/>
              <a:gd name="connsiteY42" fmla="*/ 2872740 h 4138884"/>
              <a:gd name="connsiteX43" fmla="*/ 1419653 w 3926633"/>
              <a:gd name="connsiteY43" fmla="*/ 3063240 h 4138884"/>
              <a:gd name="connsiteX44" fmla="*/ 1396793 w 3926633"/>
              <a:gd name="connsiteY44" fmla="*/ 3093720 h 4138884"/>
              <a:gd name="connsiteX45" fmla="*/ 1373933 w 3926633"/>
              <a:gd name="connsiteY45" fmla="*/ 3154680 h 4138884"/>
              <a:gd name="connsiteX46" fmla="*/ 1335833 w 3926633"/>
              <a:gd name="connsiteY46" fmla="*/ 3215640 h 4138884"/>
              <a:gd name="connsiteX47" fmla="*/ 1267253 w 3926633"/>
              <a:gd name="connsiteY47" fmla="*/ 3284220 h 4138884"/>
              <a:gd name="connsiteX48" fmla="*/ 1229153 w 3926633"/>
              <a:gd name="connsiteY48" fmla="*/ 3329940 h 4138884"/>
              <a:gd name="connsiteX49" fmla="*/ 1213913 w 3926633"/>
              <a:gd name="connsiteY49" fmla="*/ 3352800 h 4138884"/>
              <a:gd name="connsiteX50" fmla="*/ 1175813 w 3926633"/>
              <a:gd name="connsiteY50" fmla="*/ 3360420 h 4138884"/>
              <a:gd name="connsiteX51" fmla="*/ 1152953 w 3926633"/>
              <a:gd name="connsiteY51" fmla="*/ 3368040 h 4138884"/>
              <a:gd name="connsiteX52" fmla="*/ 1145333 w 3926633"/>
              <a:gd name="connsiteY52" fmla="*/ 3467100 h 4138884"/>
              <a:gd name="connsiteX53" fmla="*/ 1122473 w 3926633"/>
              <a:gd name="connsiteY53" fmla="*/ 3489960 h 4138884"/>
              <a:gd name="connsiteX54" fmla="*/ 1099613 w 3926633"/>
              <a:gd name="connsiteY54" fmla="*/ 3550920 h 4138884"/>
              <a:gd name="connsiteX55" fmla="*/ 1084373 w 3926633"/>
              <a:gd name="connsiteY55" fmla="*/ 3680460 h 4138884"/>
              <a:gd name="connsiteX56" fmla="*/ 1000553 w 3926633"/>
              <a:gd name="connsiteY56" fmla="*/ 3556635 h 4138884"/>
              <a:gd name="connsiteX57" fmla="*/ 1061513 w 3926633"/>
              <a:gd name="connsiteY57" fmla="*/ 3802380 h 4138884"/>
              <a:gd name="connsiteX58" fmla="*/ 1069133 w 3926633"/>
              <a:gd name="connsiteY58" fmla="*/ 3924300 h 4138884"/>
              <a:gd name="connsiteX59" fmla="*/ 1142475 w 3926633"/>
              <a:gd name="connsiteY59" fmla="*/ 3945255 h 4138884"/>
              <a:gd name="connsiteX60" fmla="*/ 1107233 w 3926633"/>
              <a:gd name="connsiteY60" fmla="*/ 3977640 h 4138884"/>
              <a:gd name="connsiteX61" fmla="*/ 1198673 w 3926633"/>
              <a:gd name="connsiteY61" fmla="*/ 4053840 h 4138884"/>
              <a:gd name="connsiteX62" fmla="*/ 1221533 w 3926633"/>
              <a:gd name="connsiteY62" fmla="*/ 4061460 h 4138884"/>
              <a:gd name="connsiteX63" fmla="*/ 1282493 w 3926633"/>
              <a:gd name="connsiteY63" fmla="*/ 4069080 h 4138884"/>
              <a:gd name="connsiteX64" fmla="*/ 1655873 w 3926633"/>
              <a:gd name="connsiteY64" fmla="*/ 4091940 h 4138884"/>
              <a:gd name="connsiteX65" fmla="*/ 1732073 w 3926633"/>
              <a:gd name="connsiteY65" fmla="*/ 4130040 h 4138884"/>
              <a:gd name="connsiteX66" fmla="*/ 1793033 w 3926633"/>
              <a:gd name="connsiteY66" fmla="*/ 4130040 h 4138884"/>
              <a:gd name="connsiteX67" fmla="*/ 1937813 w 3926633"/>
              <a:gd name="connsiteY67" fmla="*/ 4091940 h 4138884"/>
              <a:gd name="connsiteX68" fmla="*/ 2326433 w 3926633"/>
              <a:gd name="connsiteY68" fmla="*/ 4084320 h 4138884"/>
              <a:gd name="connsiteX69" fmla="*/ 2455973 w 3926633"/>
              <a:gd name="connsiteY69" fmla="*/ 4023360 h 4138884"/>
              <a:gd name="connsiteX70" fmla="*/ 2501693 w 3926633"/>
              <a:gd name="connsiteY70" fmla="*/ 3985260 h 4138884"/>
              <a:gd name="connsiteX71" fmla="*/ 2539793 w 3926633"/>
              <a:gd name="connsiteY71" fmla="*/ 3893820 h 4138884"/>
              <a:gd name="connsiteX72" fmla="*/ 2562653 w 3926633"/>
              <a:gd name="connsiteY72" fmla="*/ 3756660 h 4138884"/>
              <a:gd name="connsiteX73" fmla="*/ 2577893 w 3926633"/>
              <a:gd name="connsiteY73" fmla="*/ 3695700 h 4138884"/>
              <a:gd name="connsiteX74" fmla="*/ 2722673 w 3926633"/>
              <a:gd name="connsiteY74" fmla="*/ 3406140 h 4138884"/>
              <a:gd name="connsiteX75" fmla="*/ 2829353 w 3926633"/>
              <a:gd name="connsiteY75" fmla="*/ 3162300 h 4138884"/>
              <a:gd name="connsiteX76" fmla="*/ 2974133 w 3926633"/>
              <a:gd name="connsiteY76" fmla="*/ 2956560 h 4138884"/>
              <a:gd name="connsiteX77" fmla="*/ 3164633 w 3926633"/>
              <a:gd name="connsiteY77" fmla="*/ 2689860 h 4138884"/>
              <a:gd name="connsiteX78" fmla="*/ 3195113 w 3926633"/>
              <a:gd name="connsiteY78" fmla="*/ 2621280 h 4138884"/>
              <a:gd name="connsiteX79" fmla="*/ 3248453 w 3926633"/>
              <a:gd name="connsiteY79" fmla="*/ 2354580 h 4138884"/>
              <a:gd name="connsiteX80" fmla="*/ 3408473 w 3926633"/>
              <a:gd name="connsiteY80" fmla="*/ 1950720 h 4138884"/>
              <a:gd name="connsiteX81" fmla="*/ 3423713 w 3926633"/>
              <a:gd name="connsiteY81" fmla="*/ 1874520 h 4138884"/>
              <a:gd name="connsiteX82" fmla="*/ 3446573 w 3926633"/>
              <a:gd name="connsiteY82" fmla="*/ 1813560 h 4138884"/>
              <a:gd name="connsiteX83" fmla="*/ 3507533 w 3926633"/>
              <a:gd name="connsiteY83" fmla="*/ 1630680 h 4138884"/>
              <a:gd name="connsiteX84" fmla="*/ 3591353 w 3926633"/>
              <a:gd name="connsiteY84" fmla="*/ 1432560 h 4138884"/>
              <a:gd name="connsiteX85" fmla="*/ 3598973 w 3926633"/>
              <a:gd name="connsiteY85" fmla="*/ 1394460 h 4138884"/>
              <a:gd name="connsiteX86" fmla="*/ 3667553 w 3926633"/>
              <a:gd name="connsiteY86" fmla="*/ 1303020 h 4138884"/>
              <a:gd name="connsiteX87" fmla="*/ 3736133 w 3926633"/>
              <a:gd name="connsiteY87" fmla="*/ 1181100 h 4138884"/>
              <a:gd name="connsiteX88" fmla="*/ 3835193 w 3926633"/>
              <a:gd name="connsiteY88" fmla="*/ 914400 h 4138884"/>
              <a:gd name="connsiteX89" fmla="*/ 3850433 w 3926633"/>
              <a:gd name="connsiteY89" fmla="*/ 838200 h 4138884"/>
              <a:gd name="connsiteX90" fmla="*/ 3865673 w 3926633"/>
              <a:gd name="connsiteY90" fmla="*/ 685800 h 4138884"/>
              <a:gd name="connsiteX91" fmla="*/ 3873293 w 3926633"/>
              <a:gd name="connsiteY91" fmla="*/ 182880 h 4138884"/>
              <a:gd name="connsiteX92" fmla="*/ 3835193 w 3926633"/>
              <a:gd name="connsiteY92" fmla="*/ 175260 h 4138884"/>
              <a:gd name="connsiteX93" fmla="*/ 3819953 w 3926633"/>
              <a:gd name="connsiteY93" fmla="*/ 160020 h 4138884"/>
              <a:gd name="connsiteX94" fmla="*/ 3926633 w 3926633"/>
              <a:gd name="connsiteY94" fmla="*/ 167640 h 4138884"/>
              <a:gd name="connsiteX0" fmla="*/ 3926633 w 3926633"/>
              <a:gd name="connsiteY0" fmla="*/ 167640 h 4138884"/>
              <a:gd name="connsiteX1" fmla="*/ 3926633 w 3926633"/>
              <a:gd name="connsiteY1" fmla="*/ 167640 h 4138884"/>
              <a:gd name="connsiteX2" fmla="*/ 3728513 w 3926633"/>
              <a:gd name="connsiteY2" fmla="*/ 152400 h 4138884"/>
              <a:gd name="connsiteX3" fmla="*/ 3507533 w 3926633"/>
              <a:gd name="connsiteY3" fmla="*/ 137160 h 4138884"/>
              <a:gd name="connsiteX4" fmla="*/ 3416093 w 3926633"/>
              <a:gd name="connsiteY4" fmla="*/ 114300 h 4138884"/>
              <a:gd name="connsiteX5" fmla="*/ 3377993 w 3926633"/>
              <a:gd name="connsiteY5" fmla="*/ 106680 h 4138884"/>
              <a:gd name="connsiteX6" fmla="*/ 3317033 w 3926633"/>
              <a:gd name="connsiteY6" fmla="*/ 83820 h 4138884"/>
              <a:gd name="connsiteX7" fmla="*/ 3263693 w 3926633"/>
              <a:gd name="connsiteY7" fmla="*/ 60960 h 4138884"/>
              <a:gd name="connsiteX8" fmla="*/ 3065573 w 3926633"/>
              <a:gd name="connsiteY8" fmla="*/ 45720 h 4138884"/>
              <a:gd name="connsiteX9" fmla="*/ 2021633 w 3926633"/>
              <a:gd name="connsiteY9" fmla="*/ 22860 h 4138884"/>
              <a:gd name="connsiteX10" fmla="*/ 1914953 w 3926633"/>
              <a:gd name="connsiteY10" fmla="*/ 15240 h 4138884"/>
              <a:gd name="connsiteX11" fmla="*/ 1457753 w 3926633"/>
              <a:gd name="connsiteY11" fmla="*/ 0 h 4138884"/>
              <a:gd name="connsiteX12" fmla="*/ 505253 w 3926633"/>
              <a:gd name="connsiteY12" fmla="*/ 15240 h 4138884"/>
              <a:gd name="connsiteX13" fmla="*/ 253793 w 3926633"/>
              <a:gd name="connsiteY13" fmla="*/ 30480 h 4138884"/>
              <a:gd name="connsiteX14" fmla="*/ 147113 w 3926633"/>
              <a:gd name="connsiteY14" fmla="*/ 91440 h 4138884"/>
              <a:gd name="connsiteX15" fmla="*/ 86153 w 3926633"/>
              <a:gd name="connsiteY15" fmla="*/ 137160 h 4138884"/>
              <a:gd name="connsiteX16" fmla="*/ 48053 w 3926633"/>
              <a:gd name="connsiteY16" fmla="*/ 190500 h 4138884"/>
              <a:gd name="connsiteX17" fmla="*/ 40433 w 3926633"/>
              <a:gd name="connsiteY17" fmla="*/ 220980 h 4138884"/>
              <a:gd name="connsiteX18" fmla="*/ 2333 w 3926633"/>
              <a:gd name="connsiteY18" fmla="*/ 457200 h 4138884"/>
              <a:gd name="connsiteX19" fmla="*/ 40433 w 3926633"/>
              <a:gd name="connsiteY19" fmla="*/ 960120 h 4138884"/>
              <a:gd name="connsiteX20" fmla="*/ 78533 w 3926633"/>
              <a:gd name="connsiteY20" fmla="*/ 1043940 h 4138884"/>
              <a:gd name="connsiteX21" fmla="*/ 124253 w 3926633"/>
              <a:gd name="connsiteY21" fmla="*/ 1127760 h 4138884"/>
              <a:gd name="connsiteX22" fmla="*/ 192833 w 3926633"/>
              <a:gd name="connsiteY22" fmla="*/ 1303020 h 4138884"/>
              <a:gd name="connsiteX23" fmla="*/ 329993 w 3926633"/>
              <a:gd name="connsiteY23" fmla="*/ 1539240 h 4138884"/>
              <a:gd name="connsiteX24" fmla="*/ 368093 w 3926633"/>
              <a:gd name="connsiteY24" fmla="*/ 1615440 h 4138884"/>
              <a:gd name="connsiteX25" fmla="*/ 581453 w 3926633"/>
              <a:gd name="connsiteY25" fmla="*/ 1897380 h 4138884"/>
              <a:gd name="connsiteX26" fmla="*/ 749093 w 3926633"/>
              <a:gd name="connsiteY26" fmla="*/ 2118360 h 4138884"/>
              <a:gd name="connsiteX27" fmla="*/ 855773 w 3926633"/>
              <a:gd name="connsiteY27" fmla="*/ 2225040 h 4138884"/>
              <a:gd name="connsiteX28" fmla="*/ 901493 w 3926633"/>
              <a:gd name="connsiteY28" fmla="*/ 2270760 h 4138884"/>
              <a:gd name="connsiteX29" fmla="*/ 1023413 w 3926633"/>
              <a:gd name="connsiteY29" fmla="*/ 2339340 h 4138884"/>
              <a:gd name="connsiteX30" fmla="*/ 1046273 w 3926633"/>
              <a:gd name="connsiteY30" fmla="*/ 2362200 h 4138884"/>
              <a:gd name="connsiteX31" fmla="*/ 1084373 w 3926633"/>
              <a:gd name="connsiteY31" fmla="*/ 2392680 h 4138884"/>
              <a:gd name="connsiteX32" fmla="*/ 1107233 w 3926633"/>
              <a:gd name="connsiteY32" fmla="*/ 2423160 h 4138884"/>
              <a:gd name="connsiteX33" fmla="*/ 1175813 w 3926633"/>
              <a:gd name="connsiteY33" fmla="*/ 2491740 h 4138884"/>
              <a:gd name="connsiteX34" fmla="*/ 1206293 w 3926633"/>
              <a:gd name="connsiteY34" fmla="*/ 2522220 h 4138884"/>
              <a:gd name="connsiteX35" fmla="*/ 1267253 w 3926633"/>
              <a:gd name="connsiteY35" fmla="*/ 2560320 h 4138884"/>
              <a:gd name="connsiteX36" fmla="*/ 1351073 w 3926633"/>
              <a:gd name="connsiteY36" fmla="*/ 2636520 h 4138884"/>
              <a:gd name="connsiteX37" fmla="*/ 1373933 w 3926633"/>
              <a:gd name="connsiteY37" fmla="*/ 2674620 h 4138884"/>
              <a:gd name="connsiteX38" fmla="*/ 1412033 w 3926633"/>
              <a:gd name="connsiteY38" fmla="*/ 2720340 h 4138884"/>
              <a:gd name="connsiteX39" fmla="*/ 1434893 w 3926633"/>
              <a:gd name="connsiteY39" fmla="*/ 2766060 h 4138884"/>
              <a:gd name="connsiteX40" fmla="*/ 1457753 w 3926633"/>
              <a:gd name="connsiteY40" fmla="*/ 2804160 h 4138884"/>
              <a:gd name="connsiteX41" fmla="*/ 1465373 w 3926633"/>
              <a:gd name="connsiteY41" fmla="*/ 2849880 h 4138884"/>
              <a:gd name="connsiteX42" fmla="*/ 1472993 w 3926633"/>
              <a:gd name="connsiteY42" fmla="*/ 2872740 h 4138884"/>
              <a:gd name="connsiteX43" fmla="*/ 1419653 w 3926633"/>
              <a:gd name="connsiteY43" fmla="*/ 3063240 h 4138884"/>
              <a:gd name="connsiteX44" fmla="*/ 1396793 w 3926633"/>
              <a:gd name="connsiteY44" fmla="*/ 3093720 h 4138884"/>
              <a:gd name="connsiteX45" fmla="*/ 1373933 w 3926633"/>
              <a:gd name="connsiteY45" fmla="*/ 3154680 h 4138884"/>
              <a:gd name="connsiteX46" fmla="*/ 1335833 w 3926633"/>
              <a:gd name="connsiteY46" fmla="*/ 3215640 h 4138884"/>
              <a:gd name="connsiteX47" fmla="*/ 1267253 w 3926633"/>
              <a:gd name="connsiteY47" fmla="*/ 3284220 h 4138884"/>
              <a:gd name="connsiteX48" fmla="*/ 1229153 w 3926633"/>
              <a:gd name="connsiteY48" fmla="*/ 3329940 h 4138884"/>
              <a:gd name="connsiteX49" fmla="*/ 1213913 w 3926633"/>
              <a:gd name="connsiteY49" fmla="*/ 3352800 h 4138884"/>
              <a:gd name="connsiteX50" fmla="*/ 1175813 w 3926633"/>
              <a:gd name="connsiteY50" fmla="*/ 3360420 h 4138884"/>
              <a:gd name="connsiteX51" fmla="*/ 1152953 w 3926633"/>
              <a:gd name="connsiteY51" fmla="*/ 3368040 h 4138884"/>
              <a:gd name="connsiteX52" fmla="*/ 1145333 w 3926633"/>
              <a:gd name="connsiteY52" fmla="*/ 3467100 h 4138884"/>
              <a:gd name="connsiteX53" fmla="*/ 1122473 w 3926633"/>
              <a:gd name="connsiteY53" fmla="*/ 3489960 h 4138884"/>
              <a:gd name="connsiteX54" fmla="*/ 1099613 w 3926633"/>
              <a:gd name="connsiteY54" fmla="*/ 3550920 h 4138884"/>
              <a:gd name="connsiteX55" fmla="*/ 1084373 w 3926633"/>
              <a:gd name="connsiteY55" fmla="*/ 3680460 h 4138884"/>
              <a:gd name="connsiteX56" fmla="*/ 1000553 w 3926633"/>
              <a:gd name="connsiteY56" fmla="*/ 3556635 h 4138884"/>
              <a:gd name="connsiteX57" fmla="*/ 1061513 w 3926633"/>
              <a:gd name="connsiteY57" fmla="*/ 3802380 h 4138884"/>
              <a:gd name="connsiteX58" fmla="*/ 1102471 w 3926633"/>
              <a:gd name="connsiteY58" fmla="*/ 3929062 h 4138884"/>
              <a:gd name="connsiteX59" fmla="*/ 1142475 w 3926633"/>
              <a:gd name="connsiteY59" fmla="*/ 3945255 h 4138884"/>
              <a:gd name="connsiteX60" fmla="*/ 1107233 w 3926633"/>
              <a:gd name="connsiteY60" fmla="*/ 3977640 h 4138884"/>
              <a:gd name="connsiteX61" fmla="*/ 1198673 w 3926633"/>
              <a:gd name="connsiteY61" fmla="*/ 4053840 h 4138884"/>
              <a:gd name="connsiteX62" fmla="*/ 1221533 w 3926633"/>
              <a:gd name="connsiteY62" fmla="*/ 4061460 h 4138884"/>
              <a:gd name="connsiteX63" fmla="*/ 1282493 w 3926633"/>
              <a:gd name="connsiteY63" fmla="*/ 4069080 h 4138884"/>
              <a:gd name="connsiteX64" fmla="*/ 1655873 w 3926633"/>
              <a:gd name="connsiteY64" fmla="*/ 4091940 h 4138884"/>
              <a:gd name="connsiteX65" fmla="*/ 1732073 w 3926633"/>
              <a:gd name="connsiteY65" fmla="*/ 4130040 h 4138884"/>
              <a:gd name="connsiteX66" fmla="*/ 1793033 w 3926633"/>
              <a:gd name="connsiteY66" fmla="*/ 4130040 h 4138884"/>
              <a:gd name="connsiteX67" fmla="*/ 1937813 w 3926633"/>
              <a:gd name="connsiteY67" fmla="*/ 4091940 h 4138884"/>
              <a:gd name="connsiteX68" fmla="*/ 2326433 w 3926633"/>
              <a:gd name="connsiteY68" fmla="*/ 4084320 h 4138884"/>
              <a:gd name="connsiteX69" fmla="*/ 2455973 w 3926633"/>
              <a:gd name="connsiteY69" fmla="*/ 4023360 h 4138884"/>
              <a:gd name="connsiteX70" fmla="*/ 2501693 w 3926633"/>
              <a:gd name="connsiteY70" fmla="*/ 3985260 h 4138884"/>
              <a:gd name="connsiteX71" fmla="*/ 2539793 w 3926633"/>
              <a:gd name="connsiteY71" fmla="*/ 3893820 h 4138884"/>
              <a:gd name="connsiteX72" fmla="*/ 2562653 w 3926633"/>
              <a:gd name="connsiteY72" fmla="*/ 3756660 h 4138884"/>
              <a:gd name="connsiteX73" fmla="*/ 2577893 w 3926633"/>
              <a:gd name="connsiteY73" fmla="*/ 3695700 h 4138884"/>
              <a:gd name="connsiteX74" fmla="*/ 2722673 w 3926633"/>
              <a:gd name="connsiteY74" fmla="*/ 3406140 h 4138884"/>
              <a:gd name="connsiteX75" fmla="*/ 2829353 w 3926633"/>
              <a:gd name="connsiteY75" fmla="*/ 3162300 h 4138884"/>
              <a:gd name="connsiteX76" fmla="*/ 2974133 w 3926633"/>
              <a:gd name="connsiteY76" fmla="*/ 2956560 h 4138884"/>
              <a:gd name="connsiteX77" fmla="*/ 3164633 w 3926633"/>
              <a:gd name="connsiteY77" fmla="*/ 2689860 h 4138884"/>
              <a:gd name="connsiteX78" fmla="*/ 3195113 w 3926633"/>
              <a:gd name="connsiteY78" fmla="*/ 2621280 h 4138884"/>
              <a:gd name="connsiteX79" fmla="*/ 3248453 w 3926633"/>
              <a:gd name="connsiteY79" fmla="*/ 2354580 h 4138884"/>
              <a:gd name="connsiteX80" fmla="*/ 3408473 w 3926633"/>
              <a:gd name="connsiteY80" fmla="*/ 1950720 h 4138884"/>
              <a:gd name="connsiteX81" fmla="*/ 3423713 w 3926633"/>
              <a:gd name="connsiteY81" fmla="*/ 1874520 h 4138884"/>
              <a:gd name="connsiteX82" fmla="*/ 3446573 w 3926633"/>
              <a:gd name="connsiteY82" fmla="*/ 1813560 h 4138884"/>
              <a:gd name="connsiteX83" fmla="*/ 3507533 w 3926633"/>
              <a:gd name="connsiteY83" fmla="*/ 1630680 h 4138884"/>
              <a:gd name="connsiteX84" fmla="*/ 3591353 w 3926633"/>
              <a:gd name="connsiteY84" fmla="*/ 1432560 h 4138884"/>
              <a:gd name="connsiteX85" fmla="*/ 3598973 w 3926633"/>
              <a:gd name="connsiteY85" fmla="*/ 1394460 h 4138884"/>
              <a:gd name="connsiteX86" fmla="*/ 3667553 w 3926633"/>
              <a:gd name="connsiteY86" fmla="*/ 1303020 h 4138884"/>
              <a:gd name="connsiteX87" fmla="*/ 3736133 w 3926633"/>
              <a:gd name="connsiteY87" fmla="*/ 1181100 h 4138884"/>
              <a:gd name="connsiteX88" fmla="*/ 3835193 w 3926633"/>
              <a:gd name="connsiteY88" fmla="*/ 914400 h 4138884"/>
              <a:gd name="connsiteX89" fmla="*/ 3850433 w 3926633"/>
              <a:gd name="connsiteY89" fmla="*/ 838200 h 4138884"/>
              <a:gd name="connsiteX90" fmla="*/ 3865673 w 3926633"/>
              <a:gd name="connsiteY90" fmla="*/ 685800 h 4138884"/>
              <a:gd name="connsiteX91" fmla="*/ 3873293 w 3926633"/>
              <a:gd name="connsiteY91" fmla="*/ 182880 h 4138884"/>
              <a:gd name="connsiteX92" fmla="*/ 3835193 w 3926633"/>
              <a:gd name="connsiteY92" fmla="*/ 175260 h 4138884"/>
              <a:gd name="connsiteX93" fmla="*/ 3819953 w 3926633"/>
              <a:gd name="connsiteY93" fmla="*/ 160020 h 4138884"/>
              <a:gd name="connsiteX94" fmla="*/ 3926633 w 3926633"/>
              <a:gd name="connsiteY94" fmla="*/ 167640 h 4138884"/>
              <a:gd name="connsiteX0" fmla="*/ 3926633 w 3926633"/>
              <a:gd name="connsiteY0" fmla="*/ 167640 h 4138884"/>
              <a:gd name="connsiteX1" fmla="*/ 3926633 w 3926633"/>
              <a:gd name="connsiteY1" fmla="*/ 167640 h 4138884"/>
              <a:gd name="connsiteX2" fmla="*/ 3728513 w 3926633"/>
              <a:gd name="connsiteY2" fmla="*/ 152400 h 4138884"/>
              <a:gd name="connsiteX3" fmla="*/ 3507533 w 3926633"/>
              <a:gd name="connsiteY3" fmla="*/ 137160 h 4138884"/>
              <a:gd name="connsiteX4" fmla="*/ 3416093 w 3926633"/>
              <a:gd name="connsiteY4" fmla="*/ 114300 h 4138884"/>
              <a:gd name="connsiteX5" fmla="*/ 3377993 w 3926633"/>
              <a:gd name="connsiteY5" fmla="*/ 106680 h 4138884"/>
              <a:gd name="connsiteX6" fmla="*/ 3317033 w 3926633"/>
              <a:gd name="connsiteY6" fmla="*/ 83820 h 4138884"/>
              <a:gd name="connsiteX7" fmla="*/ 3263693 w 3926633"/>
              <a:gd name="connsiteY7" fmla="*/ 60960 h 4138884"/>
              <a:gd name="connsiteX8" fmla="*/ 3065573 w 3926633"/>
              <a:gd name="connsiteY8" fmla="*/ 45720 h 4138884"/>
              <a:gd name="connsiteX9" fmla="*/ 2021633 w 3926633"/>
              <a:gd name="connsiteY9" fmla="*/ 22860 h 4138884"/>
              <a:gd name="connsiteX10" fmla="*/ 1914953 w 3926633"/>
              <a:gd name="connsiteY10" fmla="*/ 15240 h 4138884"/>
              <a:gd name="connsiteX11" fmla="*/ 1457753 w 3926633"/>
              <a:gd name="connsiteY11" fmla="*/ 0 h 4138884"/>
              <a:gd name="connsiteX12" fmla="*/ 505253 w 3926633"/>
              <a:gd name="connsiteY12" fmla="*/ 15240 h 4138884"/>
              <a:gd name="connsiteX13" fmla="*/ 253793 w 3926633"/>
              <a:gd name="connsiteY13" fmla="*/ 30480 h 4138884"/>
              <a:gd name="connsiteX14" fmla="*/ 147113 w 3926633"/>
              <a:gd name="connsiteY14" fmla="*/ 91440 h 4138884"/>
              <a:gd name="connsiteX15" fmla="*/ 86153 w 3926633"/>
              <a:gd name="connsiteY15" fmla="*/ 137160 h 4138884"/>
              <a:gd name="connsiteX16" fmla="*/ 48053 w 3926633"/>
              <a:gd name="connsiteY16" fmla="*/ 190500 h 4138884"/>
              <a:gd name="connsiteX17" fmla="*/ 40433 w 3926633"/>
              <a:gd name="connsiteY17" fmla="*/ 220980 h 4138884"/>
              <a:gd name="connsiteX18" fmla="*/ 2333 w 3926633"/>
              <a:gd name="connsiteY18" fmla="*/ 457200 h 4138884"/>
              <a:gd name="connsiteX19" fmla="*/ 40433 w 3926633"/>
              <a:gd name="connsiteY19" fmla="*/ 960120 h 4138884"/>
              <a:gd name="connsiteX20" fmla="*/ 78533 w 3926633"/>
              <a:gd name="connsiteY20" fmla="*/ 1043940 h 4138884"/>
              <a:gd name="connsiteX21" fmla="*/ 124253 w 3926633"/>
              <a:gd name="connsiteY21" fmla="*/ 1127760 h 4138884"/>
              <a:gd name="connsiteX22" fmla="*/ 192833 w 3926633"/>
              <a:gd name="connsiteY22" fmla="*/ 1303020 h 4138884"/>
              <a:gd name="connsiteX23" fmla="*/ 329993 w 3926633"/>
              <a:gd name="connsiteY23" fmla="*/ 1539240 h 4138884"/>
              <a:gd name="connsiteX24" fmla="*/ 368093 w 3926633"/>
              <a:gd name="connsiteY24" fmla="*/ 1615440 h 4138884"/>
              <a:gd name="connsiteX25" fmla="*/ 581453 w 3926633"/>
              <a:gd name="connsiteY25" fmla="*/ 1897380 h 4138884"/>
              <a:gd name="connsiteX26" fmla="*/ 749093 w 3926633"/>
              <a:gd name="connsiteY26" fmla="*/ 2118360 h 4138884"/>
              <a:gd name="connsiteX27" fmla="*/ 855773 w 3926633"/>
              <a:gd name="connsiteY27" fmla="*/ 2225040 h 4138884"/>
              <a:gd name="connsiteX28" fmla="*/ 901493 w 3926633"/>
              <a:gd name="connsiteY28" fmla="*/ 2270760 h 4138884"/>
              <a:gd name="connsiteX29" fmla="*/ 1023413 w 3926633"/>
              <a:gd name="connsiteY29" fmla="*/ 2339340 h 4138884"/>
              <a:gd name="connsiteX30" fmla="*/ 1046273 w 3926633"/>
              <a:gd name="connsiteY30" fmla="*/ 2362200 h 4138884"/>
              <a:gd name="connsiteX31" fmla="*/ 1084373 w 3926633"/>
              <a:gd name="connsiteY31" fmla="*/ 2392680 h 4138884"/>
              <a:gd name="connsiteX32" fmla="*/ 1107233 w 3926633"/>
              <a:gd name="connsiteY32" fmla="*/ 2423160 h 4138884"/>
              <a:gd name="connsiteX33" fmla="*/ 1175813 w 3926633"/>
              <a:gd name="connsiteY33" fmla="*/ 2491740 h 4138884"/>
              <a:gd name="connsiteX34" fmla="*/ 1206293 w 3926633"/>
              <a:gd name="connsiteY34" fmla="*/ 2522220 h 4138884"/>
              <a:gd name="connsiteX35" fmla="*/ 1267253 w 3926633"/>
              <a:gd name="connsiteY35" fmla="*/ 2560320 h 4138884"/>
              <a:gd name="connsiteX36" fmla="*/ 1351073 w 3926633"/>
              <a:gd name="connsiteY36" fmla="*/ 2636520 h 4138884"/>
              <a:gd name="connsiteX37" fmla="*/ 1373933 w 3926633"/>
              <a:gd name="connsiteY37" fmla="*/ 2674620 h 4138884"/>
              <a:gd name="connsiteX38" fmla="*/ 1412033 w 3926633"/>
              <a:gd name="connsiteY38" fmla="*/ 2720340 h 4138884"/>
              <a:gd name="connsiteX39" fmla="*/ 1434893 w 3926633"/>
              <a:gd name="connsiteY39" fmla="*/ 2766060 h 4138884"/>
              <a:gd name="connsiteX40" fmla="*/ 1457753 w 3926633"/>
              <a:gd name="connsiteY40" fmla="*/ 2804160 h 4138884"/>
              <a:gd name="connsiteX41" fmla="*/ 1465373 w 3926633"/>
              <a:gd name="connsiteY41" fmla="*/ 2849880 h 4138884"/>
              <a:gd name="connsiteX42" fmla="*/ 1472993 w 3926633"/>
              <a:gd name="connsiteY42" fmla="*/ 2872740 h 4138884"/>
              <a:gd name="connsiteX43" fmla="*/ 1419653 w 3926633"/>
              <a:gd name="connsiteY43" fmla="*/ 3063240 h 4138884"/>
              <a:gd name="connsiteX44" fmla="*/ 1396793 w 3926633"/>
              <a:gd name="connsiteY44" fmla="*/ 3093720 h 4138884"/>
              <a:gd name="connsiteX45" fmla="*/ 1373933 w 3926633"/>
              <a:gd name="connsiteY45" fmla="*/ 3154680 h 4138884"/>
              <a:gd name="connsiteX46" fmla="*/ 1335833 w 3926633"/>
              <a:gd name="connsiteY46" fmla="*/ 3215640 h 4138884"/>
              <a:gd name="connsiteX47" fmla="*/ 1267253 w 3926633"/>
              <a:gd name="connsiteY47" fmla="*/ 3284220 h 4138884"/>
              <a:gd name="connsiteX48" fmla="*/ 1229153 w 3926633"/>
              <a:gd name="connsiteY48" fmla="*/ 3329940 h 4138884"/>
              <a:gd name="connsiteX49" fmla="*/ 1213913 w 3926633"/>
              <a:gd name="connsiteY49" fmla="*/ 3352800 h 4138884"/>
              <a:gd name="connsiteX50" fmla="*/ 1175813 w 3926633"/>
              <a:gd name="connsiteY50" fmla="*/ 3360420 h 4138884"/>
              <a:gd name="connsiteX51" fmla="*/ 1152953 w 3926633"/>
              <a:gd name="connsiteY51" fmla="*/ 3368040 h 4138884"/>
              <a:gd name="connsiteX52" fmla="*/ 1145333 w 3926633"/>
              <a:gd name="connsiteY52" fmla="*/ 3467100 h 4138884"/>
              <a:gd name="connsiteX53" fmla="*/ 1122473 w 3926633"/>
              <a:gd name="connsiteY53" fmla="*/ 3489960 h 4138884"/>
              <a:gd name="connsiteX54" fmla="*/ 1099613 w 3926633"/>
              <a:gd name="connsiteY54" fmla="*/ 3550920 h 4138884"/>
              <a:gd name="connsiteX55" fmla="*/ 1084373 w 3926633"/>
              <a:gd name="connsiteY55" fmla="*/ 3680460 h 4138884"/>
              <a:gd name="connsiteX56" fmla="*/ 1000553 w 3926633"/>
              <a:gd name="connsiteY56" fmla="*/ 3556635 h 4138884"/>
              <a:gd name="connsiteX57" fmla="*/ 1061513 w 3926633"/>
              <a:gd name="connsiteY57" fmla="*/ 3802380 h 4138884"/>
              <a:gd name="connsiteX58" fmla="*/ 1088184 w 3926633"/>
              <a:gd name="connsiteY58" fmla="*/ 3943349 h 4138884"/>
              <a:gd name="connsiteX59" fmla="*/ 1142475 w 3926633"/>
              <a:gd name="connsiteY59" fmla="*/ 3945255 h 4138884"/>
              <a:gd name="connsiteX60" fmla="*/ 1107233 w 3926633"/>
              <a:gd name="connsiteY60" fmla="*/ 3977640 h 4138884"/>
              <a:gd name="connsiteX61" fmla="*/ 1198673 w 3926633"/>
              <a:gd name="connsiteY61" fmla="*/ 4053840 h 4138884"/>
              <a:gd name="connsiteX62" fmla="*/ 1221533 w 3926633"/>
              <a:gd name="connsiteY62" fmla="*/ 4061460 h 4138884"/>
              <a:gd name="connsiteX63" fmla="*/ 1282493 w 3926633"/>
              <a:gd name="connsiteY63" fmla="*/ 4069080 h 4138884"/>
              <a:gd name="connsiteX64" fmla="*/ 1655873 w 3926633"/>
              <a:gd name="connsiteY64" fmla="*/ 4091940 h 4138884"/>
              <a:gd name="connsiteX65" fmla="*/ 1732073 w 3926633"/>
              <a:gd name="connsiteY65" fmla="*/ 4130040 h 4138884"/>
              <a:gd name="connsiteX66" fmla="*/ 1793033 w 3926633"/>
              <a:gd name="connsiteY66" fmla="*/ 4130040 h 4138884"/>
              <a:gd name="connsiteX67" fmla="*/ 1937813 w 3926633"/>
              <a:gd name="connsiteY67" fmla="*/ 4091940 h 4138884"/>
              <a:gd name="connsiteX68" fmla="*/ 2326433 w 3926633"/>
              <a:gd name="connsiteY68" fmla="*/ 4084320 h 4138884"/>
              <a:gd name="connsiteX69" fmla="*/ 2455973 w 3926633"/>
              <a:gd name="connsiteY69" fmla="*/ 4023360 h 4138884"/>
              <a:gd name="connsiteX70" fmla="*/ 2501693 w 3926633"/>
              <a:gd name="connsiteY70" fmla="*/ 3985260 h 4138884"/>
              <a:gd name="connsiteX71" fmla="*/ 2539793 w 3926633"/>
              <a:gd name="connsiteY71" fmla="*/ 3893820 h 4138884"/>
              <a:gd name="connsiteX72" fmla="*/ 2562653 w 3926633"/>
              <a:gd name="connsiteY72" fmla="*/ 3756660 h 4138884"/>
              <a:gd name="connsiteX73" fmla="*/ 2577893 w 3926633"/>
              <a:gd name="connsiteY73" fmla="*/ 3695700 h 4138884"/>
              <a:gd name="connsiteX74" fmla="*/ 2722673 w 3926633"/>
              <a:gd name="connsiteY74" fmla="*/ 3406140 h 4138884"/>
              <a:gd name="connsiteX75" fmla="*/ 2829353 w 3926633"/>
              <a:gd name="connsiteY75" fmla="*/ 3162300 h 4138884"/>
              <a:gd name="connsiteX76" fmla="*/ 2974133 w 3926633"/>
              <a:gd name="connsiteY76" fmla="*/ 2956560 h 4138884"/>
              <a:gd name="connsiteX77" fmla="*/ 3164633 w 3926633"/>
              <a:gd name="connsiteY77" fmla="*/ 2689860 h 4138884"/>
              <a:gd name="connsiteX78" fmla="*/ 3195113 w 3926633"/>
              <a:gd name="connsiteY78" fmla="*/ 2621280 h 4138884"/>
              <a:gd name="connsiteX79" fmla="*/ 3248453 w 3926633"/>
              <a:gd name="connsiteY79" fmla="*/ 2354580 h 4138884"/>
              <a:gd name="connsiteX80" fmla="*/ 3408473 w 3926633"/>
              <a:gd name="connsiteY80" fmla="*/ 1950720 h 4138884"/>
              <a:gd name="connsiteX81" fmla="*/ 3423713 w 3926633"/>
              <a:gd name="connsiteY81" fmla="*/ 1874520 h 4138884"/>
              <a:gd name="connsiteX82" fmla="*/ 3446573 w 3926633"/>
              <a:gd name="connsiteY82" fmla="*/ 1813560 h 4138884"/>
              <a:gd name="connsiteX83" fmla="*/ 3507533 w 3926633"/>
              <a:gd name="connsiteY83" fmla="*/ 1630680 h 4138884"/>
              <a:gd name="connsiteX84" fmla="*/ 3591353 w 3926633"/>
              <a:gd name="connsiteY84" fmla="*/ 1432560 h 4138884"/>
              <a:gd name="connsiteX85" fmla="*/ 3598973 w 3926633"/>
              <a:gd name="connsiteY85" fmla="*/ 1394460 h 4138884"/>
              <a:gd name="connsiteX86" fmla="*/ 3667553 w 3926633"/>
              <a:gd name="connsiteY86" fmla="*/ 1303020 h 4138884"/>
              <a:gd name="connsiteX87" fmla="*/ 3736133 w 3926633"/>
              <a:gd name="connsiteY87" fmla="*/ 1181100 h 4138884"/>
              <a:gd name="connsiteX88" fmla="*/ 3835193 w 3926633"/>
              <a:gd name="connsiteY88" fmla="*/ 914400 h 4138884"/>
              <a:gd name="connsiteX89" fmla="*/ 3850433 w 3926633"/>
              <a:gd name="connsiteY89" fmla="*/ 838200 h 4138884"/>
              <a:gd name="connsiteX90" fmla="*/ 3865673 w 3926633"/>
              <a:gd name="connsiteY90" fmla="*/ 685800 h 4138884"/>
              <a:gd name="connsiteX91" fmla="*/ 3873293 w 3926633"/>
              <a:gd name="connsiteY91" fmla="*/ 182880 h 4138884"/>
              <a:gd name="connsiteX92" fmla="*/ 3835193 w 3926633"/>
              <a:gd name="connsiteY92" fmla="*/ 175260 h 4138884"/>
              <a:gd name="connsiteX93" fmla="*/ 3819953 w 3926633"/>
              <a:gd name="connsiteY93" fmla="*/ 160020 h 4138884"/>
              <a:gd name="connsiteX94" fmla="*/ 3926633 w 3926633"/>
              <a:gd name="connsiteY94" fmla="*/ 167640 h 4138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</a:cxnLst>
            <a:rect l="l" t="t" r="r" b="b"/>
            <a:pathLst>
              <a:path w="3926633" h="4138884">
                <a:moveTo>
                  <a:pt x="3926633" y="167640"/>
                </a:moveTo>
                <a:lnTo>
                  <a:pt x="3926633" y="167640"/>
                </a:lnTo>
                <a:lnTo>
                  <a:pt x="3728513" y="152400"/>
                </a:lnTo>
                <a:cubicBezTo>
                  <a:pt x="3439306" y="132223"/>
                  <a:pt x="3733390" y="155981"/>
                  <a:pt x="3507533" y="137160"/>
                </a:cubicBezTo>
                <a:lnTo>
                  <a:pt x="3416093" y="114300"/>
                </a:lnTo>
                <a:cubicBezTo>
                  <a:pt x="3403486" y="111334"/>
                  <a:pt x="3390372" y="110489"/>
                  <a:pt x="3377993" y="106680"/>
                </a:cubicBezTo>
                <a:cubicBezTo>
                  <a:pt x="3357251" y="100298"/>
                  <a:pt x="3337183" y="91880"/>
                  <a:pt x="3317033" y="83820"/>
                </a:cubicBezTo>
                <a:cubicBezTo>
                  <a:pt x="3299072" y="76636"/>
                  <a:pt x="3282523" y="65391"/>
                  <a:pt x="3263693" y="60960"/>
                </a:cubicBezTo>
                <a:cubicBezTo>
                  <a:pt x="3238363" y="55000"/>
                  <a:pt x="3067192" y="45821"/>
                  <a:pt x="3065573" y="45720"/>
                </a:cubicBezTo>
                <a:cubicBezTo>
                  <a:pt x="2685031" y="-49415"/>
                  <a:pt x="3052075" y="37272"/>
                  <a:pt x="2021633" y="22860"/>
                </a:cubicBezTo>
                <a:cubicBezTo>
                  <a:pt x="1985986" y="22361"/>
                  <a:pt x="1950574" y="16684"/>
                  <a:pt x="1914953" y="15240"/>
                </a:cubicBezTo>
                <a:lnTo>
                  <a:pt x="1457753" y="0"/>
                </a:lnTo>
                <a:lnTo>
                  <a:pt x="505253" y="15240"/>
                </a:lnTo>
                <a:cubicBezTo>
                  <a:pt x="421335" y="18310"/>
                  <a:pt x="337613" y="25400"/>
                  <a:pt x="253793" y="30480"/>
                </a:cubicBezTo>
                <a:cubicBezTo>
                  <a:pt x="186479" y="43943"/>
                  <a:pt x="227740" y="29784"/>
                  <a:pt x="147113" y="91440"/>
                </a:cubicBezTo>
                <a:cubicBezTo>
                  <a:pt x="126936" y="106869"/>
                  <a:pt x="101393" y="116840"/>
                  <a:pt x="86153" y="137160"/>
                </a:cubicBezTo>
                <a:cubicBezTo>
                  <a:pt x="57798" y="174966"/>
                  <a:pt x="70338" y="157073"/>
                  <a:pt x="48053" y="190500"/>
                </a:cubicBezTo>
                <a:cubicBezTo>
                  <a:pt x="45513" y="200660"/>
                  <a:pt x="42101" y="210641"/>
                  <a:pt x="40433" y="220980"/>
                </a:cubicBezTo>
                <a:cubicBezTo>
                  <a:pt x="415" y="469094"/>
                  <a:pt x="27977" y="354625"/>
                  <a:pt x="2333" y="457200"/>
                </a:cubicBezTo>
                <a:cubicBezTo>
                  <a:pt x="15033" y="624840"/>
                  <a:pt x="-29136" y="807069"/>
                  <a:pt x="40433" y="960120"/>
                </a:cubicBezTo>
                <a:cubicBezTo>
                  <a:pt x="53133" y="988060"/>
                  <a:pt x="64808" y="1016489"/>
                  <a:pt x="78533" y="1043940"/>
                </a:cubicBezTo>
                <a:cubicBezTo>
                  <a:pt x="92766" y="1072406"/>
                  <a:pt x="111407" y="1098642"/>
                  <a:pt x="124253" y="1127760"/>
                </a:cubicBezTo>
                <a:cubicBezTo>
                  <a:pt x="149575" y="1185156"/>
                  <a:pt x="164778" y="1246910"/>
                  <a:pt x="192833" y="1303020"/>
                </a:cubicBezTo>
                <a:cubicBezTo>
                  <a:pt x="233552" y="1384459"/>
                  <a:pt x="289274" y="1457801"/>
                  <a:pt x="329993" y="1539240"/>
                </a:cubicBezTo>
                <a:cubicBezTo>
                  <a:pt x="342693" y="1564640"/>
                  <a:pt x="352666" y="1591598"/>
                  <a:pt x="368093" y="1615440"/>
                </a:cubicBezTo>
                <a:cubicBezTo>
                  <a:pt x="588164" y="1955549"/>
                  <a:pt x="411436" y="1670691"/>
                  <a:pt x="581453" y="1897380"/>
                </a:cubicBezTo>
                <a:cubicBezTo>
                  <a:pt x="709158" y="2067653"/>
                  <a:pt x="635932" y="2000279"/>
                  <a:pt x="749093" y="2118360"/>
                </a:cubicBezTo>
                <a:cubicBezTo>
                  <a:pt x="783889" y="2154668"/>
                  <a:pt x="820213" y="2189480"/>
                  <a:pt x="855773" y="2225040"/>
                </a:cubicBezTo>
                <a:cubicBezTo>
                  <a:pt x="871013" y="2240280"/>
                  <a:pt x="881482" y="2262756"/>
                  <a:pt x="901493" y="2270760"/>
                </a:cubicBezTo>
                <a:cubicBezTo>
                  <a:pt x="960577" y="2294394"/>
                  <a:pt x="951696" y="2288114"/>
                  <a:pt x="1023413" y="2339340"/>
                </a:cubicBezTo>
                <a:cubicBezTo>
                  <a:pt x="1032182" y="2345604"/>
                  <a:pt x="1038163" y="2355104"/>
                  <a:pt x="1046273" y="2362200"/>
                </a:cubicBezTo>
                <a:cubicBezTo>
                  <a:pt x="1058513" y="2372910"/>
                  <a:pt x="1072873" y="2381180"/>
                  <a:pt x="1084373" y="2392680"/>
                </a:cubicBezTo>
                <a:cubicBezTo>
                  <a:pt x="1093353" y="2401660"/>
                  <a:pt x="1098619" y="2413828"/>
                  <a:pt x="1107233" y="2423160"/>
                </a:cubicBezTo>
                <a:cubicBezTo>
                  <a:pt x="1129161" y="2446915"/>
                  <a:pt x="1152953" y="2468880"/>
                  <a:pt x="1175813" y="2491740"/>
                </a:cubicBezTo>
                <a:cubicBezTo>
                  <a:pt x="1185973" y="2501900"/>
                  <a:pt x="1193972" y="2514828"/>
                  <a:pt x="1206293" y="2522220"/>
                </a:cubicBezTo>
                <a:cubicBezTo>
                  <a:pt x="1207620" y="2523016"/>
                  <a:pt x="1259664" y="2553421"/>
                  <a:pt x="1267253" y="2560320"/>
                </a:cubicBezTo>
                <a:cubicBezTo>
                  <a:pt x="1359977" y="2644615"/>
                  <a:pt x="1296243" y="2599967"/>
                  <a:pt x="1351073" y="2636520"/>
                </a:cubicBezTo>
                <a:cubicBezTo>
                  <a:pt x="1358693" y="2649220"/>
                  <a:pt x="1365222" y="2662642"/>
                  <a:pt x="1373933" y="2674620"/>
                </a:cubicBezTo>
                <a:cubicBezTo>
                  <a:pt x="1385601" y="2690664"/>
                  <a:pt x="1401029" y="2703834"/>
                  <a:pt x="1412033" y="2720340"/>
                </a:cubicBezTo>
                <a:cubicBezTo>
                  <a:pt x="1421484" y="2734517"/>
                  <a:pt x="1426734" y="2751102"/>
                  <a:pt x="1434893" y="2766060"/>
                </a:cubicBezTo>
                <a:cubicBezTo>
                  <a:pt x="1441985" y="2779062"/>
                  <a:pt x="1450133" y="2791460"/>
                  <a:pt x="1457753" y="2804160"/>
                </a:cubicBezTo>
                <a:cubicBezTo>
                  <a:pt x="1460293" y="2819400"/>
                  <a:pt x="1462021" y="2834798"/>
                  <a:pt x="1465373" y="2849880"/>
                </a:cubicBezTo>
                <a:cubicBezTo>
                  <a:pt x="1467115" y="2857721"/>
                  <a:pt x="1474313" y="2864817"/>
                  <a:pt x="1472993" y="2872740"/>
                </a:cubicBezTo>
                <a:cubicBezTo>
                  <a:pt x="1466373" y="2912462"/>
                  <a:pt x="1452348" y="3010929"/>
                  <a:pt x="1419653" y="3063240"/>
                </a:cubicBezTo>
                <a:cubicBezTo>
                  <a:pt x="1412922" y="3074010"/>
                  <a:pt x="1402961" y="3082618"/>
                  <a:pt x="1396793" y="3093720"/>
                </a:cubicBezTo>
                <a:cubicBezTo>
                  <a:pt x="1340639" y="3194798"/>
                  <a:pt x="1408152" y="3086241"/>
                  <a:pt x="1373933" y="3154680"/>
                </a:cubicBezTo>
                <a:cubicBezTo>
                  <a:pt x="1373540" y="3155465"/>
                  <a:pt x="1342482" y="3208386"/>
                  <a:pt x="1335833" y="3215640"/>
                </a:cubicBezTo>
                <a:cubicBezTo>
                  <a:pt x="1313988" y="3239471"/>
                  <a:pt x="1288136" y="3259541"/>
                  <a:pt x="1267253" y="3284220"/>
                </a:cubicBezTo>
                <a:cubicBezTo>
                  <a:pt x="1217208" y="3343364"/>
                  <a:pt x="1286223" y="3291893"/>
                  <a:pt x="1229153" y="3329940"/>
                </a:cubicBezTo>
                <a:cubicBezTo>
                  <a:pt x="1224073" y="3337560"/>
                  <a:pt x="1221864" y="3348256"/>
                  <a:pt x="1213913" y="3352800"/>
                </a:cubicBezTo>
                <a:cubicBezTo>
                  <a:pt x="1202668" y="3359226"/>
                  <a:pt x="1188378" y="3357279"/>
                  <a:pt x="1175813" y="3360420"/>
                </a:cubicBezTo>
                <a:cubicBezTo>
                  <a:pt x="1168021" y="3362368"/>
                  <a:pt x="1160573" y="3365500"/>
                  <a:pt x="1152953" y="3368040"/>
                </a:cubicBezTo>
                <a:cubicBezTo>
                  <a:pt x="1150413" y="3401060"/>
                  <a:pt x="1153365" y="3434971"/>
                  <a:pt x="1145333" y="3467100"/>
                </a:cubicBezTo>
                <a:cubicBezTo>
                  <a:pt x="1142719" y="3477555"/>
                  <a:pt x="1127633" y="3480500"/>
                  <a:pt x="1122473" y="3489960"/>
                </a:cubicBezTo>
                <a:cubicBezTo>
                  <a:pt x="1112081" y="3509012"/>
                  <a:pt x="1107233" y="3530600"/>
                  <a:pt x="1099613" y="3550920"/>
                </a:cubicBezTo>
                <a:cubicBezTo>
                  <a:pt x="1094533" y="3594100"/>
                  <a:pt x="1100883" y="3679508"/>
                  <a:pt x="1084373" y="3680460"/>
                </a:cubicBezTo>
                <a:cubicBezTo>
                  <a:pt x="1067863" y="3681412"/>
                  <a:pt x="1002522" y="3543834"/>
                  <a:pt x="1000553" y="3556635"/>
                </a:cubicBezTo>
                <a:cubicBezTo>
                  <a:pt x="988244" y="3636643"/>
                  <a:pt x="1077057" y="3755748"/>
                  <a:pt x="1061513" y="3802380"/>
                </a:cubicBezTo>
                <a:cubicBezTo>
                  <a:pt x="1064053" y="3843020"/>
                  <a:pt x="1074690" y="3919537"/>
                  <a:pt x="1088184" y="3943349"/>
                </a:cubicBezTo>
                <a:cubicBezTo>
                  <a:pt x="1101678" y="3967162"/>
                  <a:pt x="1139300" y="3939540"/>
                  <a:pt x="1142475" y="3945255"/>
                </a:cubicBezTo>
                <a:cubicBezTo>
                  <a:pt x="1145650" y="3950970"/>
                  <a:pt x="1097867" y="3959543"/>
                  <a:pt x="1107233" y="3977640"/>
                </a:cubicBezTo>
                <a:cubicBezTo>
                  <a:pt x="1116599" y="3995737"/>
                  <a:pt x="1155183" y="4035201"/>
                  <a:pt x="1198673" y="4053840"/>
                </a:cubicBezTo>
                <a:cubicBezTo>
                  <a:pt x="1206056" y="4057004"/>
                  <a:pt x="1213630" y="4060023"/>
                  <a:pt x="1221533" y="4061460"/>
                </a:cubicBezTo>
                <a:cubicBezTo>
                  <a:pt x="1241681" y="4065123"/>
                  <a:pt x="1262065" y="4067646"/>
                  <a:pt x="1282493" y="4069080"/>
                </a:cubicBezTo>
                <a:lnTo>
                  <a:pt x="1655873" y="4091940"/>
                </a:lnTo>
                <a:cubicBezTo>
                  <a:pt x="1681273" y="4104640"/>
                  <a:pt x="1705706" y="4119493"/>
                  <a:pt x="1732073" y="4130040"/>
                </a:cubicBezTo>
                <a:cubicBezTo>
                  <a:pt x="1769486" y="4145005"/>
                  <a:pt x="1763197" y="4138177"/>
                  <a:pt x="1793033" y="4130040"/>
                </a:cubicBezTo>
                <a:cubicBezTo>
                  <a:pt x="1841178" y="4116910"/>
                  <a:pt x="1887920" y="4092918"/>
                  <a:pt x="1937813" y="4091940"/>
                </a:cubicBezTo>
                <a:lnTo>
                  <a:pt x="2326433" y="4084320"/>
                </a:lnTo>
                <a:cubicBezTo>
                  <a:pt x="2384201" y="4062657"/>
                  <a:pt x="2401775" y="4059492"/>
                  <a:pt x="2455973" y="4023360"/>
                </a:cubicBezTo>
                <a:cubicBezTo>
                  <a:pt x="2472479" y="4012356"/>
                  <a:pt x="2486453" y="3997960"/>
                  <a:pt x="2501693" y="3985260"/>
                </a:cubicBezTo>
                <a:cubicBezTo>
                  <a:pt x="2514393" y="3954780"/>
                  <a:pt x="2536147" y="3926638"/>
                  <a:pt x="2539793" y="3893820"/>
                </a:cubicBezTo>
                <a:cubicBezTo>
                  <a:pt x="2548953" y="3811377"/>
                  <a:pt x="2543488" y="3838111"/>
                  <a:pt x="2562653" y="3756660"/>
                </a:cubicBezTo>
                <a:cubicBezTo>
                  <a:pt x="2567450" y="3736271"/>
                  <a:pt x="2569272" y="3714789"/>
                  <a:pt x="2577893" y="3695700"/>
                </a:cubicBezTo>
                <a:cubicBezTo>
                  <a:pt x="2665407" y="3501918"/>
                  <a:pt x="2656382" y="3568185"/>
                  <a:pt x="2722673" y="3406140"/>
                </a:cubicBezTo>
                <a:cubicBezTo>
                  <a:pt x="2731738" y="3383981"/>
                  <a:pt x="2797303" y="3211710"/>
                  <a:pt x="2829353" y="3162300"/>
                </a:cubicBezTo>
                <a:cubicBezTo>
                  <a:pt x="2874988" y="3091946"/>
                  <a:pt x="2921031" y="3021463"/>
                  <a:pt x="2974133" y="2956560"/>
                </a:cubicBezTo>
                <a:cubicBezTo>
                  <a:pt x="3038069" y="2878416"/>
                  <a:pt x="3126270" y="2776178"/>
                  <a:pt x="3164633" y="2689860"/>
                </a:cubicBezTo>
                <a:cubicBezTo>
                  <a:pt x="3174793" y="2667000"/>
                  <a:pt x="3186849" y="2644892"/>
                  <a:pt x="3195113" y="2621280"/>
                </a:cubicBezTo>
                <a:cubicBezTo>
                  <a:pt x="3258185" y="2441074"/>
                  <a:pt x="3162101" y="2644477"/>
                  <a:pt x="3248453" y="2354580"/>
                </a:cubicBezTo>
                <a:cubicBezTo>
                  <a:pt x="3312045" y="2141094"/>
                  <a:pt x="3360016" y="2193003"/>
                  <a:pt x="3408473" y="1950720"/>
                </a:cubicBezTo>
                <a:cubicBezTo>
                  <a:pt x="3413553" y="1925320"/>
                  <a:pt x="3416780" y="1899478"/>
                  <a:pt x="3423713" y="1874520"/>
                </a:cubicBezTo>
                <a:cubicBezTo>
                  <a:pt x="3429521" y="1853610"/>
                  <a:pt x="3439518" y="1834083"/>
                  <a:pt x="3446573" y="1813560"/>
                </a:cubicBezTo>
                <a:cubicBezTo>
                  <a:pt x="3467462" y="1752793"/>
                  <a:pt x="3490335" y="1692593"/>
                  <a:pt x="3507533" y="1630680"/>
                </a:cubicBezTo>
                <a:cubicBezTo>
                  <a:pt x="3552431" y="1469047"/>
                  <a:pt x="3517162" y="1531481"/>
                  <a:pt x="3591353" y="1432560"/>
                </a:cubicBezTo>
                <a:cubicBezTo>
                  <a:pt x="3593893" y="1419860"/>
                  <a:pt x="3593614" y="1406251"/>
                  <a:pt x="3598973" y="1394460"/>
                </a:cubicBezTo>
                <a:cubicBezTo>
                  <a:pt x="3614028" y="1361339"/>
                  <a:pt x="3646352" y="1331288"/>
                  <a:pt x="3667553" y="1303020"/>
                </a:cubicBezTo>
                <a:cubicBezTo>
                  <a:pt x="3699841" y="1259970"/>
                  <a:pt x="3711462" y="1232908"/>
                  <a:pt x="3736133" y="1181100"/>
                </a:cubicBezTo>
                <a:cubicBezTo>
                  <a:pt x="3775315" y="1098817"/>
                  <a:pt x="3817933" y="1000701"/>
                  <a:pt x="3835193" y="914400"/>
                </a:cubicBezTo>
                <a:cubicBezTo>
                  <a:pt x="3840273" y="889000"/>
                  <a:pt x="3847010" y="863876"/>
                  <a:pt x="3850433" y="838200"/>
                </a:cubicBezTo>
                <a:cubicBezTo>
                  <a:pt x="3857180" y="787594"/>
                  <a:pt x="3860593" y="736600"/>
                  <a:pt x="3865673" y="685800"/>
                </a:cubicBezTo>
                <a:cubicBezTo>
                  <a:pt x="3867916" y="639828"/>
                  <a:pt x="3894890" y="276466"/>
                  <a:pt x="3873293" y="182880"/>
                </a:cubicBezTo>
                <a:cubicBezTo>
                  <a:pt x="3870381" y="170260"/>
                  <a:pt x="3847097" y="180362"/>
                  <a:pt x="3835193" y="175260"/>
                </a:cubicBezTo>
                <a:cubicBezTo>
                  <a:pt x="3828590" y="172430"/>
                  <a:pt x="3825033" y="165100"/>
                  <a:pt x="3819953" y="160020"/>
                </a:cubicBezTo>
                <a:lnTo>
                  <a:pt x="3926633" y="167640"/>
                </a:lnTo>
                <a:close/>
              </a:path>
            </a:pathLst>
          </a:custGeom>
          <a:solidFill>
            <a:srgbClr val="13132D">
              <a:alpha val="56863"/>
            </a:srgbClr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5137" name="Freeform: Shape 5136">
            <a:extLst>
              <a:ext uri="{FF2B5EF4-FFF2-40B4-BE49-F238E27FC236}">
                <a16:creationId xmlns:a16="http://schemas.microsoft.com/office/drawing/2014/main" id="{45C899F2-D967-1724-8469-50637970AEF8}"/>
              </a:ext>
            </a:extLst>
          </p:cNvPr>
          <p:cNvSpPr/>
          <p:nvPr/>
        </p:nvSpPr>
        <p:spPr bwMode="auto">
          <a:xfrm>
            <a:off x="2224242" y="1965960"/>
            <a:ext cx="7401213" cy="4320540"/>
          </a:xfrm>
          <a:custGeom>
            <a:avLst/>
            <a:gdLst>
              <a:gd name="connsiteX0" fmla="*/ 4671858 w 7401213"/>
              <a:gd name="connsiteY0" fmla="*/ 76200 h 4366260"/>
              <a:gd name="connsiteX1" fmla="*/ 4671858 w 7401213"/>
              <a:gd name="connsiteY1" fmla="*/ 76200 h 4366260"/>
              <a:gd name="connsiteX2" fmla="*/ 4664238 w 7401213"/>
              <a:gd name="connsiteY2" fmla="*/ 396240 h 4366260"/>
              <a:gd name="connsiteX3" fmla="*/ 4648998 w 7401213"/>
              <a:gd name="connsiteY3" fmla="*/ 495300 h 4366260"/>
              <a:gd name="connsiteX4" fmla="*/ 4641378 w 7401213"/>
              <a:gd name="connsiteY4" fmla="*/ 670560 h 4366260"/>
              <a:gd name="connsiteX5" fmla="*/ 4626138 w 7401213"/>
              <a:gd name="connsiteY5" fmla="*/ 807720 h 4366260"/>
              <a:gd name="connsiteX6" fmla="*/ 4648998 w 7401213"/>
              <a:gd name="connsiteY6" fmla="*/ 944880 h 4366260"/>
              <a:gd name="connsiteX7" fmla="*/ 4664238 w 7401213"/>
              <a:gd name="connsiteY7" fmla="*/ 967740 h 4366260"/>
              <a:gd name="connsiteX8" fmla="*/ 4801398 w 7401213"/>
              <a:gd name="connsiteY8" fmla="*/ 1181100 h 4366260"/>
              <a:gd name="connsiteX9" fmla="*/ 4809018 w 7401213"/>
              <a:gd name="connsiteY9" fmla="*/ 1203960 h 4366260"/>
              <a:gd name="connsiteX10" fmla="*/ 4847118 w 7401213"/>
              <a:gd name="connsiteY10" fmla="*/ 1592580 h 4366260"/>
              <a:gd name="connsiteX11" fmla="*/ 4862358 w 7401213"/>
              <a:gd name="connsiteY11" fmla="*/ 1623060 h 4366260"/>
              <a:gd name="connsiteX12" fmla="*/ 4877598 w 7401213"/>
              <a:gd name="connsiteY12" fmla="*/ 1661160 h 4366260"/>
              <a:gd name="connsiteX13" fmla="*/ 4900458 w 7401213"/>
              <a:gd name="connsiteY13" fmla="*/ 1691640 h 4366260"/>
              <a:gd name="connsiteX14" fmla="*/ 4961418 w 7401213"/>
              <a:gd name="connsiteY14" fmla="*/ 1798320 h 4366260"/>
              <a:gd name="connsiteX15" fmla="*/ 4969038 w 7401213"/>
              <a:gd name="connsiteY15" fmla="*/ 1828800 h 4366260"/>
              <a:gd name="connsiteX16" fmla="*/ 5014758 w 7401213"/>
              <a:gd name="connsiteY16" fmla="*/ 1889760 h 4366260"/>
              <a:gd name="connsiteX17" fmla="*/ 5022378 w 7401213"/>
              <a:gd name="connsiteY17" fmla="*/ 1912620 h 4366260"/>
              <a:gd name="connsiteX18" fmla="*/ 5052858 w 7401213"/>
              <a:gd name="connsiteY18" fmla="*/ 1965960 h 4366260"/>
              <a:gd name="connsiteX19" fmla="*/ 5075718 w 7401213"/>
              <a:gd name="connsiteY19" fmla="*/ 2049780 h 4366260"/>
              <a:gd name="connsiteX20" fmla="*/ 5083338 w 7401213"/>
              <a:gd name="connsiteY20" fmla="*/ 2110740 h 4366260"/>
              <a:gd name="connsiteX21" fmla="*/ 5098578 w 7401213"/>
              <a:gd name="connsiteY21" fmla="*/ 2148840 h 4366260"/>
              <a:gd name="connsiteX22" fmla="*/ 5136678 w 7401213"/>
              <a:gd name="connsiteY22" fmla="*/ 2202180 h 4366260"/>
              <a:gd name="connsiteX23" fmla="*/ 5182398 w 7401213"/>
              <a:gd name="connsiteY23" fmla="*/ 2232660 h 4366260"/>
              <a:gd name="connsiteX24" fmla="*/ 5311938 w 7401213"/>
              <a:gd name="connsiteY24" fmla="*/ 2270760 h 4366260"/>
              <a:gd name="connsiteX25" fmla="*/ 5449098 w 7401213"/>
              <a:gd name="connsiteY25" fmla="*/ 2293620 h 4366260"/>
              <a:gd name="connsiteX26" fmla="*/ 5510058 w 7401213"/>
              <a:gd name="connsiteY26" fmla="*/ 2324100 h 4366260"/>
              <a:gd name="connsiteX27" fmla="*/ 5525298 w 7401213"/>
              <a:gd name="connsiteY27" fmla="*/ 2362200 h 4366260"/>
              <a:gd name="connsiteX28" fmla="*/ 5548158 w 7401213"/>
              <a:gd name="connsiteY28" fmla="*/ 2392680 h 4366260"/>
              <a:gd name="connsiteX29" fmla="*/ 5578638 w 7401213"/>
              <a:gd name="connsiteY29" fmla="*/ 2446020 h 4366260"/>
              <a:gd name="connsiteX30" fmla="*/ 5601498 w 7401213"/>
              <a:gd name="connsiteY30" fmla="*/ 2491740 h 4366260"/>
              <a:gd name="connsiteX31" fmla="*/ 5631978 w 7401213"/>
              <a:gd name="connsiteY31" fmla="*/ 2560320 h 4366260"/>
              <a:gd name="connsiteX32" fmla="*/ 5654838 w 7401213"/>
              <a:gd name="connsiteY32" fmla="*/ 2735580 h 4366260"/>
              <a:gd name="connsiteX33" fmla="*/ 5662458 w 7401213"/>
              <a:gd name="connsiteY33" fmla="*/ 2971800 h 4366260"/>
              <a:gd name="connsiteX34" fmla="*/ 5715798 w 7401213"/>
              <a:gd name="connsiteY34" fmla="*/ 3208020 h 4366260"/>
              <a:gd name="connsiteX35" fmla="*/ 5761518 w 7401213"/>
              <a:gd name="connsiteY35" fmla="*/ 3337560 h 4366260"/>
              <a:gd name="connsiteX36" fmla="*/ 5769138 w 7401213"/>
              <a:gd name="connsiteY36" fmla="*/ 3375660 h 4366260"/>
              <a:gd name="connsiteX37" fmla="*/ 5776758 w 7401213"/>
              <a:gd name="connsiteY37" fmla="*/ 3429000 h 4366260"/>
              <a:gd name="connsiteX38" fmla="*/ 5807238 w 7401213"/>
              <a:gd name="connsiteY38" fmla="*/ 3566160 h 4366260"/>
              <a:gd name="connsiteX39" fmla="*/ 5791998 w 7401213"/>
              <a:gd name="connsiteY39" fmla="*/ 3909060 h 4366260"/>
              <a:gd name="connsiteX40" fmla="*/ 5738658 w 7401213"/>
              <a:gd name="connsiteY40" fmla="*/ 4000500 h 4366260"/>
              <a:gd name="connsiteX41" fmla="*/ 5731038 w 7401213"/>
              <a:gd name="connsiteY41" fmla="*/ 4023360 h 4366260"/>
              <a:gd name="connsiteX42" fmla="*/ 5654838 w 7401213"/>
              <a:gd name="connsiteY42" fmla="*/ 4107180 h 4366260"/>
              <a:gd name="connsiteX43" fmla="*/ 5616738 w 7401213"/>
              <a:gd name="connsiteY43" fmla="*/ 4122420 h 4366260"/>
              <a:gd name="connsiteX44" fmla="*/ 5593878 w 7401213"/>
              <a:gd name="connsiteY44" fmla="*/ 4137660 h 4366260"/>
              <a:gd name="connsiteX45" fmla="*/ 5540538 w 7401213"/>
              <a:gd name="connsiteY45" fmla="*/ 4145280 h 4366260"/>
              <a:gd name="connsiteX46" fmla="*/ 5456718 w 7401213"/>
              <a:gd name="connsiteY46" fmla="*/ 4168140 h 4366260"/>
              <a:gd name="connsiteX47" fmla="*/ 5243358 w 7401213"/>
              <a:gd name="connsiteY47" fmla="*/ 4175760 h 4366260"/>
              <a:gd name="connsiteX48" fmla="*/ 5129058 w 7401213"/>
              <a:gd name="connsiteY48" fmla="*/ 4183380 h 4366260"/>
              <a:gd name="connsiteX49" fmla="*/ 5052858 w 7401213"/>
              <a:gd name="connsiteY49" fmla="*/ 4198620 h 4366260"/>
              <a:gd name="connsiteX50" fmla="*/ 5022378 w 7401213"/>
              <a:gd name="connsiteY50" fmla="*/ 4213860 h 4366260"/>
              <a:gd name="connsiteX51" fmla="*/ 4976658 w 7401213"/>
              <a:gd name="connsiteY51" fmla="*/ 4221480 h 4366260"/>
              <a:gd name="connsiteX52" fmla="*/ 4930938 w 7401213"/>
              <a:gd name="connsiteY52" fmla="*/ 4236720 h 4366260"/>
              <a:gd name="connsiteX53" fmla="*/ 4648998 w 7401213"/>
              <a:gd name="connsiteY53" fmla="*/ 4244340 h 4366260"/>
              <a:gd name="connsiteX54" fmla="*/ 4527078 w 7401213"/>
              <a:gd name="connsiteY54" fmla="*/ 4251960 h 4366260"/>
              <a:gd name="connsiteX55" fmla="*/ 4397538 w 7401213"/>
              <a:gd name="connsiteY55" fmla="*/ 4267200 h 4366260"/>
              <a:gd name="connsiteX56" fmla="*/ 3978438 w 7401213"/>
              <a:gd name="connsiteY56" fmla="*/ 4274820 h 4366260"/>
              <a:gd name="connsiteX57" fmla="*/ 3688878 w 7401213"/>
              <a:gd name="connsiteY57" fmla="*/ 4267200 h 4366260"/>
              <a:gd name="connsiteX58" fmla="*/ 3650778 w 7401213"/>
              <a:gd name="connsiteY58" fmla="*/ 4198620 h 4366260"/>
              <a:gd name="connsiteX59" fmla="*/ 3643158 w 7401213"/>
              <a:gd name="connsiteY59" fmla="*/ 4130040 h 4366260"/>
              <a:gd name="connsiteX60" fmla="*/ 3627918 w 7401213"/>
              <a:gd name="connsiteY60" fmla="*/ 4099560 h 4366260"/>
              <a:gd name="connsiteX61" fmla="*/ 3597438 w 7401213"/>
              <a:gd name="connsiteY61" fmla="*/ 4023360 h 4366260"/>
              <a:gd name="connsiteX62" fmla="*/ 3612678 w 7401213"/>
              <a:gd name="connsiteY62" fmla="*/ 3718560 h 4366260"/>
              <a:gd name="connsiteX63" fmla="*/ 3620298 w 7401213"/>
              <a:gd name="connsiteY63" fmla="*/ 3627120 h 4366260"/>
              <a:gd name="connsiteX64" fmla="*/ 3612678 w 7401213"/>
              <a:gd name="connsiteY64" fmla="*/ 3284220 h 4366260"/>
              <a:gd name="connsiteX65" fmla="*/ 3597438 w 7401213"/>
              <a:gd name="connsiteY65" fmla="*/ 3215640 h 4366260"/>
              <a:gd name="connsiteX66" fmla="*/ 3490758 w 7401213"/>
              <a:gd name="connsiteY66" fmla="*/ 3055620 h 4366260"/>
              <a:gd name="connsiteX67" fmla="*/ 3399318 w 7401213"/>
              <a:gd name="connsiteY67" fmla="*/ 2933700 h 4366260"/>
              <a:gd name="connsiteX68" fmla="*/ 3345978 w 7401213"/>
              <a:gd name="connsiteY68" fmla="*/ 2819400 h 4366260"/>
              <a:gd name="connsiteX69" fmla="*/ 3330738 w 7401213"/>
              <a:gd name="connsiteY69" fmla="*/ 2727960 h 4366260"/>
              <a:gd name="connsiteX70" fmla="*/ 3277398 w 7401213"/>
              <a:gd name="connsiteY70" fmla="*/ 2537460 h 4366260"/>
              <a:gd name="connsiteX71" fmla="*/ 3285018 w 7401213"/>
              <a:gd name="connsiteY71" fmla="*/ 1958340 h 4366260"/>
              <a:gd name="connsiteX72" fmla="*/ 3277398 w 7401213"/>
              <a:gd name="connsiteY72" fmla="*/ 1592580 h 4366260"/>
              <a:gd name="connsiteX73" fmla="*/ 3262158 w 7401213"/>
              <a:gd name="connsiteY73" fmla="*/ 1546860 h 4366260"/>
              <a:gd name="connsiteX74" fmla="*/ 3231678 w 7401213"/>
              <a:gd name="connsiteY74" fmla="*/ 1409700 h 4366260"/>
              <a:gd name="connsiteX75" fmla="*/ 3185958 w 7401213"/>
              <a:gd name="connsiteY75" fmla="*/ 1280160 h 4366260"/>
              <a:gd name="connsiteX76" fmla="*/ 3140238 w 7401213"/>
              <a:gd name="connsiteY76" fmla="*/ 792480 h 4366260"/>
              <a:gd name="connsiteX77" fmla="*/ 3086898 w 7401213"/>
              <a:gd name="connsiteY77" fmla="*/ 655320 h 4366260"/>
              <a:gd name="connsiteX78" fmla="*/ 3064038 w 7401213"/>
              <a:gd name="connsiteY78" fmla="*/ 548640 h 4366260"/>
              <a:gd name="connsiteX79" fmla="*/ 3003078 w 7401213"/>
              <a:gd name="connsiteY79" fmla="*/ 152400 h 4366260"/>
              <a:gd name="connsiteX80" fmla="*/ 2789718 w 7401213"/>
              <a:gd name="connsiteY80" fmla="*/ 60960 h 4366260"/>
              <a:gd name="connsiteX81" fmla="*/ 2644938 w 7401213"/>
              <a:gd name="connsiteY81" fmla="*/ 30480 h 4366260"/>
              <a:gd name="connsiteX82" fmla="*/ 2583978 w 7401213"/>
              <a:gd name="connsiteY82" fmla="*/ 38100 h 4366260"/>
              <a:gd name="connsiteX83" fmla="*/ 2538258 w 7401213"/>
              <a:gd name="connsiteY83" fmla="*/ 68580 h 4366260"/>
              <a:gd name="connsiteX84" fmla="*/ 2462058 w 7401213"/>
              <a:gd name="connsiteY84" fmla="*/ 91440 h 4366260"/>
              <a:gd name="connsiteX85" fmla="*/ 2142018 w 7401213"/>
              <a:gd name="connsiteY85" fmla="*/ 53340 h 4366260"/>
              <a:gd name="connsiteX86" fmla="*/ 1646718 w 7401213"/>
              <a:gd name="connsiteY86" fmla="*/ 45720 h 4366260"/>
              <a:gd name="connsiteX87" fmla="*/ 1585758 w 7401213"/>
              <a:gd name="connsiteY87" fmla="*/ 38100 h 4366260"/>
              <a:gd name="connsiteX88" fmla="*/ 1410498 w 7401213"/>
              <a:gd name="connsiteY88" fmla="*/ 22860 h 4366260"/>
              <a:gd name="connsiteX89" fmla="*/ 1311438 w 7401213"/>
              <a:gd name="connsiteY89" fmla="*/ 0 h 4366260"/>
              <a:gd name="connsiteX90" fmla="*/ 1098078 w 7401213"/>
              <a:gd name="connsiteY90" fmla="*/ 15240 h 4366260"/>
              <a:gd name="connsiteX91" fmla="*/ 1052358 w 7401213"/>
              <a:gd name="connsiteY91" fmla="*/ 30480 h 4366260"/>
              <a:gd name="connsiteX92" fmla="*/ 968538 w 7401213"/>
              <a:gd name="connsiteY92" fmla="*/ 60960 h 4366260"/>
              <a:gd name="connsiteX93" fmla="*/ 899958 w 7401213"/>
              <a:gd name="connsiteY93" fmla="*/ 76200 h 4366260"/>
              <a:gd name="connsiteX94" fmla="*/ 762798 w 7401213"/>
              <a:gd name="connsiteY94" fmla="*/ 106680 h 4366260"/>
              <a:gd name="connsiteX95" fmla="*/ 709458 w 7401213"/>
              <a:gd name="connsiteY95" fmla="*/ 121920 h 4366260"/>
              <a:gd name="connsiteX96" fmla="*/ 648498 w 7401213"/>
              <a:gd name="connsiteY96" fmla="*/ 137160 h 4366260"/>
              <a:gd name="connsiteX97" fmla="*/ 602778 w 7401213"/>
              <a:gd name="connsiteY97" fmla="*/ 152400 h 4366260"/>
              <a:gd name="connsiteX98" fmla="*/ 503718 w 7401213"/>
              <a:gd name="connsiteY98" fmla="*/ 205740 h 4366260"/>
              <a:gd name="connsiteX99" fmla="*/ 473238 w 7401213"/>
              <a:gd name="connsiteY99" fmla="*/ 236220 h 4366260"/>
              <a:gd name="connsiteX100" fmla="*/ 244638 w 7401213"/>
              <a:gd name="connsiteY100" fmla="*/ 411480 h 4366260"/>
              <a:gd name="connsiteX101" fmla="*/ 115098 w 7401213"/>
              <a:gd name="connsiteY101" fmla="*/ 662940 h 4366260"/>
              <a:gd name="connsiteX102" fmla="*/ 8418 w 7401213"/>
              <a:gd name="connsiteY102" fmla="*/ 1028700 h 4366260"/>
              <a:gd name="connsiteX103" fmla="*/ 798 w 7401213"/>
              <a:gd name="connsiteY103" fmla="*/ 1188720 h 4366260"/>
              <a:gd name="connsiteX104" fmla="*/ 107478 w 7401213"/>
              <a:gd name="connsiteY104" fmla="*/ 1866900 h 4366260"/>
              <a:gd name="connsiteX105" fmla="*/ 358938 w 7401213"/>
              <a:gd name="connsiteY105" fmla="*/ 2506980 h 4366260"/>
              <a:gd name="connsiteX106" fmla="*/ 587538 w 7401213"/>
              <a:gd name="connsiteY106" fmla="*/ 3078480 h 4366260"/>
              <a:gd name="connsiteX107" fmla="*/ 755178 w 7401213"/>
              <a:gd name="connsiteY107" fmla="*/ 3436620 h 4366260"/>
              <a:gd name="connsiteX108" fmla="*/ 877098 w 7401213"/>
              <a:gd name="connsiteY108" fmla="*/ 3657600 h 4366260"/>
              <a:gd name="connsiteX109" fmla="*/ 976158 w 7401213"/>
              <a:gd name="connsiteY109" fmla="*/ 3764280 h 4366260"/>
              <a:gd name="connsiteX110" fmla="*/ 1235238 w 7401213"/>
              <a:gd name="connsiteY110" fmla="*/ 3939540 h 4366260"/>
              <a:gd name="connsiteX111" fmla="*/ 1494318 w 7401213"/>
              <a:gd name="connsiteY111" fmla="*/ 3985260 h 4366260"/>
              <a:gd name="connsiteX112" fmla="*/ 1745778 w 7401213"/>
              <a:gd name="connsiteY112" fmla="*/ 4000500 h 4366260"/>
              <a:gd name="connsiteX113" fmla="*/ 1966758 w 7401213"/>
              <a:gd name="connsiteY113" fmla="*/ 4114800 h 4366260"/>
              <a:gd name="connsiteX114" fmla="*/ 2081058 w 7401213"/>
              <a:gd name="connsiteY114" fmla="*/ 4175760 h 4366260"/>
              <a:gd name="connsiteX115" fmla="*/ 2134398 w 7401213"/>
              <a:gd name="connsiteY115" fmla="*/ 4183380 h 4366260"/>
              <a:gd name="connsiteX116" fmla="*/ 2576358 w 7401213"/>
              <a:gd name="connsiteY116" fmla="*/ 4160520 h 4366260"/>
              <a:gd name="connsiteX117" fmla="*/ 3170718 w 7401213"/>
              <a:gd name="connsiteY117" fmla="*/ 4183380 h 4366260"/>
              <a:gd name="connsiteX118" fmla="*/ 3285018 w 7401213"/>
              <a:gd name="connsiteY118" fmla="*/ 4206240 h 4366260"/>
              <a:gd name="connsiteX119" fmla="*/ 3376458 w 7401213"/>
              <a:gd name="connsiteY119" fmla="*/ 4236720 h 4366260"/>
              <a:gd name="connsiteX120" fmla="*/ 3452658 w 7401213"/>
              <a:gd name="connsiteY120" fmla="*/ 4251960 h 4366260"/>
              <a:gd name="connsiteX121" fmla="*/ 3490758 w 7401213"/>
              <a:gd name="connsiteY121" fmla="*/ 4267200 h 4366260"/>
              <a:gd name="connsiteX122" fmla="*/ 3605058 w 7401213"/>
              <a:gd name="connsiteY122" fmla="*/ 4274820 h 4366260"/>
              <a:gd name="connsiteX123" fmla="*/ 3643158 w 7401213"/>
              <a:gd name="connsiteY123" fmla="*/ 4282440 h 4366260"/>
              <a:gd name="connsiteX124" fmla="*/ 3909858 w 7401213"/>
              <a:gd name="connsiteY124" fmla="*/ 4366260 h 4366260"/>
              <a:gd name="connsiteX125" fmla="*/ 3986058 w 7401213"/>
              <a:gd name="connsiteY125" fmla="*/ 4358640 h 4366260"/>
              <a:gd name="connsiteX126" fmla="*/ 4039398 w 7401213"/>
              <a:gd name="connsiteY126" fmla="*/ 4328160 h 4366260"/>
              <a:gd name="connsiteX127" fmla="*/ 4085118 w 7401213"/>
              <a:gd name="connsiteY127" fmla="*/ 4312920 h 4366260"/>
              <a:gd name="connsiteX128" fmla="*/ 4138458 w 7401213"/>
              <a:gd name="connsiteY128" fmla="*/ 4274820 h 4366260"/>
              <a:gd name="connsiteX129" fmla="*/ 4168938 w 7401213"/>
              <a:gd name="connsiteY129" fmla="*/ 4267200 h 4366260"/>
              <a:gd name="connsiteX130" fmla="*/ 4328958 w 7401213"/>
              <a:gd name="connsiteY130" fmla="*/ 4259580 h 4366260"/>
              <a:gd name="connsiteX131" fmla="*/ 4877598 w 7401213"/>
              <a:gd name="connsiteY131" fmla="*/ 4244340 h 4366260"/>
              <a:gd name="connsiteX132" fmla="*/ 4930938 w 7401213"/>
              <a:gd name="connsiteY132" fmla="*/ 4236720 h 4366260"/>
              <a:gd name="connsiteX133" fmla="*/ 4953798 w 7401213"/>
              <a:gd name="connsiteY133" fmla="*/ 4229100 h 4366260"/>
              <a:gd name="connsiteX134" fmla="*/ 5014758 w 7401213"/>
              <a:gd name="connsiteY134" fmla="*/ 4206240 h 4366260"/>
              <a:gd name="connsiteX135" fmla="*/ 5190018 w 7401213"/>
              <a:gd name="connsiteY135" fmla="*/ 4145280 h 4366260"/>
              <a:gd name="connsiteX136" fmla="*/ 5593878 w 7401213"/>
              <a:gd name="connsiteY136" fmla="*/ 4122420 h 4366260"/>
              <a:gd name="connsiteX137" fmla="*/ 5631978 w 7401213"/>
              <a:gd name="connsiteY137" fmla="*/ 4107180 h 4366260"/>
              <a:gd name="connsiteX138" fmla="*/ 5654838 w 7401213"/>
              <a:gd name="connsiteY138" fmla="*/ 4091940 h 4366260"/>
              <a:gd name="connsiteX139" fmla="*/ 5952018 w 7401213"/>
              <a:gd name="connsiteY139" fmla="*/ 3985260 h 4366260"/>
              <a:gd name="connsiteX140" fmla="*/ 6355878 w 7401213"/>
              <a:gd name="connsiteY140" fmla="*/ 3840480 h 4366260"/>
              <a:gd name="connsiteX141" fmla="*/ 6889278 w 7401213"/>
              <a:gd name="connsiteY141" fmla="*/ 3474720 h 4366260"/>
              <a:gd name="connsiteX142" fmla="*/ 7125498 w 7401213"/>
              <a:gd name="connsiteY142" fmla="*/ 3230880 h 4366260"/>
              <a:gd name="connsiteX143" fmla="*/ 7399818 w 7401213"/>
              <a:gd name="connsiteY143" fmla="*/ 2438400 h 4366260"/>
              <a:gd name="connsiteX144" fmla="*/ 7361718 w 7401213"/>
              <a:gd name="connsiteY144" fmla="*/ 1790700 h 4366260"/>
              <a:gd name="connsiteX145" fmla="*/ 7247418 w 7401213"/>
              <a:gd name="connsiteY145" fmla="*/ 1249680 h 4366260"/>
              <a:gd name="connsiteX146" fmla="*/ 7178838 w 7401213"/>
              <a:gd name="connsiteY146" fmla="*/ 899160 h 4366260"/>
              <a:gd name="connsiteX147" fmla="*/ 7163598 w 7401213"/>
              <a:gd name="connsiteY147" fmla="*/ 701040 h 4366260"/>
              <a:gd name="connsiteX148" fmla="*/ 7148358 w 7401213"/>
              <a:gd name="connsiteY148" fmla="*/ 396240 h 4366260"/>
              <a:gd name="connsiteX149" fmla="*/ 7072158 w 7401213"/>
              <a:gd name="connsiteY149" fmla="*/ 205740 h 4366260"/>
              <a:gd name="connsiteX150" fmla="*/ 7018818 w 7401213"/>
              <a:gd name="connsiteY150" fmla="*/ 99060 h 4366260"/>
              <a:gd name="connsiteX151" fmla="*/ 6767358 w 7401213"/>
              <a:gd name="connsiteY151" fmla="*/ 22860 h 4366260"/>
              <a:gd name="connsiteX152" fmla="*/ 6614958 w 7401213"/>
              <a:gd name="connsiteY152" fmla="*/ 45720 h 4366260"/>
              <a:gd name="connsiteX153" fmla="*/ 6592098 w 7401213"/>
              <a:gd name="connsiteY153" fmla="*/ 68580 h 4366260"/>
              <a:gd name="connsiteX154" fmla="*/ 6546378 w 7401213"/>
              <a:gd name="connsiteY154" fmla="*/ 83820 h 4366260"/>
              <a:gd name="connsiteX155" fmla="*/ 6447318 w 7401213"/>
              <a:gd name="connsiteY155" fmla="*/ 76200 h 4366260"/>
              <a:gd name="connsiteX156" fmla="*/ 6371118 w 7401213"/>
              <a:gd name="connsiteY156" fmla="*/ 68580 h 4366260"/>
              <a:gd name="connsiteX157" fmla="*/ 5921538 w 7401213"/>
              <a:gd name="connsiteY157" fmla="*/ 60960 h 4366260"/>
              <a:gd name="connsiteX158" fmla="*/ 5311938 w 7401213"/>
              <a:gd name="connsiteY158" fmla="*/ 38100 h 4366260"/>
              <a:gd name="connsiteX159" fmla="*/ 5266218 w 7401213"/>
              <a:gd name="connsiteY159" fmla="*/ 30480 h 4366260"/>
              <a:gd name="connsiteX160" fmla="*/ 5151918 w 7401213"/>
              <a:gd name="connsiteY160" fmla="*/ 22860 h 4366260"/>
              <a:gd name="connsiteX161" fmla="*/ 4847118 w 7401213"/>
              <a:gd name="connsiteY161" fmla="*/ 30480 h 4366260"/>
              <a:gd name="connsiteX162" fmla="*/ 4793778 w 7401213"/>
              <a:gd name="connsiteY162" fmla="*/ 38100 h 4366260"/>
              <a:gd name="connsiteX163" fmla="*/ 4732818 w 7401213"/>
              <a:gd name="connsiteY163" fmla="*/ 53340 h 4366260"/>
              <a:gd name="connsiteX164" fmla="*/ 4687098 w 7401213"/>
              <a:gd name="connsiteY164" fmla="*/ 76200 h 4366260"/>
              <a:gd name="connsiteX165" fmla="*/ 4664238 w 7401213"/>
              <a:gd name="connsiteY165" fmla="*/ 91440 h 4366260"/>
              <a:gd name="connsiteX166" fmla="*/ 4671858 w 7401213"/>
              <a:gd name="connsiteY166" fmla="*/ 76200 h 4366260"/>
              <a:gd name="connsiteX0" fmla="*/ 4671858 w 7401213"/>
              <a:gd name="connsiteY0" fmla="*/ 76200 h 4358884"/>
              <a:gd name="connsiteX1" fmla="*/ 4671858 w 7401213"/>
              <a:gd name="connsiteY1" fmla="*/ 76200 h 4358884"/>
              <a:gd name="connsiteX2" fmla="*/ 4664238 w 7401213"/>
              <a:gd name="connsiteY2" fmla="*/ 396240 h 4358884"/>
              <a:gd name="connsiteX3" fmla="*/ 4648998 w 7401213"/>
              <a:gd name="connsiteY3" fmla="*/ 495300 h 4358884"/>
              <a:gd name="connsiteX4" fmla="*/ 4641378 w 7401213"/>
              <a:gd name="connsiteY4" fmla="*/ 670560 h 4358884"/>
              <a:gd name="connsiteX5" fmla="*/ 4626138 w 7401213"/>
              <a:gd name="connsiteY5" fmla="*/ 807720 h 4358884"/>
              <a:gd name="connsiteX6" fmla="*/ 4648998 w 7401213"/>
              <a:gd name="connsiteY6" fmla="*/ 944880 h 4358884"/>
              <a:gd name="connsiteX7" fmla="*/ 4664238 w 7401213"/>
              <a:gd name="connsiteY7" fmla="*/ 967740 h 4358884"/>
              <a:gd name="connsiteX8" fmla="*/ 4801398 w 7401213"/>
              <a:gd name="connsiteY8" fmla="*/ 1181100 h 4358884"/>
              <a:gd name="connsiteX9" fmla="*/ 4809018 w 7401213"/>
              <a:gd name="connsiteY9" fmla="*/ 1203960 h 4358884"/>
              <a:gd name="connsiteX10" fmla="*/ 4847118 w 7401213"/>
              <a:gd name="connsiteY10" fmla="*/ 1592580 h 4358884"/>
              <a:gd name="connsiteX11" fmla="*/ 4862358 w 7401213"/>
              <a:gd name="connsiteY11" fmla="*/ 1623060 h 4358884"/>
              <a:gd name="connsiteX12" fmla="*/ 4877598 w 7401213"/>
              <a:gd name="connsiteY12" fmla="*/ 1661160 h 4358884"/>
              <a:gd name="connsiteX13" fmla="*/ 4900458 w 7401213"/>
              <a:gd name="connsiteY13" fmla="*/ 1691640 h 4358884"/>
              <a:gd name="connsiteX14" fmla="*/ 4961418 w 7401213"/>
              <a:gd name="connsiteY14" fmla="*/ 1798320 h 4358884"/>
              <a:gd name="connsiteX15" fmla="*/ 4969038 w 7401213"/>
              <a:gd name="connsiteY15" fmla="*/ 1828800 h 4358884"/>
              <a:gd name="connsiteX16" fmla="*/ 5014758 w 7401213"/>
              <a:gd name="connsiteY16" fmla="*/ 1889760 h 4358884"/>
              <a:gd name="connsiteX17" fmla="*/ 5022378 w 7401213"/>
              <a:gd name="connsiteY17" fmla="*/ 1912620 h 4358884"/>
              <a:gd name="connsiteX18" fmla="*/ 5052858 w 7401213"/>
              <a:gd name="connsiteY18" fmla="*/ 1965960 h 4358884"/>
              <a:gd name="connsiteX19" fmla="*/ 5075718 w 7401213"/>
              <a:gd name="connsiteY19" fmla="*/ 2049780 h 4358884"/>
              <a:gd name="connsiteX20" fmla="*/ 5083338 w 7401213"/>
              <a:gd name="connsiteY20" fmla="*/ 2110740 h 4358884"/>
              <a:gd name="connsiteX21" fmla="*/ 5098578 w 7401213"/>
              <a:gd name="connsiteY21" fmla="*/ 2148840 h 4358884"/>
              <a:gd name="connsiteX22" fmla="*/ 5136678 w 7401213"/>
              <a:gd name="connsiteY22" fmla="*/ 2202180 h 4358884"/>
              <a:gd name="connsiteX23" fmla="*/ 5182398 w 7401213"/>
              <a:gd name="connsiteY23" fmla="*/ 2232660 h 4358884"/>
              <a:gd name="connsiteX24" fmla="*/ 5311938 w 7401213"/>
              <a:gd name="connsiteY24" fmla="*/ 2270760 h 4358884"/>
              <a:gd name="connsiteX25" fmla="*/ 5449098 w 7401213"/>
              <a:gd name="connsiteY25" fmla="*/ 2293620 h 4358884"/>
              <a:gd name="connsiteX26" fmla="*/ 5510058 w 7401213"/>
              <a:gd name="connsiteY26" fmla="*/ 2324100 h 4358884"/>
              <a:gd name="connsiteX27" fmla="*/ 5525298 w 7401213"/>
              <a:gd name="connsiteY27" fmla="*/ 2362200 h 4358884"/>
              <a:gd name="connsiteX28" fmla="*/ 5548158 w 7401213"/>
              <a:gd name="connsiteY28" fmla="*/ 2392680 h 4358884"/>
              <a:gd name="connsiteX29" fmla="*/ 5578638 w 7401213"/>
              <a:gd name="connsiteY29" fmla="*/ 2446020 h 4358884"/>
              <a:gd name="connsiteX30" fmla="*/ 5601498 w 7401213"/>
              <a:gd name="connsiteY30" fmla="*/ 2491740 h 4358884"/>
              <a:gd name="connsiteX31" fmla="*/ 5631978 w 7401213"/>
              <a:gd name="connsiteY31" fmla="*/ 2560320 h 4358884"/>
              <a:gd name="connsiteX32" fmla="*/ 5654838 w 7401213"/>
              <a:gd name="connsiteY32" fmla="*/ 2735580 h 4358884"/>
              <a:gd name="connsiteX33" fmla="*/ 5662458 w 7401213"/>
              <a:gd name="connsiteY33" fmla="*/ 2971800 h 4358884"/>
              <a:gd name="connsiteX34" fmla="*/ 5715798 w 7401213"/>
              <a:gd name="connsiteY34" fmla="*/ 3208020 h 4358884"/>
              <a:gd name="connsiteX35" fmla="*/ 5761518 w 7401213"/>
              <a:gd name="connsiteY35" fmla="*/ 3337560 h 4358884"/>
              <a:gd name="connsiteX36" fmla="*/ 5769138 w 7401213"/>
              <a:gd name="connsiteY36" fmla="*/ 3375660 h 4358884"/>
              <a:gd name="connsiteX37" fmla="*/ 5776758 w 7401213"/>
              <a:gd name="connsiteY37" fmla="*/ 3429000 h 4358884"/>
              <a:gd name="connsiteX38" fmla="*/ 5807238 w 7401213"/>
              <a:gd name="connsiteY38" fmla="*/ 3566160 h 4358884"/>
              <a:gd name="connsiteX39" fmla="*/ 5791998 w 7401213"/>
              <a:gd name="connsiteY39" fmla="*/ 3909060 h 4358884"/>
              <a:gd name="connsiteX40" fmla="*/ 5738658 w 7401213"/>
              <a:gd name="connsiteY40" fmla="*/ 4000500 h 4358884"/>
              <a:gd name="connsiteX41" fmla="*/ 5731038 w 7401213"/>
              <a:gd name="connsiteY41" fmla="*/ 4023360 h 4358884"/>
              <a:gd name="connsiteX42" fmla="*/ 5654838 w 7401213"/>
              <a:gd name="connsiteY42" fmla="*/ 4107180 h 4358884"/>
              <a:gd name="connsiteX43" fmla="*/ 5616738 w 7401213"/>
              <a:gd name="connsiteY43" fmla="*/ 4122420 h 4358884"/>
              <a:gd name="connsiteX44" fmla="*/ 5593878 w 7401213"/>
              <a:gd name="connsiteY44" fmla="*/ 4137660 h 4358884"/>
              <a:gd name="connsiteX45" fmla="*/ 5540538 w 7401213"/>
              <a:gd name="connsiteY45" fmla="*/ 4145280 h 4358884"/>
              <a:gd name="connsiteX46" fmla="*/ 5456718 w 7401213"/>
              <a:gd name="connsiteY46" fmla="*/ 4168140 h 4358884"/>
              <a:gd name="connsiteX47" fmla="*/ 5243358 w 7401213"/>
              <a:gd name="connsiteY47" fmla="*/ 4175760 h 4358884"/>
              <a:gd name="connsiteX48" fmla="*/ 5129058 w 7401213"/>
              <a:gd name="connsiteY48" fmla="*/ 4183380 h 4358884"/>
              <a:gd name="connsiteX49" fmla="*/ 5052858 w 7401213"/>
              <a:gd name="connsiteY49" fmla="*/ 4198620 h 4358884"/>
              <a:gd name="connsiteX50" fmla="*/ 5022378 w 7401213"/>
              <a:gd name="connsiteY50" fmla="*/ 4213860 h 4358884"/>
              <a:gd name="connsiteX51" fmla="*/ 4976658 w 7401213"/>
              <a:gd name="connsiteY51" fmla="*/ 4221480 h 4358884"/>
              <a:gd name="connsiteX52" fmla="*/ 4930938 w 7401213"/>
              <a:gd name="connsiteY52" fmla="*/ 4236720 h 4358884"/>
              <a:gd name="connsiteX53" fmla="*/ 4648998 w 7401213"/>
              <a:gd name="connsiteY53" fmla="*/ 4244340 h 4358884"/>
              <a:gd name="connsiteX54" fmla="*/ 4527078 w 7401213"/>
              <a:gd name="connsiteY54" fmla="*/ 4251960 h 4358884"/>
              <a:gd name="connsiteX55" fmla="*/ 4397538 w 7401213"/>
              <a:gd name="connsiteY55" fmla="*/ 4267200 h 4358884"/>
              <a:gd name="connsiteX56" fmla="*/ 3978438 w 7401213"/>
              <a:gd name="connsiteY56" fmla="*/ 4274820 h 4358884"/>
              <a:gd name="connsiteX57" fmla="*/ 3688878 w 7401213"/>
              <a:gd name="connsiteY57" fmla="*/ 4267200 h 4358884"/>
              <a:gd name="connsiteX58" fmla="*/ 3650778 w 7401213"/>
              <a:gd name="connsiteY58" fmla="*/ 4198620 h 4358884"/>
              <a:gd name="connsiteX59" fmla="*/ 3643158 w 7401213"/>
              <a:gd name="connsiteY59" fmla="*/ 4130040 h 4358884"/>
              <a:gd name="connsiteX60" fmla="*/ 3627918 w 7401213"/>
              <a:gd name="connsiteY60" fmla="*/ 4099560 h 4358884"/>
              <a:gd name="connsiteX61" fmla="*/ 3597438 w 7401213"/>
              <a:gd name="connsiteY61" fmla="*/ 4023360 h 4358884"/>
              <a:gd name="connsiteX62" fmla="*/ 3612678 w 7401213"/>
              <a:gd name="connsiteY62" fmla="*/ 3718560 h 4358884"/>
              <a:gd name="connsiteX63" fmla="*/ 3620298 w 7401213"/>
              <a:gd name="connsiteY63" fmla="*/ 3627120 h 4358884"/>
              <a:gd name="connsiteX64" fmla="*/ 3612678 w 7401213"/>
              <a:gd name="connsiteY64" fmla="*/ 3284220 h 4358884"/>
              <a:gd name="connsiteX65" fmla="*/ 3597438 w 7401213"/>
              <a:gd name="connsiteY65" fmla="*/ 3215640 h 4358884"/>
              <a:gd name="connsiteX66" fmla="*/ 3490758 w 7401213"/>
              <a:gd name="connsiteY66" fmla="*/ 3055620 h 4358884"/>
              <a:gd name="connsiteX67" fmla="*/ 3399318 w 7401213"/>
              <a:gd name="connsiteY67" fmla="*/ 2933700 h 4358884"/>
              <a:gd name="connsiteX68" fmla="*/ 3345978 w 7401213"/>
              <a:gd name="connsiteY68" fmla="*/ 2819400 h 4358884"/>
              <a:gd name="connsiteX69" fmla="*/ 3330738 w 7401213"/>
              <a:gd name="connsiteY69" fmla="*/ 2727960 h 4358884"/>
              <a:gd name="connsiteX70" fmla="*/ 3277398 w 7401213"/>
              <a:gd name="connsiteY70" fmla="*/ 2537460 h 4358884"/>
              <a:gd name="connsiteX71" fmla="*/ 3285018 w 7401213"/>
              <a:gd name="connsiteY71" fmla="*/ 1958340 h 4358884"/>
              <a:gd name="connsiteX72" fmla="*/ 3277398 w 7401213"/>
              <a:gd name="connsiteY72" fmla="*/ 1592580 h 4358884"/>
              <a:gd name="connsiteX73" fmla="*/ 3262158 w 7401213"/>
              <a:gd name="connsiteY73" fmla="*/ 1546860 h 4358884"/>
              <a:gd name="connsiteX74" fmla="*/ 3231678 w 7401213"/>
              <a:gd name="connsiteY74" fmla="*/ 1409700 h 4358884"/>
              <a:gd name="connsiteX75" fmla="*/ 3185958 w 7401213"/>
              <a:gd name="connsiteY75" fmla="*/ 1280160 h 4358884"/>
              <a:gd name="connsiteX76" fmla="*/ 3140238 w 7401213"/>
              <a:gd name="connsiteY76" fmla="*/ 792480 h 4358884"/>
              <a:gd name="connsiteX77" fmla="*/ 3086898 w 7401213"/>
              <a:gd name="connsiteY77" fmla="*/ 655320 h 4358884"/>
              <a:gd name="connsiteX78" fmla="*/ 3064038 w 7401213"/>
              <a:gd name="connsiteY78" fmla="*/ 548640 h 4358884"/>
              <a:gd name="connsiteX79" fmla="*/ 3003078 w 7401213"/>
              <a:gd name="connsiteY79" fmla="*/ 152400 h 4358884"/>
              <a:gd name="connsiteX80" fmla="*/ 2789718 w 7401213"/>
              <a:gd name="connsiteY80" fmla="*/ 60960 h 4358884"/>
              <a:gd name="connsiteX81" fmla="*/ 2644938 w 7401213"/>
              <a:gd name="connsiteY81" fmla="*/ 30480 h 4358884"/>
              <a:gd name="connsiteX82" fmla="*/ 2583978 w 7401213"/>
              <a:gd name="connsiteY82" fmla="*/ 38100 h 4358884"/>
              <a:gd name="connsiteX83" fmla="*/ 2538258 w 7401213"/>
              <a:gd name="connsiteY83" fmla="*/ 68580 h 4358884"/>
              <a:gd name="connsiteX84" fmla="*/ 2462058 w 7401213"/>
              <a:gd name="connsiteY84" fmla="*/ 91440 h 4358884"/>
              <a:gd name="connsiteX85" fmla="*/ 2142018 w 7401213"/>
              <a:gd name="connsiteY85" fmla="*/ 53340 h 4358884"/>
              <a:gd name="connsiteX86" fmla="*/ 1646718 w 7401213"/>
              <a:gd name="connsiteY86" fmla="*/ 45720 h 4358884"/>
              <a:gd name="connsiteX87" fmla="*/ 1585758 w 7401213"/>
              <a:gd name="connsiteY87" fmla="*/ 38100 h 4358884"/>
              <a:gd name="connsiteX88" fmla="*/ 1410498 w 7401213"/>
              <a:gd name="connsiteY88" fmla="*/ 22860 h 4358884"/>
              <a:gd name="connsiteX89" fmla="*/ 1311438 w 7401213"/>
              <a:gd name="connsiteY89" fmla="*/ 0 h 4358884"/>
              <a:gd name="connsiteX90" fmla="*/ 1098078 w 7401213"/>
              <a:gd name="connsiteY90" fmla="*/ 15240 h 4358884"/>
              <a:gd name="connsiteX91" fmla="*/ 1052358 w 7401213"/>
              <a:gd name="connsiteY91" fmla="*/ 30480 h 4358884"/>
              <a:gd name="connsiteX92" fmla="*/ 968538 w 7401213"/>
              <a:gd name="connsiteY92" fmla="*/ 60960 h 4358884"/>
              <a:gd name="connsiteX93" fmla="*/ 899958 w 7401213"/>
              <a:gd name="connsiteY93" fmla="*/ 76200 h 4358884"/>
              <a:gd name="connsiteX94" fmla="*/ 762798 w 7401213"/>
              <a:gd name="connsiteY94" fmla="*/ 106680 h 4358884"/>
              <a:gd name="connsiteX95" fmla="*/ 709458 w 7401213"/>
              <a:gd name="connsiteY95" fmla="*/ 121920 h 4358884"/>
              <a:gd name="connsiteX96" fmla="*/ 648498 w 7401213"/>
              <a:gd name="connsiteY96" fmla="*/ 137160 h 4358884"/>
              <a:gd name="connsiteX97" fmla="*/ 602778 w 7401213"/>
              <a:gd name="connsiteY97" fmla="*/ 152400 h 4358884"/>
              <a:gd name="connsiteX98" fmla="*/ 503718 w 7401213"/>
              <a:gd name="connsiteY98" fmla="*/ 205740 h 4358884"/>
              <a:gd name="connsiteX99" fmla="*/ 473238 w 7401213"/>
              <a:gd name="connsiteY99" fmla="*/ 236220 h 4358884"/>
              <a:gd name="connsiteX100" fmla="*/ 244638 w 7401213"/>
              <a:gd name="connsiteY100" fmla="*/ 411480 h 4358884"/>
              <a:gd name="connsiteX101" fmla="*/ 115098 w 7401213"/>
              <a:gd name="connsiteY101" fmla="*/ 662940 h 4358884"/>
              <a:gd name="connsiteX102" fmla="*/ 8418 w 7401213"/>
              <a:gd name="connsiteY102" fmla="*/ 1028700 h 4358884"/>
              <a:gd name="connsiteX103" fmla="*/ 798 w 7401213"/>
              <a:gd name="connsiteY103" fmla="*/ 1188720 h 4358884"/>
              <a:gd name="connsiteX104" fmla="*/ 107478 w 7401213"/>
              <a:gd name="connsiteY104" fmla="*/ 1866900 h 4358884"/>
              <a:gd name="connsiteX105" fmla="*/ 358938 w 7401213"/>
              <a:gd name="connsiteY105" fmla="*/ 2506980 h 4358884"/>
              <a:gd name="connsiteX106" fmla="*/ 587538 w 7401213"/>
              <a:gd name="connsiteY106" fmla="*/ 3078480 h 4358884"/>
              <a:gd name="connsiteX107" fmla="*/ 755178 w 7401213"/>
              <a:gd name="connsiteY107" fmla="*/ 3436620 h 4358884"/>
              <a:gd name="connsiteX108" fmla="*/ 877098 w 7401213"/>
              <a:gd name="connsiteY108" fmla="*/ 3657600 h 4358884"/>
              <a:gd name="connsiteX109" fmla="*/ 976158 w 7401213"/>
              <a:gd name="connsiteY109" fmla="*/ 3764280 h 4358884"/>
              <a:gd name="connsiteX110" fmla="*/ 1235238 w 7401213"/>
              <a:gd name="connsiteY110" fmla="*/ 3939540 h 4358884"/>
              <a:gd name="connsiteX111" fmla="*/ 1494318 w 7401213"/>
              <a:gd name="connsiteY111" fmla="*/ 3985260 h 4358884"/>
              <a:gd name="connsiteX112" fmla="*/ 1745778 w 7401213"/>
              <a:gd name="connsiteY112" fmla="*/ 4000500 h 4358884"/>
              <a:gd name="connsiteX113" fmla="*/ 1966758 w 7401213"/>
              <a:gd name="connsiteY113" fmla="*/ 4114800 h 4358884"/>
              <a:gd name="connsiteX114" fmla="*/ 2081058 w 7401213"/>
              <a:gd name="connsiteY114" fmla="*/ 4175760 h 4358884"/>
              <a:gd name="connsiteX115" fmla="*/ 2134398 w 7401213"/>
              <a:gd name="connsiteY115" fmla="*/ 4183380 h 4358884"/>
              <a:gd name="connsiteX116" fmla="*/ 2576358 w 7401213"/>
              <a:gd name="connsiteY116" fmla="*/ 4160520 h 4358884"/>
              <a:gd name="connsiteX117" fmla="*/ 3170718 w 7401213"/>
              <a:gd name="connsiteY117" fmla="*/ 4183380 h 4358884"/>
              <a:gd name="connsiteX118" fmla="*/ 3285018 w 7401213"/>
              <a:gd name="connsiteY118" fmla="*/ 4206240 h 4358884"/>
              <a:gd name="connsiteX119" fmla="*/ 3376458 w 7401213"/>
              <a:gd name="connsiteY119" fmla="*/ 4236720 h 4358884"/>
              <a:gd name="connsiteX120" fmla="*/ 3452658 w 7401213"/>
              <a:gd name="connsiteY120" fmla="*/ 4251960 h 4358884"/>
              <a:gd name="connsiteX121" fmla="*/ 3490758 w 7401213"/>
              <a:gd name="connsiteY121" fmla="*/ 4267200 h 4358884"/>
              <a:gd name="connsiteX122" fmla="*/ 3605058 w 7401213"/>
              <a:gd name="connsiteY122" fmla="*/ 4274820 h 4358884"/>
              <a:gd name="connsiteX123" fmla="*/ 3643158 w 7401213"/>
              <a:gd name="connsiteY123" fmla="*/ 4282440 h 4358884"/>
              <a:gd name="connsiteX124" fmla="*/ 3909858 w 7401213"/>
              <a:gd name="connsiteY124" fmla="*/ 4313873 h 4358884"/>
              <a:gd name="connsiteX125" fmla="*/ 3986058 w 7401213"/>
              <a:gd name="connsiteY125" fmla="*/ 4358640 h 4358884"/>
              <a:gd name="connsiteX126" fmla="*/ 4039398 w 7401213"/>
              <a:gd name="connsiteY126" fmla="*/ 4328160 h 4358884"/>
              <a:gd name="connsiteX127" fmla="*/ 4085118 w 7401213"/>
              <a:gd name="connsiteY127" fmla="*/ 4312920 h 4358884"/>
              <a:gd name="connsiteX128" fmla="*/ 4138458 w 7401213"/>
              <a:gd name="connsiteY128" fmla="*/ 4274820 h 4358884"/>
              <a:gd name="connsiteX129" fmla="*/ 4168938 w 7401213"/>
              <a:gd name="connsiteY129" fmla="*/ 4267200 h 4358884"/>
              <a:gd name="connsiteX130" fmla="*/ 4328958 w 7401213"/>
              <a:gd name="connsiteY130" fmla="*/ 4259580 h 4358884"/>
              <a:gd name="connsiteX131" fmla="*/ 4877598 w 7401213"/>
              <a:gd name="connsiteY131" fmla="*/ 4244340 h 4358884"/>
              <a:gd name="connsiteX132" fmla="*/ 4930938 w 7401213"/>
              <a:gd name="connsiteY132" fmla="*/ 4236720 h 4358884"/>
              <a:gd name="connsiteX133" fmla="*/ 4953798 w 7401213"/>
              <a:gd name="connsiteY133" fmla="*/ 4229100 h 4358884"/>
              <a:gd name="connsiteX134" fmla="*/ 5014758 w 7401213"/>
              <a:gd name="connsiteY134" fmla="*/ 4206240 h 4358884"/>
              <a:gd name="connsiteX135" fmla="*/ 5190018 w 7401213"/>
              <a:gd name="connsiteY135" fmla="*/ 4145280 h 4358884"/>
              <a:gd name="connsiteX136" fmla="*/ 5593878 w 7401213"/>
              <a:gd name="connsiteY136" fmla="*/ 4122420 h 4358884"/>
              <a:gd name="connsiteX137" fmla="*/ 5631978 w 7401213"/>
              <a:gd name="connsiteY137" fmla="*/ 4107180 h 4358884"/>
              <a:gd name="connsiteX138" fmla="*/ 5654838 w 7401213"/>
              <a:gd name="connsiteY138" fmla="*/ 4091940 h 4358884"/>
              <a:gd name="connsiteX139" fmla="*/ 5952018 w 7401213"/>
              <a:gd name="connsiteY139" fmla="*/ 3985260 h 4358884"/>
              <a:gd name="connsiteX140" fmla="*/ 6355878 w 7401213"/>
              <a:gd name="connsiteY140" fmla="*/ 3840480 h 4358884"/>
              <a:gd name="connsiteX141" fmla="*/ 6889278 w 7401213"/>
              <a:gd name="connsiteY141" fmla="*/ 3474720 h 4358884"/>
              <a:gd name="connsiteX142" fmla="*/ 7125498 w 7401213"/>
              <a:gd name="connsiteY142" fmla="*/ 3230880 h 4358884"/>
              <a:gd name="connsiteX143" fmla="*/ 7399818 w 7401213"/>
              <a:gd name="connsiteY143" fmla="*/ 2438400 h 4358884"/>
              <a:gd name="connsiteX144" fmla="*/ 7361718 w 7401213"/>
              <a:gd name="connsiteY144" fmla="*/ 1790700 h 4358884"/>
              <a:gd name="connsiteX145" fmla="*/ 7247418 w 7401213"/>
              <a:gd name="connsiteY145" fmla="*/ 1249680 h 4358884"/>
              <a:gd name="connsiteX146" fmla="*/ 7178838 w 7401213"/>
              <a:gd name="connsiteY146" fmla="*/ 899160 h 4358884"/>
              <a:gd name="connsiteX147" fmla="*/ 7163598 w 7401213"/>
              <a:gd name="connsiteY147" fmla="*/ 701040 h 4358884"/>
              <a:gd name="connsiteX148" fmla="*/ 7148358 w 7401213"/>
              <a:gd name="connsiteY148" fmla="*/ 396240 h 4358884"/>
              <a:gd name="connsiteX149" fmla="*/ 7072158 w 7401213"/>
              <a:gd name="connsiteY149" fmla="*/ 205740 h 4358884"/>
              <a:gd name="connsiteX150" fmla="*/ 7018818 w 7401213"/>
              <a:gd name="connsiteY150" fmla="*/ 99060 h 4358884"/>
              <a:gd name="connsiteX151" fmla="*/ 6767358 w 7401213"/>
              <a:gd name="connsiteY151" fmla="*/ 22860 h 4358884"/>
              <a:gd name="connsiteX152" fmla="*/ 6614958 w 7401213"/>
              <a:gd name="connsiteY152" fmla="*/ 45720 h 4358884"/>
              <a:gd name="connsiteX153" fmla="*/ 6592098 w 7401213"/>
              <a:gd name="connsiteY153" fmla="*/ 68580 h 4358884"/>
              <a:gd name="connsiteX154" fmla="*/ 6546378 w 7401213"/>
              <a:gd name="connsiteY154" fmla="*/ 83820 h 4358884"/>
              <a:gd name="connsiteX155" fmla="*/ 6447318 w 7401213"/>
              <a:gd name="connsiteY155" fmla="*/ 76200 h 4358884"/>
              <a:gd name="connsiteX156" fmla="*/ 6371118 w 7401213"/>
              <a:gd name="connsiteY156" fmla="*/ 68580 h 4358884"/>
              <a:gd name="connsiteX157" fmla="*/ 5921538 w 7401213"/>
              <a:gd name="connsiteY157" fmla="*/ 60960 h 4358884"/>
              <a:gd name="connsiteX158" fmla="*/ 5311938 w 7401213"/>
              <a:gd name="connsiteY158" fmla="*/ 38100 h 4358884"/>
              <a:gd name="connsiteX159" fmla="*/ 5266218 w 7401213"/>
              <a:gd name="connsiteY159" fmla="*/ 30480 h 4358884"/>
              <a:gd name="connsiteX160" fmla="*/ 5151918 w 7401213"/>
              <a:gd name="connsiteY160" fmla="*/ 22860 h 4358884"/>
              <a:gd name="connsiteX161" fmla="*/ 4847118 w 7401213"/>
              <a:gd name="connsiteY161" fmla="*/ 30480 h 4358884"/>
              <a:gd name="connsiteX162" fmla="*/ 4793778 w 7401213"/>
              <a:gd name="connsiteY162" fmla="*/ 38100 h 4358884"/>
              <a:gd name="connsiteX163" fmla="*/ 4732818 w 7401213"/>
              <a:gd name="connsiteY163" fmla="*/ 53340 h 4358884"/>
              <a:gd name="connsiteX164" fmla="*/ 4687098 w 7401213"/>
              <a:gd name="connsiteY164" fmla="*/ 76200 h 4358884"/>
              <a:gd name="connsiteX165" fmla="*/ 4664238 w 7401213"/>
              <a:gd name="connsiteY165" fmla="*/ 91440 h 4358884"/>
              <a:gd name="connsiteX166" fmla="*/ 4671858 w 7401213"/>
              <a:gd name="connsiteY166" fmla="*/ 76200 h 4358884"/>
              <a:gd name="connsiteX0" fmla="*/ 4671858 w 7401213"/>
              <a:gd name="connsiteY0" fmla="*/ 76200 h 4359049"/>
              <a:gd name="connsiteX1" fmla="*/ 4671858 w 7401213"/>
              <a:gd name="connsiteY1" fmla="*/ 76200 h 4359049"/>
              <a:gd name="connsiteX2" fmla="*/ 4664238 w 7401213"/>
              <a:gd name="connsiteY2" fmla="*/ 396240 h 4359049"/>
              <a:gd name="connsiteX3" fmla="*/ 4648998 w 7401213"/>
              <a:gd name="connsiteY3" fmla="*/ 495300 h 4359049"/>
              <a:gd name="connsiteX4" fmla="*/ 4641378 w 7401213"/>
              <a:gd name="connsiteY4" fmla="*/ 670560 h 4359049"/>
              <a:gd name="connsiteX5" fmla="*/ 4626138 w 7401213"/>
              <a:gd name="connsiteY5" fmla="*/ 807720 h 4359049"/>
              <a:gd name="connsiteX6" fmla="*/ 4648998 w 7401213"/>
              <a:gd name="connsiteY6" fmla="*/ 944880 h 4359049"/>
              <a:gd name="connsiteX7" fmla="*/ 4664238 w 7401213"/>
              <a:gd name="connsiteY7" fmla="*/ 967740 h 4359049"/>
              <a:gd name="connsiteX8" fmla="*/ 4801398 w 7401213"/>
              <a:gd name="connsiteY8" fmla="*/ 1181100 h 4359049"/>
              <a:gd name="connsiteX9" fmla="*/ 4809018 w 7401213"/>
              <a:gd name="connsiteY9" fmla="*/ 1203960 h 4359049"/>
              <a:gd name="connsiteX10" fmla="*/ 4847118 w 7401213"/>
              <a:gd name="connsiteY10" fmla="*/ 1592580 h 4359049"/>
              <a:gd name="connsiteX11" fmla="*/ 4862358 w 7401213"/>
              <a:gd name="connsiteY11" fmla="*/ 1623060 h 4359049"/>
              <a:gd name="connsiteX12" fmla="*/ 4877598 w 7401213"/>
              <a:gd name="connsiteY12" fmla="*/ 1661160 h 4359049"/>
              <a:gd name="connsiteX13" fmla="*/ 4900458 w 7401213"/>
              <a:gd name="connsiteY13" fmla="*/ 1691640 h 4359049"/>
              <a:gd name="connsiteX14" fmla="*/ 4961418 w 7401213"/>
              <a:gd name="connsiteY14" fmla="*/ 1798320 h 4359049"/>
              <a:gd name="connsiteX15" fmla="*/ 4969038 w 7401213"/>
              <a:gd name="connsiteY15" fmla="*/ 1828800 h 4359049"/>
              <a:gd name="connsiteX16" fmla="*/ 5014758 w 7401213"/>
              <a:gd name="connsiteY16" fmla="*/ 1889760 h 4359049"/>
              <a:gd name="connsiteX17" fmla="*/ 5022378 w 7401213"/>
              <a:gd name="connsiteY17" fmla="*/ 1912620 h 4359049"/>
              <a:gd name="connsiteX18" fmla="*/ 5052858 w 7401213"/>
              <a:gd name="connsiteY18" fmla="*/ 1965960 h 4359049"/>
              <a:gd name="connsiteX19" fmla="*/ 5075718 w 7401213"/>
              <a:gd name="connsiteY19" fmla="*/ 2049780 h 4359049"/>
              <a:gd name="connsiteX20" fmla="*/ 5083338 w 7401213"/>
              <a:gd name="connsiteY20" fmla="*/ 2110740 h 4359049"/>
              <a:gd name="connsiteX21" fmla="*/ 5098578 w 7401213"/>
              <a:gd name="connsiteY21" fmla="*/ 2148840 h 4359049"/>
              <a:gd name="connsiteX22" fmla="*/ 5136678 w 7401213"/>
              <a:gd name="connsiteY22" fmla="*/ 2202180 h 4359049"/>
              <a:gd name="connsiteX23" fmla="*/ 5182398 w 7401213"/>
              <a:gd name="connsiteY23" fmla="*/ 2232660 h 4359049"/>
              <a:gd name="connsiteX24" fmla="*/ 5311938 w 7401213"/>
              <a:gd name="connsiteY24" fmla="*/ 2270760 h 4359049"/>
              <a:gd name="connsiteX25" fmla="*/ 5449098 w 7401213"/>
              <a:gd name="connsiteY25" fmla="*/ 2293620 h 4359049"/>
              <a:gd name="connsiteX26" fmla="*/ 5510058 w 7401213"/>
              <a:gd name="connsiteY26" fmla="*/ 2324100 h 4359049"/>
              <a:gd name="connsiteX27" fmla="*/ 5525298 w 7401213"/>
              <a:gd name="connsiteY27" fmla="*/ 2362200 h 4359049"/>
              <a:gd name="connsiteX28" fmla="*/ 5548158 w 7401213"/>
              <a:gd name="connsiteY28" fmla="*/ 2392680 h 4359049"/>
              <a:gd name="connsiteX29" fmla="*/ 5578638 w 7401213"/>
              <a:gd name="connsiteY29" fmla="*/ 2446020 h 4359049"/>
              <a:gd name="connsiteX30" fmla="*/ 5601498 w 7401213"/>
              <a:gd name="connsiteY30" fmla="*/ 2491740 h 4359049"/>
              <a:gd name="connsiteX31" fmla="*/ 5631978 w 7401213"/>
              <a:gd name="connsiteY31" fmla="*/ 2560320 h 4359049"/>
              <a:gd name="connsiteX32" fmla="*/ 5654838 w 7401213"/>
              <a:gd name="connsiteY32" fmla="*/ 2735580 h 4359049"/>
              <a:gd name="connsiteX33" fmla="*/ 5662458 w 7401213"/>
              <a:gd name="connsiteY33" fmla="*/ 2971800 h 4359049"/>
              <a:gd name="connsiteX34" fmla="*/ 5715798 w 7401213"/>
              <a:gd name="connsiteY34" fmla="*/ 3208020 h 4359049"/>
              <a:gd name="connsiteX35" fmla="*/ 5761518 w 7401213"/>
              <a:gd name="connsiteY35" fmla="*/ 3337560 h 4359049"/>
              <a:gd name="connsiteX36" fmla="*/ 5769138 w 7401213"/>
              <a:gd name="connsiteY36" fmla="*/ 3375660 h 4359049"/>
              <a:gd name="connsiteX37" fmla="*/ 5776758 w 7401213"/>
              <a:gd name="connsiteY37" fmla="*/ 3429000 h 4359049"/>
              <a:gd name="connsiteX38" fmla="*/ 5807238 w 7401213"/>
              <a:gd name="connsiteY38" fmla="*/ 3566160 h 4359049"/>
              <a:gd name="connsiteX39" fmla="*/ 5791998 w 7401213"/>
              <a:gd name="connsiteY39" fmla="*/ 3909060 h 4359049"/>
              <a:gd name="connsiteX40" fmla="*/ 5738658 w 7401213"/>
              <a:gd name="connsiteY40" fmla="*/ 4000500 h 4359049"/>
              <a:gd name="connsiteX41" fmla="*/ 5731038 w 7401213"/>
              <a:gd name="connsiteY41" fmla="*/ 4023360 h 4359049"/>
              <a:gd name="connsiteX42" fmla="*/ 5654838 w 7401213"/>
              <a:gd name="connsiteY42" fmla="*/ 4107180 h 4359049"/>
              <a:gd name="connsiteX43" fmla="*/ 5616738 w 7401213"/>
              <a:gd name="connsiteY43" fmla="*/ 4122420 h 4359049"/>
              <a:gd name="connsiteX44" fmla="*/ 5593878 w 7401213"/>
              <a:gd name="connsiteY44" fmla="*/ 4137660 h 4359049"/>
              <a:gd name="connsiteX45" fmla="*/ 5540538 w 7401213"/>
              <a:gd name="connsiteY45" fmla="*/ 4145280 h 4359049"/>
              <a:gd name="connsiteX46" fmla="*/ 5456718 w 7401213"/>
              <a:gd name="connsiteY46" fmla="*/ 4168140 h 4359049"/>
              <a:gd name="connsiteX47" fmla="*/ 5243358 w 7401213"/>
              <a:gd name="connsiteY47" fmla="*/ 4175760 h 4359049"/>
              <a:gd name="connsiteX48" fmla="*/ 5129058 w 7401213"/>
              <a:gd name="connsiteY48" fmla="*/ 4183380 h 4359049"/>
              <a:gd name="connsiteX49" fmla="*/ 5052858 w 7401213"/>
              <a:gd name="connsiteY49" fmla="*/ 4198620 h 4359049"/>
              <a:gd name="connsiteX50" fmla="*/ 5022378 w 7401213"/>
              <a:gd name="connsiteY50" fmla="*/ 4213860 h 4359049"/>
              <a:gd name="connsiteX51" fmla="*/ 4976658 w 7401213"/>
              <a:gd name="connsiteY51" fmla="*/ 4221480 h 4359049"/>
              <a:gd name="connsiteX52" fmla="*/ 4930938 w 7401213"/>
              <a:gd name="connsiteY52" fmla="*/ 4236720 h 4359049"/>
              <a:gd name="connsiteX53" fmla="*/ 4648998 w 7401213"/>
              <a:gd name="connsiteY53" fmla="*/ 4244340 h 4359049"/>
              <a:gd name="connsiteX54" fmla="*/ 4527078 w 7401213"/>
              <a:gd name="connsiteY54" fmla="*/ 4251960 h 4359049"/>
              <a:gd name="connsiteX55" fmla="*/ 4397538 w 7401213"/>
              <a:gd name="connsiteY55" fmla="*/ 4267200 h 4359049"/>
              <a:gd name="connsiteX56" fmla="*/ 3978438 w 7401213"/>
              <a:gd name="connsiteY56" fmla="*/ 4274820 h 4359049"/>
              <a:gd name="connsiteX57" fmla="*/ 3688878 w 7401213"/>
              <a:gd name="connsiteY57" fmla="*/ 4267200 h 4359049"/>
              <a:gd name="connsiteX58" fmla="*/ 3650778 w 7401213"/>
              <a:gd name="connsiteY58" fmla="*/ 4198620 h 4359049"/>
              <a:gd name="connsiteX59" fmla="*/ 3643158 w 7401213"/>
              <a:gd name="connsiteY59" fmla="*/ 4130040 h 4359049"/>
              <a:gd name="connsiteX60" fmla="*/ 3627918 w 7401213"/>
              <a:gd name="connsiteY60" fmla="*/ 4099560 h 4359049"/>
              <a:gd name="connsiteX61" fmla="*/ 3597438 w 7401213"/>
              <a:gd name="connsiteY61" fmla="*/ 4023360 h 4359049"/>
              <a:gd name="connsiteX62" fmla="*/ 3612678 w 7401213"/>
              <a:gd name="connsiteY62" fmla="*/ 3718560 h 4359049"/>
              <a:gd name="connsiteX63" fmla="*/ 3620298 w 7401213"/>
              <a:gd name="connsiteY63" fmla="*/ 3627120 h 4359049"/>
              <a:gd name="connsiteX64" fmla="*/ 3612678 w 7401213"/>
              <a:gd name="connsiteY64" fmla="*/ 3284220 h 4359049"/>
              <a:gd name="connsiteX65" fmla="*/ 3597438 w 7401213"/>
              <a:gd name="connsiteY65" fmla="*/ 3215640 h 4359049"/>
              <a:gd name="connsiteX66" fmla="*/ 3490758 w 7401213"/>
              <a:gd name="connsiteY66" fmla="*/ 3055620 h 4359049"/>
              <a:gd name="connsiteX67" fmla="*/ 3399318 w 7401213"/>
              <a:gd name="connsiteY67" fmla="*/ 2933700 h 4359049"/>
              <a:gd name="connsiteX68" fmla="*/ 3345978 w 7401213"/>
              <a:gd name="connsiteY68" fmla="*/ 2819400 h 4359049"/>
              <a:gd name="connsiteX69" fmla="*/ 3330738 w 7401213"/>
              <a:gd name="connsiteY69" fmla="*/ 2727960 h 4359049"/>
              <a:gd name="connsiteX70" fmla="*/ 3277398 w 7401213"/>
              <a:gd name="connsiteY70" fmla="*/ 2537460 h 4359049"/>
              <a:gd name="connsiteX71" fmla="*/ 3285018 w 7401213"/>
              <a:gd name="connsiteY71" fmla="*/ 1958340 h 4359049"/>
              <a:gd name="connsiteX72" fmla="*/ 3277398 w 7401213"/>
              <a:gd name="connsiteY72" fmla="*/ 1592580 h 4359049"/>
              <a:gd name="connsiteX73" fmla="*/ 3262158 w 7401213"/>
              <a:gd name="connsiteY73" fmla="*/ 1546860 h 4359049"/>
              <a:gd name="connsiteX74" fmla="*/ 3231678 w 7401213"/>
              <a:gd name="connsiteY74" fmla="*/ 1409700 h 4359049"/>
              <a:gd name="connsiteX75" fmla="*/ 3185958 w 7401213"/>
              <a:gd name="connsiteY75" fmla="*/ 1280160 h 4359049"/>
              <a:gd name="connsiteX76" fmla="*/ 3140238 w 7401213"/>
              <a:gd name="connsiteY76" fmla="*/ 792480 h 4359049"/>
              <a:gd name="connsiteX77" fmla="*/ 3086898 w 7401213"/>
              <a:gd name="connsiteY77" fmla="*/ 655320 h 4359049"/>
              <a:gd name="connsiteX78" fmla="*/ 3064038 w 7401213"/>
              <a:gd name="connsiteY78" fmla="*/ 548640 h 4359049"/>
              <a:gd name="connsiteX79" fmla="*/ 3003078 w 7401213"/>
              <a:gd name="connsiteY79" fmla="*/ 152400 h 4359049"/>
              <a:gd name="connsiteX80" fmla="*/ 2789718 w 7401213"/>
              <a:gd name="connsiteY80" fmla="*/ 60960 h 4359049"/>
              <a:gd name="connsiteX81" fmla="*/ 2644938 w 7401213"/>
              <a:gd name="connsiteY81" fmla="*/ 30480 h 4359049"/>
              <a:gd name="connsiteX82" fmla="*/ 2583978 w 7401213"/>
              <a:gd name="connsiteY82" fmla="*/ 38100 h 4359049"/>
              <a:gd name="connsiteX83" fmla="*/ 2538258 w 7401213"/>
              <a:gd name="connsiteY83" fmla="*/ 68580 h 4359049"/>
              <a:gd name="connsiteX84" fmla="*/ 2462058 w 7401213"/>
              <a:gd name="connsiteY84" fmla="*/ 91440 h 4359049"/>
              <a:gd name="connsiteX85" fmla="*/ 2142018 w 7401213"/>
              <a:gd name="connsiteY85" fmla="*/ 53340 h 4359049"/>
              <a:gd name="connsiteX86" fmla="*/ 1646718 w 7401213"/>
              <a:gd name="connsiteY86" fmla="*/ 45720 h 4359049"/>
              <a:gd name="connsiteX87" fmla="*/ 1585758 w 7401213"/>
              <a:gd name="connsiteY87" fmla="*/ 38100 h 4359049"/>
              <a:gd name="connsiteX88" fmla="*/ 1410498 w 7401213"/>
              <a:gd name="connsiteY88" fmla="*/ 22860 h 4359049"/>
              <a:gd name="connsiteX89" fmla="*/ 1311438 w 7401213"/>
              <a:gd name="connsiteY89" fmla="*/ 0 h 4359049"/>
              <a:gd name="connsiteX90" fmla="*/ 1098078 w 7401213"/>
              <a:gd name="connsiteY90" fmla="*/ 15240 h 4359049"/>
              <a:gd name="connsiteX91" fmla="*/ 1052358 w 7401213"/>
              <a:gd name="connsiteY91" fmla="*/ 30480 h 4359049"/>
              <a:gd name="connsiteX92" fmla="*/ 968538 w 7401213"/>
              <a:gd name="connsiteY92" fmla="*/ 60960 h 4359049"/>
              <a:gd name="connsiteX93" fmla="*/ 899958 w 7401213"/>
              <a:gd name="connsiteY93" fmla="*/ 76200 h 4359049"/>
              <a:gd name="connsiteX94" fmla="*/ 762798 w 7401213"/>
              <a:gd name="connsiteY94" fmla="*/ 106680 h 4359049"/>
              <a:gd name="connsiteX95" fmla="*/ 709458 w 7401213"/>
              <a:gd name="connsiteY95" fmla="*/ 121920 h 4359049"/>
              <a:gd name="connsiteX96" fmla="*/ 648498 w 7401213"/>
              <a:gd name="connsiteY96" fmla="*/ 137160 h 4359049"/>
              <a:gd name="connsiteX97" fmla="*/ 602778 w 7401213"/>
              <a:gd name="connsiteY97" fmla="*/ 152400 h 4359049"/>
              <a:gd name="connsiteX98" fmla="*/ 503718 w 7401213"/>
              <a:gd name="connsiteY98" fmla="*/ 205740 h 4359049"/>
              <a:gd name="connsiteX99" fmla="*/ 473238 w 7401213"/>
              <a:gd name="connsiteY99" fmla="*/ 236220 h 4359049"/>
              <a:gd name="connsiteX100" fmla="*/ 244638 w 7401213"/>
              <a:gd name="connsiteY100" fmla="*/ 411480 h 4359049"/>
              <a:gd name="connsiteX101" fmla="*/ 115098 w 7401213"/>
              <a:gd name="connsiteY101" fmla="*/ 662940 h 4359049"/>
              <a:gd name="connsiteX102" fmla="*/ 8418 w 7401213"/>
              <a:gd name="connsiteY102" fmla="*/ 1028700 h 4359049"/>
              <a:gd name="connsiteX103" fmla="*/ 798 w 7401213"/>
              <a:gd name="connsiteY103" fmla="*/ 1188720 h 4359049"/>
              <a:gd name="connsiteX104" fmla="*/ 107478 w 7401213"/>
              <a:gd name="connsiteY104" fmla="*/ 1866900 h 4359049"/>
              <a:gd name="connsiteX105" fmla="*/ 358938 w 7401213"/>
              <a:gd name="connsiteY105" fmla="*/ 2506980 h 4359049"/>
              <a:gd name="connsiteX106" fmla="*/ 587538 w 7401213"/>
              <a:gd name="connsiteY106" fmla="*/ 3078480 h 4359049"/>
              <a:gd name="connsiteX107" fmla="*/ 755178 w 7401213"/>
              <a:gd name="connsiteY107" fmla="*/ 3436620 h 4359049"/>
              <a:gd name="connsiteX108" fmla="*/ 877098 w 7401213"/>
              <a:gd name="connsiteY108" fmla="*/ 3657600 h 4359049"/>
              <a:gd name="connsiteX109" fmla="*/ 976158 w 7401213"/>
              <a:gd name="connsiteY109" fmla="*/ 3764280 h 4359049"/>
              <a:gd name="connsiteX110" fmla="*/ 1235238 w 7401213"/>
              <a:gd name="connsiteY110" fmla="*/ 3939540 h 4359049"/>
              <a:gd name="connsiteX111" fmla="*/ 1494318 w 7401213"/>
              <a:gd name="connsiteY111" fmla="*/ 3985260 h 4359049"/>
              <a:gd name="connsiteX112" fmla="*/ 1745778 w 7401213"/>
              <a:gd name="connsiteY112" fmla="*/ 4000500 h 4359049"/>
              <a:gd name="connsiteX113" fmla="*/ 1966758 w 7401213"/>
              <a:gd name="connsiteY113" fmla="*/ 4114800 h 4359049"/>
              <a:gd name="connsiteX114" fmla="*/ 2081058 w 7401213"/>
              <a:gd name="connsiteY114" fmla="*/ 4175760 h 4359049"/>
              <a:gd name="connsiteX115" fmla="*/ 2134398 w 7401213"/>
              <a:gd name="connsiteY115" fmla="*/ 4183380 h 4359049"/>
              <a:gd name="connsiteX116" fmla="*/ 2576358 w 7401213"/>
              <a:gd name="connsiteY116" fmla="*/ 4160520 h 4359049"/>
              <a:gd name="connsiteX117" fmla="*/ 3170718 w 7401213"/>
              <a:gd name="connsiteY117" fmla="*/ 4183380 h 4359049"/>
              <a:gd name="connsiteX118" fmla="*/ 3285018 w 7401213"/>
              <a:gd name="connsiteY118" fmla="*/ 4206240 h 4359049"/>
              <a:gd name="connsiteX119" fmla="*/ 3376458 w 7401213"/>
              <a:gd name="connsiteY119" fmla="*/ 4236720 h 4359049"/>
              <a:gd name="connsiteX120" fmla="*/ 3452658 w 7401213"/>
              <a:gd name="connsiteY120" fmla="*/ 4251960 h 4359049"/>
              <a:gd name="connsiteX121" fmla="*/ 3490758 w 7401213"/>
              <a:gd name="connsiteY121" fmla="*/ 4267200 h 4359049"/>
              <a:gd name="connsiteX122" fmla="*/ 3605058 w 7401213"/>
              <a:gd name="connsiteY122" fmla="*/ 4274820 h 4359049"/>
              <a:gd name="connsiteX123" fmla="*/ 3643158 w 7401213"/>
              <a:gd name="connsiteY123" fmla="*/ 4282440 h 4359049"/>
              <a:gd name="connsiteX124" fmla="*/ 3909858 w 7401213"/>
              <a:gd name="connsiteY124" fmla="*/ 4313873 h 4359049"/>
              <a:gd name="connsiteX125" fmla="*/ 3986058 w 7401213"/>
              <a:gd name="connsiteY125" fmla="*/ 4358640 h 4359049"/>
              <a:gd name="connsiteX126" fmla="*/ 4039398 w 7401213"/>
              <a:gd name="connsiteY126" fmla="*/ 4280535 h 4359049"/>
              <a:gd name="connsiteX127" fmla="*/ 4085118 w 7401213"/>
              <a:gd name="connsiteY127" fmla="*/ 4312920 h 4359049"/>
              <a:gd name="connsiteX128" fmla="*/ 4138458 w 7401213"/>
              <a:gd name="connsiteY128" fmla="*/ 4274820 h 4359049"/>
              <a:gd name="connsiteX129" fmla="*/ 4168938 w 7401213"/>
              <a:gd name="connsiteY129" fmla="*/ 4267200 h 4359049"/>
              <a:gd name="connsiteX130" fmla="*/ 4328958 w 7401213"/>
              <a:gd name="connsiteY130" fmla="*/ 4259580 h 4359049"/>
              <a:gd name="connsiteX131" fmla="*/ 4877598 w 7401213"/>
              <a:gd name="connsiteY131" fmla="*/ 4244340 h 4359049"/>
              <a:gd name="connsiteX132" fmla="*/ 4930938 w 7401213"/>
              <a:gd name="connsiteY132" fmla="*/ 4236720 h 4359049"/>
              <a:gd name="connsiteX133" fmla="*/ 4953798 w 7401213"/>
              <a:gd name="connsiteY133" fmla="*/ 4229100 h 4359049"/>
              <a:gd name="connsiteX134" fmla="*/ 5014758 w 7401213"/>
              <a:gd name="connsiteY134" fmla="*/ 4206240 h 4359049"/>
              <a:gd name="connsiteX135" fmla="*/ 5190018 w 7401213"/>
              <a:gd name="connsiteY135" fmla="*/ 4145280 h 4359049"/>
              <a:gd name="connsiteX136" fmla="*/ 5593878 w 7401213"/>
              <a:gd name="connsiteY136" fmla="*/ 4122420 h 4359049"/>
              <a:gd name="connsiteX137" fmla="*/ 5631978 w 7401213"/>
              <a:gd name="connsiteY137" fmla="*/ 4107180 h 4359049"/>
              <a:gd name="connsiteX138" fmla="*/ 5654838 w 7401213"/>
              <a:gd name="connsiteY138" fmla="*/ 4091940 h 4359049"/>
              <a:gd name="connsiteX139" fmla="*/ 5952018 w 7401213"/>
              <a:gd name="connsiteY139" fmla="*/ 3985260 h 4359049"/>
              <a:gd name="connsiteX140" fmla="*/ 6355878 w 7401213"/>
              <a:gd name="connsiteY140" fmla="*/ 3840480 h 4359049"/>
              <a:gd name="connsiteX141" fmla="*/ 6889278 w 7401213"/>
              <a:gd name="connsiteY141" fmla="*/ 3474720 h 4359049"/>
              <a:gd name="connsiteX142" fmla="*/ 7125498 w 7401213"/>
              <a:gd name="connsiteY142" fmla="*/ 3230880 h 4359049"/>
              <a:gd name="connsiteX143" fmla="*/ 7399818 w 7401213"/>
              <a:gd name="connsiteY143" fmla="*/ 2438400 h 4359049"/>
              <a:gd name="connsiteX144" fmla="*/ 7361718 w 7401213"/>
              <a:gd name="connsiteY144" fmla="*/ 1790700 h 4359049"/>
              <a:gd name="connsiteX145" fmla="*/ 7247418 w 7401213"/>
              <a:gd name="connsiteY145" fmla="*/ 1249680 h 4359049"/>
              <a:gd name="connsiteX146" fmla="*/ 7178838 w 7401213"/>
              <a:gd name="connsiteY146" fmla="*/ 899160 h 4359049"/>
              <a:gd name="connsiteX147" fmla="*/ 7163598 w 7401213"/>
              <a:gd name="connsiteY147" fmla="*/ 701040 h 4359049"/>
              <a:gd name="connsiteX148" fmla="*/ 7148358 w 7401213"/>
              <a:gd name="connsiteY148" fmla="*/ 396240 h 4359049"/>
              <a:gd name="connsiteX149" fmla="*/ 7072158 w 7401213"/>
              <a:gd name="connsiteY149" fmla="*/ 205740 h 4359049"/>
              <a:gd name="connsiteX150" fmla="*/ 7018818 w 7401213"/>
              <a:gd name="connsiteY150" fmla="*/ 99060 h 4359049"/>
              <a:gd name="connsiteX151" fmla="*/ 6767358 w 7401213"/>
              <a:gd name="connsiteY151" fmla="*/ 22860 h 4359049"/>
              <a:gd name="connsiteX152" fmla="*/ 6614958 w 7401213"/>
              <a:gd name="connsiteY152" fmla="*/ 45720 h 4359049"/>
              <a:gd name="connsiteX153" fmla="*/ 6592098 w 7401213"/>
              <a:gd name="connsiteY153" fmla="*/ 68580 h 4359049"/>
              <a:gd name="connsiteX154" fmla="*/ 6546378 w 7401213"/>
              <a:gd name="connsiteY154" fmla="*/ 83820 h 4359049"/>
              <a:gd name="connsiteX155" fmla="*/ 6447318 w 7401213"/>
              <a:gd name="connsiteY155" fmla="*/ 76200 h 4359049"/>
              <a:gd name="connsiteX156" fmla="*/ 6371118 w 7401213"/>
              <a:gd name="connsiteY156" fmla="*/ 68580 h 4359049"/>
              <a:gd name="connsiteX157" fmla="*/ 5921538 w 7401213"/>
              <a:gd name="connsiteY157" fmla="*/ 60960 h 4359049"/>
              <a:gd name="connsiteX158" fmla="*/ 5311938 w 7401213"/>
              <a:gd name="connsiteY158" fmla="*/ 38100 h 4359049"/>
              <a:gd name="connsiteX159" fmla="*/ 5266218 w 7401213"/>
              <a:gd name="connsiteY159" fmla="*/ 30480 h 4359049"/>
              <a:gd name="connsiteX160" fmla="*/ 5151918 w 7401213"/>
              <a:gd name="connsiteY160" fmla="*/ 22860 h 4359049"/>
              <a:gd name="connsiteX161" fmla="*/ 4847118 w 7401213"/>
              <a:gd name="connsiteY161" fmla="*/ 30480 h 4359049"/>
              <a:gd name="connsiteX162" fmla="*/ 4793778 w 7401213"/>
              <a:gd name="connsiteY162" fmla="*/ 38100 h 4359049"/>
              <a:gd name="connsiteX163" fmla="*/ 4732818 w 7401213"/>
              <a:gd name="connsiteY163" fmla="*/ 53340 h 4359049"/>
              <a:gd name="connsiteX164" fmla="*/ 4687098 w 7401213"/>
              <a:gd name="connsiteY164" fmla="*/ 76200 h 4359049"/>
              <a:gd name="connsiteX165" fmla="*/ 4664238 w 7401213"/>
              <a:gd name="connsiteY165" fmla="*/ 91440 h 4359049"/>
              <a:gd name="connsiteX166" fmla="*/ 4671858 w 7401213"/>
              <a:gd name="connsiteY166" fmla="*/ 76200 h 4359049"/>
              <a:gd name="connsiteX0" fmla="*/ 4671858 w 7401213"/>
              <a:gd name="connsiteY0" fmla="*/ 76200 h 4358640"/>
              <a:gd name="connsiteX1" fmla="*/ 4671858 w 7401213"/>
              <a:gd name="connsiteY1" fmla="*/ 76200 h 4358640"/>
              <a:gd name="connsiteX2" fmla="*/ 4664238 w 7401213"/>
              <a:gd name="connsiteY2" fmla="*/ 396240 h 4358640"/>
              <a:gd name="connsiteX3" fmla="*/ 4648998 w 7401213"/>
              <a:gd name="connsiteY3" fmla="*/ 495300 h 4358640"/>
              <a:gd name="connsiteX4" fmla="*/ 4641378 w 7401213"/>
              <a:gd name="connsiteY4" fmla="*/ 670560 h 4358640"/>
              <a:gd name="connsiteX5" fmla="*/ 4626138 w 7401213"/>
              <a:gd name="connsiteY5" fmla="*/ 807720 h 4358640"/>
              <a:gd name="connsiteX6" fmla="*/ 4648998 w 7401213"/>
              <a:gd name="connsiteY6" fmla="*/ 944880 h 4358640"/>
              <a:gd name="connsiteX7" fmla="*/ 4664238 w 7401213"/>
              <a:gd name="connsiteY7" fmla="*/ 967740 h 4358640"/>
              <a:gd name="connsiteX8" fmla="*/ 4801398 w 7401213"/>
              <a:gd name="connsiteY8" fmla="*/ 1181100 h 4358640"/>
              <a:gd name="connsiteX9" fmla="*/ 4809018 w 7401213"/>
              <a:gd name="connsiteY9" fmla="*/ 1203960 h 4358640"/>
              <a:gd name="connsiteX10" fmla="*/ 4847118 w 7401213"/>
              <a:gd name="connsiteY10" fmla="*/ 1592580 h 4358640"/>
              <a:gd name="connsiteX11" fmla="*/ 4862358 w 7401213"/>
              <a:gd name="connsiteY11" fmla="*/ 1623060 h 4358640"/>
              <a:gd name="connsiteX12" fmla="*/ 4877598 w 7401213"/>
              <a:gd name="connsiteY12" fmla="*/ 1661160 h 4358640"/>
              <a:gd name="connsiteX13" fmla="*/ 4900458 w 7401213"/>
              <a:gd name="connsiteY13" fmla="*/ 1691640 h 4358640"/>
              <a:gd name="connsiteX14" fmla="*/ 4961418 w 7401213"/>
              <a:gd name="connsiteY14" fmla="*/ 1798320 h 4358640"/>
              <a:gd name="connsiteX15" fmla="*/ 4969038 w 7401213"/>
              <a:gd name="connsiteY15" fmla="*/ 1828800 h 4358640"/>
              <a:gd name="connsiteX16" fmla="*/ 5014758 w 7401213"/>
              <a:gd name="connsiteY16" fmla="*/ 1889760 h 4358640"/>
              <a:gd name="connsiteX17" fmla="*/ 5022378 w 7401213"/>
              <a:gd name="connsiteY17" fmla="*/ 1912620 h 4358640"/>
              <a:gd name="connsiteX18" fmla="*/ 5052858 w 7401213"/>
              <a:gd name="connsiteY18" fmla="*/ 1965960 h 4358640"/>
              <a:gd name="connsiteX19" fmla="*/ 5075718 w 7401213"/>
              <a:gd name="connsiteY19" fmla="*/ 2049780 h 4358640"/>
              <a:gd name="connsiteX20" fmla="*/ 5083338 w 7401213"/>
              <a:gd name="connsiteY20" fmla="*/ 2110740 h 4358640"/>
              <a:gd name="connsiteX21" fmla="*/ 5098578 w 7401213"/>
              <a:gd name="connsiteY21" fmla="*/ 2148840 h 4358640"/>
              <a:gd name="connsiteX22" fmla="*/ 5136678 w 7401213"/>
              <a:gd name="connsiteY22" fmla="*/ 2202180 h 4358640"/>
              <a:gd name="connsiteX23" fmla="*/ 5182398 w 7401213"/>
              <a:gd name="connsiteY23" fmla="*/ 2232660 h 4358640"/>
              <a:gd name="connsiteX24" fmla="*/ 5311938 w 7401213"/>
              <a:gd name="connsiteY24" fmla="*/ 2270760 h 4358640"/>
              <a:gd name="connsiteX25" fmla="*/ 5449098 w 7401213"/>
              <a:gd name="connsiteY25" fmla="*/ 2293620 h 4358640"/>
              <a:gd name="connsiteX26" fmla="*/ 5510058 w 7401213"/>
              <a:gd name="connsiteY26" fmla="*/ 2324100 h 4358640"/>
              <a:gd name="connsiteX27" fmla="*/ 5525298 w 7401213"/>
              <a:gd name="connsiteY27" fmla="*/ 2362200 h 4358640"/>
              <a:gd name="connsiteX28" fmla="*/ 5548158 w 7401213"/>
              <a:gd name="connsiteY28" fmla="*/ 2392680 h 4358640"/>
              <a:gd name="connsiteX29" fmla="*/ 5578638 w 7401213"/>
              <a:gd name="connsiteY29" fmla="*/ 2446020 h 4358640"/>
              <a:gd name="connsiteX30" fmla="*/ 5601498 w 7401213"/>
              <a:gd name="connsiteY30" fmla="*/ 2491740 h 4358640"/>
              <a:gd name="connsiteX31" fmla="*/ 5631978 w 7401213"/>
              <a:gd name="connsiteY31" fmla="*/ 2560320 h 4358640"/>
              <a:gd name="connsiteX32" fmla="*/ 5654838 w 7401213"/>
              <a:gd name="connsiteY32" fmla="*/ 2735580 h 4358640"/>
              <a:gd name="connsiteX33" fmla="*/ 5662458 w 7401213"/>
              <a:gd name="connsiteY33" fmla="*/ 2971800 h 4358640"/>
              <a:gd name="connsiteX34" fmla="*/ 5715798 w 7401213"/>
              <a:gd name="connsiteY34" fmla="*/ 3208020 h 4358640"/>
              <a:gd name="connsiteX35" fmla="*/ 5761518 w 7401213"/>
              <a:gd name="connsiteY35" fmla="*/ 3337560 h 4358640"/>
              <a:gd name="connsiteX36" fmla="*/ 5769138 w 7401213"/>
              <a:gd name="connsiteY36" fmla="*/ 3375660 h 4358640"/>
              <a:gd name="connsiteX37" fmla="*/ 5776758 w 7401213"/>
              <a:gd name="connsiteY37" fmla="*/ 3429000 h 4358640"/>
              <a:gd name="connsiteX38" fmla="*/ 5807238 w 7401213"/>
              <a:gd name="connsiteY38" fmla="*/ 3566160 h 4358640"/>
              <a:gd name="connsiteX39" fmla="*/ 5791998 w 7401213"/>
              <a:gd name="connsiteY39" fmla="*/ 3909060 h 4358640"/>
              <a:gd name="connsiteX40" fmla="*/ 5738658 w 7401213"/>
              <a:gd name="connsiteY40" fmla="*/ 4000500 h 4358640"/>
              <a:gd name="connsiteX41" fmla="*/ 5731038 w 7401213"/>
              <a:gd name="connsiteY41" fmla="*/ 4023360 h 4358640"/>
              <a:gd name="connsiteX42" fmla="*/ 5654838 w 7401213"/>
              <a:gd name="connsiteY42" fmla="*/ 4107180 h 4358640"/>
              <a:gd name="connsiteX43" fmla="*/ 5616738 w 7401213"/>
              <a:gd name="connsiteY43" fmla="*/ 4122420 h 4358640"/>
              <a:gd name="connsiteX44" fmla="*/ 5593878 w 7401213"/>
              <a:gd name="connsiteY44" fmla="*/ 4137660 h 4358640"/>
              <a:gd name="connsiteX45" fmla="*/ 5540538 w 7401213"/>
              <a:gd name="connsiteY45" fmla="*/ 4145280 h 4358640"/>
              <a:gd name="connsiteX46" fmla="*/ 5456718 w 7401213"/>
              <a:gd name="connsiteY46" fmla="*/ 4168140 h 4358640"/>
              <a:gd name="connsiteX47" fmla="*/ 5243358 w 7401213"/>
              <a:gd name="connsiteY47" fmla="*/ 4175760 h 4358640"/>
              <a:gd name="connsiteX48" fmla="*/ 5129058 w 7401213"/>
              <a:gd name="connsiteY48" fmla="*/ 4183380 h 4358640"/>
              <a:gd name="connsiteX49" fmla="*/ 5052858 w 7401213"/>
              <a:gd name="connsiteY49" fmla="*/ 4198620 h 4358640"/>
              <a:gd name="connsiteX50" fmla="*/ 5022378 w 7401213"/>
              <a:gd name="connsiteY50" fmla="*/ 4213860 h 4358640"/>
              <a:gd name="connsiteX51" fmla="*/ 4976658 w 7401213"/>
              <a:gd name="connsiteY51" fmla="*/ 4221480 h 4358640"/>
              <a:gd name="connsiteX52" fmla="*/ 4930938 w 7401213"/>
              <a:gd name="connsiteY52" fmla="*/ 4236720 h 4358640"/>
              <a:gd name="connsiteX53" fmla="*/ 4648998 w 7401213"/>
              <a:gd name="connsiteY53" fmla="*/ 4244340 h 4358640"/>
              <a:gd name="connsiteX54" fmla="*/ 4527078 w 7401213"/>
              <a:gd name="connsiteY54" fmla="*/ 4251960 h 4358640"/>
              <a:gd name="connsiteX55" fmla="*/ 4397538 w 7401213"/>
              <a:gd name="connsiteY55" fmla="*/ 4267200 h 4358640"/>
              <a:gd name="connsiteX56" fmla="*/ 3978438 w 7401213"/>
              <a:gd name="connsiteY56" fmla="*/ 4274820 h 4358640"/>
              <a:gd name="connsiteX57" fmla="*/ 3688878 w 7401213"/>
              <a:gd name="connsiteY57" fmla="*/ 4267200 h 4358640"/>
              <a:gd name="connsiteX58" fmla="*/ 3650778 w 7401213"/>
              <a:gd name="connsiteY58" fmla="*/ 4198620 h 4358640"/>
              <a:gd name="connsiteX59" fmla="*/ 3643158 w 7401213"/>
              <a:gd name="connsiteY59" fmla="*/ 4130040 h 4358640"/>
              <a:gd name="connsiteX60" fmla="*/ 3627918 w 7401213"/>
              <a:gd name="connsiteY60" fmla="*/ 4099560 h 4358640"/>
              <a:gd name="connsiteX61" fmla="*/ 3597438 w 7401213"/>
              <a:gd name="connsiteY61" fmla="*/ 4023360 h 4358640"/>
              <a:gd name="connsiteX62" fmla="*/ 3612678 w 7401213"/>
              <a:gd name="connsiteY62" fmla="*/ 3718560 h 4358640"/>
              <a:gd name="connsiteX63" fmla="*/ 3620298 w 7401213"/>
              <a:gd name="connsiteY63" fmla="*/ 3627120 h 4358640"/>
              <a:gd name="connsiteX64" fmla="*/ 3612678 w 7401213"/>
              <a:gd name="connsiteY64" fmla="*/ 3284220 h 4358640"/>
              <a:gd name="connsiteX65" fmla="*/ 3597438 w 7401213"/>
              <a:gd name="connsiteY65" fmla="*/ 3215640 h 4358640"/>
              <a:gd name="connsiteX66" fmla="*/ 3490758 w 7401213"/>
              <a:gd name="connsiteY66" fmla="*/ 3055620 h 4358640"/>
              <a:gd name="connsiteX67" fmla="*/ 3399318 w 7401213"/>
              <a:gd name="connsiteY67" fmla="*/ 2933700 h 4358640"/>
              <a:gd name="connsiteX68" fmla="*/ 3345978 w 7401213"/>
              <a:gd name="connsiteY68" fmla="*/ 2819400 h 4358640"/>
              <a:gd name="connsiteX69" fmla="*/ 3330738 w 7401213"/>
              <a:gd name="connsiteY69" fmla="*/ 2727960 h 4358640"/>
              <a:gd name="connsiteX70" fmla="*/ 3277398 w 7401213"/>
              <a:gd name="connsiteY70" fmla="*/ 2537460 h 4358640"/>
              <a:gd name="connsiteX71" fmla="*/ 3285018 w 7401213"/>
              <a:gd name="connsiteY71" fmla="*/ 1958340 h 4358640"/>
              <a:gd name="connsiteX72" fmla="*/ 3277398 w 7401213"/>
              <a:gd name="connsiteY72" fmla="*/ 1592580 h 4358640"/>
              <a:gd name="connsiteX73" fmla="*/ 3262158 w 7401213"/>
              <a:gd name="connsiteY73" fmla="*/ 1546860 h 4358640"/>
              <a:gd name="connsiteX74" fmla="*/ 3231678 w 7401213"/>
              <a:gd name="connsiteY74" fmla="*/ 1409700 h 4358640"/>
              <a:gd name="connsiteX75" fmla="*/ 3185958 w 7401213"/>
              <a:gd name="connsiteY75" fmla="*/ 1280160 h 4358640"/>
              <a:gd name="connsiteX76" fmla="*/ 3140238 w 7401213"/>
              <a:gd name="connsiteY76" fmla="*/ 792480 h 4358640"/>
              <a:gd name="connsiteX77" fmla="*/ 3086898 w 7401213"/>
              <a:gd name="connsiteY77" fmla="*/ 655320 h 4358640"/>
              <a:gd name="connsiteX78" fmla="*/ 3064038 w 7401213"/>
              <a:gd name="connsiteY78" fmla="*/ 548640 h 4358640"/>
              <a:gd name="connsiteX79" fmla="*/ 3003078 w 7401213"/>
              <a:gd name="connsiteY79" fmla="*/ 152400 h 4358640"/>
              <a:gd name="connsiteX80" fmla="*/ 2789718 w 7401213"/>
              <a:gd name="connsiteY80" fmla="*/ 60960 h 4358640"/>
              <a:gd name="connsiteX81" fmla="*/ 2644938 w 7401213"/>
              <a:gd name="connsiteY81" fmla="*/ 30480 h 4358640"/>
              <a:gd name="connsiteX82" fmla="*/ 2583978 w 7401213"/>
              <a:gd name="connsiteY82" fmla="*/ 38100 h 4358640"/>
              <a:gd name="connsiteX83" fmla="*/ 2538258 w 7401213"/>
              <a:gd name="connsiteY83" fmla="*/ 68580 h 4358640"/>
              <a:gd name="connsiteX84" fmla="*/ 2462058 w 7401213"/>
              <a:gd name="connsiteY84" fmla="*/ 91440 h 4358640"/>
              <a:gd name="connsiteX85" fmla="*/ 2142018 w 7401213"/>
              <a:gd name="connsiteY85" fmla="*/ 53340 h 4358640"/>
              <a:gd name="connsiteX86" fmla="*/ 1646718 w 7401213"/>
              <a:gd name="connsiteY86" fmla="*/ 45720 h 4358640"/>
              <a:gd name="connsiteX87" fmla="*/ 1585758 w 7401213"/>
              <a:gd name="connsiteY87" fmla="*/ 38100 h 4358640"/>
              <a:gd name="connsiteX88" fmla="*/ 1410498 w 7401213"/>
              <a:gd name="connsiteY88" fmla="*/ 22860 h 4358640"/>
              <a:gd name="connsiteX89" fmla="*/ 1311438 w 7401213"/>
              <a:gd name="connsiteY89" fmla="*/ 0 h 4358640"/>
              <a:gd name="connsiteX90" fmla="*/ 1098078 w 7401213"/>
              <a:gd name="connsiteY90" fmla="*/ 15240 h 4358640"/>
              <a:gd name="connsiteX91" fmla="*/ 1052358 w 7401213"/>
              <a:gd name="connsiteY91" fmla="*/ 30480 h 4358640"/>
              <a:gd name="connsiteX92" fmla="*/ 968538 w 7401213"/>
              <a:gd name="connsiteY92" fmla="*/ 60960 h 4358640"/>
              <a:gd name="connsiteX93" fmla="*/ 899958 w 7401213"/>
              <a:gd name="connsiteY93" fmla="*/ 76200 h 4358640"/>
              <a:gd name="connsiteX94" fmla="*/ 762798 w 7401213"/>
              <a:gd name="connsiteY94" fmla="*/ 106680 h 4358640"/>
              <a:gd name="connsiteX95" fmla="*/ 709458 w 7401213"/>
              <a:gd name="connsiteY95" fmla="*/ 121920 h 4358640"/>
              <a:gd name="connsiteX96" fmla="*/ 648498 w 7401213"/>
              <a:gd name="connsiteY96" fmla="*/ 137160 h 4358640"/>
              <a:gd name="connsiteX97" fmla="*/ 602778 w 7401213"/>
              <a:gd name="connsiteY97" fmla="*/ 152400 h 4358640"/>
              <a:gd name="connsiteX98" fmla="*/ 503718 w 7401213"/>
              <a:gd name="connsiteY98" fmla="*/ 205740 h 4358640"/>
              <a:gd name="connsiteX99" fmla="*/ 473238 w 7401213"/>
              <a:gd name="connsiteY99" fmla="*/ 236220 h 4358640"/>
              <a:gd name="connsiteX100" fmla="*/ 244638 w 7401213"/>
              <a:gd name="connsiteY100" fmla="*/ 411480 h 4358640"/>
              <a:gd name="connsiteX101" fmla="*/ 115098 w 7401213"/>
              <a:gd name="connsiteY101" fmla="*/ 662940 h 4358640"/>
              <a:gd name="connsiteX102" fmla="*/ 8418 w 7401213"/>
              <a:gd name="connsiteY102" fmla="*/ 1028700 h 4358640"/>
              <a:gd name="connsiteX103" fmla="*/ 798 w 7401213"/>
              <a:gd name="connsiteY103" fmla="*/ 1188720 h 4358640"/>
              <a:gd name="connsiteX104" fmla="*/ 107478 w 7401213"/>
              <a:gd name="connsiteY104" fmla="*/ 1866900 h 4358640"/>
              <a:gd name="connsiteX105" fmla="*/ 358938 w 7401213"/>
              <a:gd name="connsiteY105" fmla="*/ 2506980 h 4358640"/>
              <a:gd name="connsiteX106" fmla="*/ 587538 w 7401213"/>
              <a:gd name="connsiteY106" fmla="*/ 3078480 h 4358640"/>
              <a:gd name="connsiteX107" fmla="*/ 755178 w 7401213"/>
              <a:gd name="connsiteY107" fmla="*/ 3436620 h 4358640"/>
              <a:gd name="connsiteX108" fmla="*/ 877098 w 7401213"/>
              <a:gd name="connsiteY108" fmla="*/ 3657600 h 4358640"/>
              <a:gd name="connsiteX109" fmla="*/ 976158 w 7401213"/>
              <a:gd name="connsiteY109" fmla="*/ 3764280 h 4358640"/>
              <a:gd name="connsiteX110" fmla="*/ 1235238 w 7401213"/>
              <a:gd name="connsiteY110" fmla="*/ 3939540 h 4358640"/>
              <a:gd name="connsiteX111" fmla="*/ 1494318 w 7401213"/>
              <a:gd name="connsiteY111" fmla="*/ 3985260 h 4358640"/>
              <a:gd name="connsiteX112" fmla="*/ 1745778 w 7401213"/>
              <a:gd name="connsiteY112" fmla="*/ 4000500 h 4358640"/>
              <a:gd name="connsiteX113" fmla="*/ 1966758 w 7401213"/>
              <a:gd name="connsiteY113" fmla="*/ 4114800 h 4358640"/>
              <a:gd name="connsiteX114" fmla="*/ 2081058 w 7401213"/>
              <a:gd name="connsiteY114" fmla="*/ 4175760 h 4358640"/>
              <a:gd name="connsiteX115" fmla="*/ 2134398 w 7401213"/>
              <a:gd name="connsiteY115" fmla="*/ 4183380 h 4358640"/>
              <a:gd name="connsiteX116" fmla="*/ 2576358 w 7401213"/>
              <a:gd name="connsiteY116" fmla="*/ 4160520 h 4358640"/>
              <a:gd name="connsiteX117" fmla="*/ 3170718 w 7401213"/>
              <a:gd name="connsiteY117" fmla="*/ 4183380 h 4358640"/>
              <a:gd name="connsiteX118" fmla="*/ 3285018 w 7401213"/>
              <a:gd name="connsiteY118" fmla="*/ 4206240 h 4358640"/>
              <a:gd name="connsiteX119" fmla="*/ 3376458 w 7401213"/>
              <a:gd name="connsiteY119" fmla="*/ 4236720 h 4358640"/>
              <a:gd name="connsiteX120" fmla="*/ 3452658 w 7401213"/>
              <a:gd name="connsiteY120" fmla="*/ 4251960 h 4358640"/>
              <a:gd name="connsiteX121" fmla="*/ 3490758 w 7401213"/>
              <a:gd name="connsiteY121" fmla="*/ 4267200 h 4358640"/>
              <a:gd name="connsiteX122" fmla="*/ 3605058 w 7401213"/>
              <a:gd name="connsiteY122" fmla="*/ 4274820 h 4358640"/>
              <a:gd name="connsiteX123" fmla="*/ 3643158 w 7401213"/>
              <a:gd name="connsiteY123" fmla="*/ 4282440 h 4358640"/>
              <a:gd name="connsiteX124" fmla="*/ 3909858 w 7401213"/>
              <a:gd name="connsiteY124" fmla="*/ 4313873 h 4358640"/>
              <a:gd name="connsiteX125" fmla="*/ 3986058 w 7401213"/>
              <a:gd name="connsiteY125" fmla="*/ 4358640 h 4358640"/>
              <a:gd name="connsiteX126" fmla="*/ 4053686 w 7401213"/>
              <a:gd name="connsiteY126" fmla="*/ 4313873 h 4358640"/>
              <a:gd name="connsiteX127" fmla="*/ 4085118 w 7401213"/>
              <a:gd name="connsiteY127" fmla="*/ 4312920 h 4358640"/>
              <a:gd name="connsiteX128" fmla="*/ 4138458 w 7401213"/>
              <a:gd name="connsiteY128" fmla="*/ 4274820 h 4358640"/>
              <a:gd name="connsiteX129" fmla="*/ 4168938 w 7401213"/>
              <a:gd name="connsiteY129" fmla="*/ 4267200 h 4358640"/>
              <a:gd name="connsiteX130" fmla="*/ 4328958 w 7401213"/>
              <a:gd name="connsiteY130" fmla="*/ 4259580 h 4358640"/>
              <a:gd name="connsiteX131" fmla="*/ 4877598 w 7401213"/>
              <a:gd name="connsiteY131" fmla="*/ 4244340 h 4358640"/>
              <a:gd name="connsiteX132" fmla="*/ 4930938 w 7401213"/>
              <a:gd name="connsiteY132" fmla="*/ 4236720 h 4358640"/>
              <a:gd name="connsiteX133" fmla="*/ 4953798 w 7401213"/>
              <a:gd name="connsiteY133" fmla="*/ 4229100 h 4358640"/>
              <a:gd name="connsiteX134" fmla="*/ 5014758 w 7401213"/>
              <a:gd name="connsiteY134" fmla="*/ 4206240 h 4358640"/>
              <a:gd name="connsiteX135" fmla="*/ 5190018 w 7401213"/>
              <a:gd name="connsiteY135" fmla="*/ 4145280 h 4358640"/>
              <a:gd name="connsiteX136" fmla="*/ 5593878 w 7401213"/>
              <a:gd name="connsiteY136" fmla="*/ 4122420 h 4358640"/>
              <a:gd name="connsiteX137" fmla="*/ 5631978 w 7401213"/>
              <a:gd name="connsiteY137" fmla="*/ 4107180 h 4358640"/>
              <a:gd name="connsiteX138" fmla="*/ 5654838 w 7401213"/>
              <a:gd name="connsiteY138" fmla="*/ 4091940 h 4358640"/>
              <a:gd name="connsiteX139" fmla="*/ 5952018 w 7401213"/>
              <a:gd name="connsiteY139" fmla="*/ 3985260 h 4358640"/>
              <a:gd name="connsiteX140" fmla="*/ 6355878 w 7401213"/>
              <a:gd name="connsiteY140" fmla="*/ 3840480 h 4358640"/>
              <a:gd name="connsiteX141" fmla="*/ 6889278 w 7401213"/>
              <a:gd name="connsiteY141" fmla="*/ 3474720 h 4358640"/>
              <a:gd name="connsiteX142" fmla="*/ 7125498 w 7401213"/>
              <a:gd name="connsiteY142" fmla="*/ 3230880 h 4358640"/>
              <a:gd name="connsiteX143" fmla="*/ 7399818 w 7401213"/>
              <a:gd name="connsiteY143" fmla="*/ 2438400 h 4358640"/>
              <a:gd name="connsiteX144" fmla="*/ 7361718 w 7401213"/>
              <a:gd name="connsiteY144" fmla="*/ 1790700 h 4358640"/>
              <a:gd name="connsiteX145" fmla="*/ 7247418 w 7401213"/>
              <a:gd name="connsiteY145" fmla="*/ 1249680 h 4358640"/>
              <a:gd name="connsiteX146" fmla="*/ 7178838 w 7401213"/>
              <a:gd name="connsiteY146" fmla="*/ 899160 h 4358640"/>
              <a:gd name="connsiteX147" fmla="*/ 7163598 w 7401213"/>
              <a:gd name="connsiteY147" fmla="*/ 701040 h 4358640"/>
              <a:gd name="connsiteX148" fmla="*/ 7148358 w 7401213"/>
              <a:gd name="connsiteY148" fmla="*/ 396240 h 4358640"/>
              <a:gd name="connsiteX149" fmla="*/ 7072158 w 7401213"/>
              <a:gd name="connsiteY149" fmla="*/ 205740 h 4358640"/>
              <a:gd name="connsiteX150" fmla="*/ 7018818 w 7401213"/>
              <a:gd name="connsiteY150" fmla="*/ 99060 h 4358640"/>
              <a:gd name="connsiteX151" fmla="*/ 6767358 w 7401213"/>
              <a:gd name="connsiteY151" fmla="*/ 22860 h 4358640"/>
              <a:gd name="connsiteX152" fmla="*/ 6614958 w 7401213"/>
              <a:gd name="connsiteY152" fmla="*/ 45720 h 4358640"/>
              <a:gd name="connsiteX153" fmla="*/ 6592098 w 7401213"/>
              <a:gd name="connsiteY153" fmla="*/ 68580 h 4358640"/>
              <a:gd name="connsiteX154" fmla="*/ 6546378 w 7401213"/>
              <a:gd name="connsiteY154" fmla="*/ 83820 h 4358640"/>
              <a:gd name="connsiteX155" fmla="*/ 6447318 w 7401213"/>
              <a:gd name="connsiteY155" fmla="*/ 76200 h 4358640"/>
              <a:gd name="connsiteX156" fmla="*/ 6371118 w 7401213"/>
              <a:gd name="connsiteY156" fmla="*/ 68580 h 4358640"/>
              <a:gd name="connsiteX157" fmla="*/ 5921538 w 7401213"/>
              <a:gd name="connsiteY157" fmla="*/ 60960 h 4358640"/>
              <a:gd name="connsiteX158" fmla="*/ 5311938 w 7401213"/>
              <a:gd name="connsiteY158" fmla="*/ 38100 h 4358640"/>
              <a:gd name="connsiteX159" fmla="*/ 5266218 w 7401213"/>
              <a:gd name="connsiteY159" fmla="*/ 30480 h 4358640"/>
              <a:gd name="connsiteX160" fmla="*/ 5151918 w 7401213"/>
              <a:gd name="connsiteY160" fmla="*/ 22860 h 4358640"/>
              <a:gd name="connsiteX161" fmla="*/ 4847118 w 7401213"/>
              <a:gd name="connsiteY161" fmla="*/ 30480 h 4358640"/>
              <a:gd name="connsiteX162" fmla="*/ 4793778 w 7401213"/>
              <a:gd name="connsiteY162" fmla="*/ 38100 h 4358640"/>
              <a:gd name="connsiteX163" fmla="*/ 4732818 w 7401213"/>
              <a:gd name="connsiteY163" fmla="*/ 53340 h 4358640"/>
              <a:gd name="connsiteX164" fmla="*/ 4687098 w 7401213"/>
              <a:gd name="connsiteY164" fmla="*/ 76200 h 4358640"/>
              <a:gd name="connsiteX165" fmla="*/ 4664238 w 7401213"/>
              <a:gd name="connsiteY165" fmla="*/ 91440 h 4358640"/>
              <a:gd name="connsiteX166" fmla="*/ 4671858 w 7401213"/>
              <a:gd name="connsiteY166" fmla="*/ 76200 h 4358640"/>
              <a:gd name="connsiteX0" fmla="*/ 4671858 w 7401213"/>
              <a:gd name="connsiteY0" fmla="*/ 76200 h 4320540"/>
              <a:gd name="connsiteX1" fmla="*/ 4671858 w 7401213"/>
              <a:gd name="connsiteY1" fmla="*/ 76200 h 4320540"/>
              <a:gd name="connsiteX2" fmla="*/ 4664238 w 7401213"/>
              <a:gd name="connsiteY2" fmla="*/ 396240 h 4320540"/>
              <a:gd name="connsiteX3" fmla="*/ 4648998 w 7401213"/>
              <a:gd name="connsiteY3" fmla="*/ 495300 h 4320540"/>
              <a:gd name="connsiteX4" fmla="*/ 4641378 w 7401213"/>
              <a:gd name="connsiteY4" fmla="*/ 670560 h 4320540"/>
              <a:gd name="connsiteX5" fmla="*/ 4626138 w 7401213"/>
              <a:gd name="connsiteY5" fmla="*/ 807720 h 4320540"/>
              <a:gd name="connsiteX6" fmla="*/ 4648998 w 7401213"/>
              <a:gd name="connsiteY6" fmla="*/ 944880 h 4320540"/>
              <a:gd name="connsiteX7" fmla="*/ 4664238 w 7401213"/>
              <a:gd name="connsiteY7" fmla="*/ 967740 h 4320540"/>
              <a:gd name="connsiteX8" fmla="*/ 4801398 w 7401213"/>
              <a:gd name="connsiteY8" fmla="*/ 1181100 h 4320540"/>
              <a:gd name="connsiteX9" fmla="*/ 4809018 w 7401213"/>
              <a:gd name="connsiteY9" fmla="*/ 1203960 h 4320540"/>
              <a:gd name="connsiteX10" fmla="*/ 4847118 w 7401213"/>
              <a:gd name="connsiteY10" fmla="*/ 1592580 h 4320540"/>
              <a:gd name="connsiteX11" fmla="*/ 4862358 w 7401213"/>
              <a:gd name="connsiteY11" fmla="*/ 1623060 h 4320540"/>
              <a:gd name="connsiteX12" fmla="*/ 4877598 w 7401213"/>
              <a:gd name="connsiteY12" fmla="*/ 1661160 h 4320540"/>
              <a:gd name="connsiteX13" fmla="*/ 4900458 w 7401213"/>
              <a:gd name="connsiteY13" fmla="*/ 1691640 h 4320540"/>
              <a:gd name="connsiteX14" fmla="*/ 4961418 w 7401213"/>
              <a:gd name="connsiteY14" fmla="*/ 1798320 h 4320540"/>
              <a:gd name="connsiteX15" fmla="*/ 4969038 w 7401213"/>
              <a:gd name="connsiteY15" fmla="*/ 1828800 h 4320540"/>
              <a:gd name="connsiteX16" fmla="*/ 5014758 w 7401213"/>
              <a:gd name="connsiteY16" fmla="*/ 1889760 h 4320540"/>
              <a:gd name="connsiteX17" fmla="*/ 5022378 w 7401213"/>
              <a:gd name="connsiteY17" fmla="*/ 1912620 h 4320540"/>
              <a:gd name="connsiteX18" fmla="*/ 5052858 w 7401213"/>
              <a:gd name="connsiteY18" fmla="*/ 1965960 h 4320540"/>
              <a:gd name="connsiteX19" fmla="*/ 5075718 w 7401213"/>
              <a:gd name="connsiteY19" fmla="*/ 2049780 h 4320540"/>
              <a:gd name="connsiteX20" fmla="*/ 5083338 w 7401213"/>
              <a:gd name="connsiteY20" fmla="*/ 2110740 h 4320540"/>
              <a:gd name="connsiteX21" fmla="*/ 5098578 w 7401213"/>
              <a:gd name="connsiteY21" fmla="*/ 2148840 h 4320540"/>
              <a:gd name="connsiteX22" fmla="*/ 5136678 w 7401213"/>
              <a:gd name="connsiteY22" fmla="*/ 2202180 h 4320540"/>
              <a:gd name="connsiteX23" fmla="*/ 5182398 w 7401213"/>
              <a:gd name="connsiteY23" fmla="*/ 2232660 h 4320540"/>
              <a:gd name="connsiteX24" fmla="*/ 5311938 w 7401213"/>
              <a:gd name="connsiteY24" fmla="*/ 2270760 h 4320540"/>
              <a:gd name="connsiteX25" fmla="*/ 5449098 w 7401213"/>
              <a:gd name="connsiteY25" fmla="*/ 2293620 h 4320540"/>
              <a:gd name="connsiteX26" fmla="*/ 5510058 w 7401213"/>
              <a:gd name="connsiteY26" fmla="*/ 2324100 h 4320540"/>
              <a:gd name="connsiteX27" fmla="*/ 5525298 w 7401213"/>
              <a:gd name="connsiteY27" fmla="*/ 2362200 h 4320540"/>
              <a:gd name="connsiteX28" fmla="*/ 5548158 w 7401213"/>
              <a:gd name="connsiteY28" fmla="*/ 2392680 h 4320540"/>
              <a:gd name="connsiteX29" fmla="*/ 5578638 w 7401213"/>
              <a:gd name="connsiteY29" fmla="*/ 2446020 h 4320540"/>
              <a:gd name="connsiteX30" fmla="*/ 5601498 w 7401213"/>
              <a:gd name="connsiteY30" fmla="*/ 2491740 h 4320540"/>
              <a:gd name="connsiteX31" fmla="*/ 5631978 w 7401213"/>
              <a:gd name="connsiteY31" fmla="*/ 2560320 h 4320540"/>
              <a:gd name="connsiteX32" fmla="*/ 5654838 w 7401213"/>
              <a:gd name="connsiteY32" fmla="*/ 2735580 h 4320540"/>
              <a:gd name="connsiteX33" fmla="*/ 5662458 w 7401213"/>
              <a:gd name="connsiteY33" fmla="*/ 2971800 h 4320540"/>
              <a:gd name="connsiteX34" fmla="*/ 5715798 w 7401213"/>
              <a:gd name="connsiteY34" fmla="*/ 3208020 h 4320540"/>
              <a:gd name="connsiteX35" fmla="*/ 5761518 w 7401213"/>
              <a:gd name="connsiteY35" fmla="*/ 3337560 h 4320540"/>
              <a:gd name="connsiteX36" fmla="*/ 5769138 w 7401213"/>
              <a:gd name="connsiteY36" fmla="*/ 3375660 h 4320540"/>
              <a:gd name="connsiteX37" fmla="*/ 5776758 w 7401213"/>
              <a:gd name="connsiteY37" fmla="*/ 3429000 h 4320540"/>
              <a:gd name="connsiteX38" fmla="*/ 5807238 w 7401213"/>
              <a:gd name="connsiteY38" fmla="*/ 3566160 h 4320540"/>
              <a:gd name="connsiteX39" fmla="*/ 5791998 w 7401213"/>
              <a:gd name="connsiteY39" fmla="*/ 3909060 h 4320540"/>
              <a:gd name="connsiteX40" fmla="*/ 5738658 w 7401213"/>
              <a:gd name="connsiteY40" fmla="*/ 4000500 h 4320540"/>
              <a:gd name="connsiteX41" fmla="*/ 5731038 w 7401213"/>
              <a:gd name="connsiteY41" fmla="*/ 4023360 h 4320540"/>
              <a:gd name="connsiteX42" fmla="*/ 5654838 w 7401213"/>
              <a:gd name="connsiteY42" fmla="*/ 4107180 h 4320540"/>
              <a:gd name="connsiteX43" fmla="*/ 5616738 w 7401213"/>
              <a:gd name="connsiteY43" fmla="*/ 4122420 h 4320540"/>
              <a:gd name="connsiteX44" fmla="*/ 5593878 w 7401213"/>
              <a:gd name="connsiteY44" fmla="*/ 4137660 h 4320540"/>
              <a:gd name="connsiteX45" fmla="*/ 5540538 w 7401213"/>
              <a:gd name="connsiteY45" fmla="*/ 4145280 h 4320540"/>
              <a:gd name="connsiteX46" fmla="*/ 5456718 w 7401213"/>
              <a:gd name="connsiteY46" fmla="*/ 4168140 h 4320540"/>
              <a:gd name="connsiteX47" fmla="*/ 5243358 w 7401213"/>
              <a:gd name="connsiteY47" fmla="*/ 4175760 h 4320540"/>
              <a:gd name="connsiteX48" fmla="*/ 5129058 w 7401213"/>
              <a:gd name="connsiteY48" fmla="*/ 4183380 h 4320540"/>
              <a:gd name="connsiteX49" fmla="*/ 5052858 w 7401213"/>
              <a:gd name="connsiteY49" fmla="*/ 4198620 h 4320540"/>
              <a:gd name="connsiteX50" fmla="*/ 5022378 w 7401213"/>
              <a:gd name="connsiteY50" fmla="*/ 4213860 h 4320540"/>
              <a:gd name="connsiteX51" fmla="*/ 4976658 w 7401213"/>
              <a:gd name="connsiteY51" fmla="*/ 4221480 h 4320540"/>
              <a:gd name="connsiteX52" fmla="*/ 4930938 w 7401213"/>
              <a:gd name="connsiteY52" fmla="*/ 4236720 h 4320540"/>
              <a:gd name="connsiteX53" fmla="*/ 4648998 w 7401213"/>
              <a:gd name="connsiteY53" fmla="*/ 4244340 h 4320540"/>
              <a:gd name="connsiteX54" fmla="*/ 4527078 w 7401213"/>
              <a:gd name="connsiteY54" fmla="*/ 4251960 h 4320540"/>
              <a:gd name="connsiteX55" fmla="*/ 4397538 w 7401213"/>
              <a:gd name="connsiteY55" fmla="*/ 4267200 h 4320540"/>
              <a:gd name="connsiteX56" fmla="*/ 3978438 w 7401213"/>
              <a:gd name="connsiteY56" fmla="*/ 4274820 h 4320540"/>
              <a:gd name="connsiteX57" fmla="*/ 3688878 w 7401213"/>
              <a:gd name="connsiteY57" fmla="*/ 4267200 h 4320540"/>
              <a:gd name="connsiteX58" fmla="*/ 3650778 w 7401213"/>
              <a:gd name="connsiteY58" fmla="*/ 4198620 h 4320540"/>
              <a:gd name="connsiteX59" fmla="*/ 3643158 w 7401213"/>
              <a:gd name="connsiteY59" fmla="*/ 4130040 h 4320540"/>
              <a:gd name="connsiteX60" fmla="*/ 3627918 w 7401213"/>
              <a:gd name="connsiteY60" fmla="*/ 4099560 h 4320540"/>
              <a:gd name="connsiteX61" fmla="*/ 3597438 w 7401213"/>
              <a:gd name="connsiteY61" fmla="*/ 4023360 h 4320540"/>
              <a:gd name="connsiteX62" fmla="*/ 3612678 w 7401213"/>
              <a:gd name="connsiteY62" fmla="*/ 3718560 h 4320540"/>
              <a:gd name="connsiteX63" fmla="*/ 3620298 w 7401213"/>
              <a:gd name="connsiteY63" fmla="*/ 3627120 h 4320540"/>
              <a:gd name="connsiteX64" fmla="*/ 3612678 w 7401213"/>
              <a:gd name="connsiteY64" fmla="*/ 3284220 h 4320540"/>
              <a:gd name="connsiteX65" fmla="*/ 3597438 w 7401213"/>
              <a:gd name="connsiteY65" fmla="*/ 3215640 h 4320540"/>
              <a:gd name="connsiteX66" fmla="*/ 3490758 w 7401213"/>
              <a:gd name="connsiteY66" fmla="*/ 3055620 h 4320540"/>
              <a:gd name="connsiteX67" fmla="*/ 3399318 w 7401213"/>
              <a:gd name="connsiteY67" fmla="*/ 2933700 h 4320540"/>
              <a:gd name="connsiteX68" fmla="*/ 3345978 w 7401213"/>
              <a:gd name="connsiteY68" fmla="*/ 2819400 h 4320540"/>
              <a:gd name="connsiteX69" fmla="*/ 3330738 w 7401213"/>
              <a:gd name="connsiteY69" fmla="*/ 2727960 h 4320540"/>
              <a:gd name="connsiteX70" fmla="*/ 3277398 w 7401213"/>
              <a:gd name="connsiteY70" fmla="*/ 2537460 h 4320540"/>
              <a:gd name="connsiteX71" fmla="*/ 3285018 w 7401213"/>
              <a:gd name="connsiteY71" fmla="*/ 1958340 h 4320540"/>
              <a:gd name="connsiteX72" fmla="*/ 3277398 w 7401213"/>
              <a:gd name="connsiteY72" fmla="*/ 1592580 h 4320540"/>
              <a:gd name="connsiteX73" fmla="*/ 3262158 w 7401213"/>
              <a:gd name="connsiteY73" fmla="*/ 1546860 h 4320540"/>
              <a:gd name="connsiteX74" fmla="*/ 3231678 w 7401213"/>
              <a:gd name="connsiteY74" fmla="*/ 1409700 h 4320540"/>
              <a:gd name="connsiteX75" fmla="*/ 3185958 w 7401213"/>
              <a:gd name="connsiteY75" fmla="*/ 1280160 h 4320540"/>
              <a:gd name="connsiteX76" fmla="*/ 3140238 w 7401213"/>
              <a:gd name="connsiteY76" fmla="*/ 792480 h 4320540"/>
              <a:gd name="connsiteX77" fmla="*/ 3086898 w 7401213"/>
              <a:gd name="connsiteY77" fmla="*/ 655320 h 4320540"/>
              <a:gd name="connsiteX78" fmla="*/ 3064038 w 7401213"/>
              <a:gd name="connsiteY78" fmla="*/ 548640 h 4320540"/>
              <a:gd name="connsiteX79" fmla="*/ 3003078 w 7401213"/>
              <a:gd name="connsiteY79" fmla="*/ 152400 h 4320540"/>
              <a:gd name="connsiteX80" fmla="*/ 2789718 w 7401213"/>
              <a:gd name="connsiteY80" fmla="*/ 60960 h 4320540"/>
              <a:gd name="connsiteX81" fmla="*/ 2644938 w 7401213"/>
              <a:gd name="connsiteY81" fmla="*/ 30480 h 4320540"/>
              <a:gd name="connsiteX82" fmla="*/ 2583978 w 7401213"/>
              <a:gd name="connsiteY82" fmla="*/ 38100 h 4320540"/>
              <a:gd name="connsiteX83" fmla="*/ 2538258 w 7401213"/>
              <a:gd name="connsiteY83" fmla="*/ 68580 h 4320540"/>
              <a:gd name="connsiteX84" fmla="*/ 2462058 w 7401213"/>
              <a:gd name="connsiteY84" fmla="*/ 91440 h 4320540"/>
              <a:gd name="connsiteX85" fmla="*/ 2142018 w 7401213"/>
              <a:gd name="connsiteY85" fmla="*/ 53340 h 4320540"/>
              <a:gd name="connsiteX86" fmla="*/ 1646718 w 7401213"/>
              <a:gd name="connsiteY86" fmla="*/ 45720 h 4320540"/>
              <a:gd name="connsiteX87" fmla="*/ 1585758 w 7401213"/>
              <a:gd name="connsiteY87" fmla="*/ 38100 h 4320540"/>
              <a:gd name="connsiteX88" fmla="*/ 1410498 w 7401213"/>
              <a:gd name="connsiteY88" fmla="*/ 22860 h 4320540"/>
              <a:gd name="connsiteX89" fmla="*/ 1311438 w 7401213"/>
              <a:gd name="connsiteY89" fmla="*/ 0 h 4320540"/>
              <a:gd name="connsiteX90" fmla="*/ 1098078 w 7401213"/>
              <a:gd name="connsiteY90" fmla="*/ 15240 h 4320540"/>
              <a:gd name="connsiteX91" fmla="*/ 1052358 w 7401213"/>
              <a:gd name="connsiteY91" fmla="*/ 30480 h 4320540"/>
              <a:gd name="connsiteX92" fmla="*/ 968538 w 7401213"/>
              <a:gd name="connsiteY92" fmla="*/ 60960 h 4320540"/>
              <a:gd name="connsiteX93" fmla="*/ 899958 w 7401213"/>
              <a:gd name="connsiteY93" fmla="*/ 76200 h 4320540"/>
              <a:gd name="connsiteX94" fmla="*/ 762798 w 7401213"/>
              <a:gd name="connsiteY94" fmla="*/ 106680 h 4320540"/>
              <a:gd name="connsiteX95" fmla="*/ 709458 w 7401213"/>
              <a:gd name="connsiteY95" fmla="*/ 121920 h 4320540"/>
              <a:gd name="connsiteX96" fmla="*/ 648498 w 7401213"/>
              <a:gd name="connsiteY96" fmla="*/ 137160 h 4320540"/>
              <a:gd name="connsiteX97" fmla="*/ 602778 w 7401213"/>
              <a:gd name="connsiteY97" fmla="*/ 152400 h 4320540"/>
              <a:gd name="connsiteX98" fmla="*/ 503718 w 7401213"/>
              <a:gd name="connsiteY98" fmla="*/ 205740 h 4320540"/>
              <a:gd name="connsiteX99" fmla="*/ 473238 w 7401213"/>
              <a:gd name="connsiteY99" fmla="*/ 236220 h 4320540"/>
              <a:gd name="connsiteX100" fmla="*/ 244638 w 7401213"/>
              <a:gd name="connsiteY100" fmla="*/ 411480 h 4320540"/>
              <a:gd name="connsiteX101" fmla="*/ 115098 w 7401213"/>
              <a:gd name="connsiteY101" fmla="*/ 662940 h 4320540"/>
              <a:gd name="connsiteX102" fmla="*/ 8418 w 7401213"/>
              <a:gd name="connsiteY102" fmla="*/ 1028700 h 4320540"/>
              <a:gd name="connsiteX103" fmla="*/ 798 w 7401213"/>
              <a:gd name="connsiteY103" fmla="*/ 1188720 h 4320540"/>
              <a:gd name="connsiteX104" fmla="*/ 107478 w 7401213"/>
              <a:gd name="connsiteY104" fmla="*/ 1866900 h 4320540"/>
              <a:gd name="connsiteX105" fmla="*/ 358938 w 7401213"/>
              <a:gd name="connsiteY105" fmla="*/ 2506980 h 4320540"/>
              <a:gd name="connsiteX106" fmla="*/ 587538 w 7401213"/>
              <a:gd name="connsiteY106" fmla="*/ 3078480 h 4320540"/>
              <a:gd name="connsiteX107" fmla="*/ 755178 w 7401213"/>
              <a:gd name="connsiteY107" fmla="*/ 3436620 h 4320540"/>
              <a:gd name="connsiteX108" fmla="*/ 877098 w 7401213"/>
              <a:gd name="connsiteY108" fmla="*/ 3657600 h 4320540"/>
              <a:gd name="connsiteX109" fmla="*/ 976158 w 7401213"/>
              <a:gd name="connsiteY109" fmla="*/ 3764280 h 4320540"/>
              <a:gd name="connsiteX110" fmla="*/ 1235238 w 7401213"/>
              <a:gd name="connsiteY110" fmla="*/ 3939540 h 4320540"/>
              <a:gd name="connsiteX111" fmla="*/ 1494318 w 7401213"/>
              <a:gd name="connsiteY111" fmla="*/ 3985260 h 4320540"/>
              <a:gd name="connsiteX112" fmla="*/ 1745778 w 7401213"/>
              <a:gd name="connsiteY112" fmla="*/ 4000500 h 4320540"/>
              <a:gd name="connsiteX113" fmla="*/ 1966758 w 7401213"/>
              <a:gd name="connsiteY113" fmla="*/ 4114800 h 4320540"/>
              <a:gd name="connsiteX114" fmla="*/ 2081058 w 7401213"/>
              <a:gd name="connsiteY114" fmla="*/ 4175760 h 4320540"/>
              <a:gd name="connsiteX115" fmla="*/ 2134398 w 7401213"/>
              <a:gd name="connsiteY115" fmla="*/ 4183380 h 4320540"/>
              <a:gd name="connsiteX116" fmla="*/ 2576358 w 7401213"/>
              <a:gd name="connsiteY116" fmla="*/ 4160520 h 4320540"/>
              <a:gd name="connsiteX117" fmla="*/ 3170718 w 7401213"/>
              <a:gd name="connsiteY117" fmla="*/ 4183380 h 4320540"/>
              <a:gd name="connsiteX118" fmla="*/ 3285018 w 7401213"/>
              <a:gd name="connsiteY118" fmla="*/ 4206240 h 4320540"/>
              <a:gd name="connsiteX119" fmla="*/ 3376458 w 7401213"/>
              <a:gd name="connsiteY119" fmla="*/ 4236720 h 4320540"/>
              <a:gd name="connsiteX120" fmla="*/ 3452658 w 7401213"/>
              <a:gd name="connsiteY120" fmla="*/ 4251960 h 4320540"/>
              <a:gd name="connsiteX121" fmla="*/ 3490758 w 7401213"/>
              <a:gd name="connsiteY121" fmla="*/ 4267200 h 4320540"/>
              <a:gd name="connsiteX122" fmla="*/ 3605058 w 7401213"/>
              <a:gd name="connsiteY122" fmla="*/ 4274820 h 4320540"/>
              <a:gd name="connsiteX123" fmla="*/ 3643158 w 7401213"/>
              <a:gd name="connsiteY123" fmla="*/ 4282440 h 4320540"/>
              <a:gd name="connsiteX124" fmla="*/ 3909858 w 7401213"/>
              <a:gd name="connsiteY124" fmla="*/ 4313873 h 4320540"/>
              <a:gd name="connsiteX125" fmla="*/ 3986058 w 7401213"/>
              <a:gd name="connsiteY125" fmla="*/ 4320540 h 4320540"/>
              <a:gd name="connsiteX126" fmla="*/ 4053686 w 7401213"/>
              <a:gd name="connsiteY126" fmla="*/ 4313873 h 4320540"/>
              <a:gd name="connsiteX127" fmla="*/ 4085118 w 7401213"/>
              <a:gd name="connsiteY127" fmla="*/ 4312920 h 4320540"/>
              <a:gd name="connsiteX128" fmla="*/ 4138458 w 7401213"/>
              <a:gd name="connsiteY128" fmla="*/ 4274820 h 4320540"/>
              <a:gd name="connsiteX129" fmla="*/ 4168938 w 7401213"/>
              <a:gd name="connsiteY129" fmla="*/ 4267200 h 4320540"/>
              <a:gd name="connsiteX130" fmla="*/ 4328958 w 7401213"/>
              <a:gd name="connsiteY130" fmla="*/ 4259580 h 4320540"/>
              <a:gd name="connsiteX131" fmla="*/ 4877598 w 7401213"/>
              <a:gd name="connsiteY131" fmla="*/ 4244340 h 4320540"/>
              <a:gd name="connsiteX132" fmla="*/ 4930938 w 7401213"/>
              <a:gd name="connsiteY132" fmla="*/ 4236720 h 4320540"/>
              <a:gd name="connsiteX133" fmla="*/ 4953798 w 7401213"/>
              <a:gd name="connsiteY133" fmla="*/ 4229100 h 4320540"/>
              <a:gd name="connsiteX134" fmla="*/ 5014758 w 7401213"/>
              <a:gd name="connsiteY134" fmla="*/ 4206240 h 4320540"/>
              <a:gd name="connsiteX135" fmla="*/ 5190018 w 7401213"/>
              <a:gd name="connsiteY135" fmla="*/ 4145280 h 4320540"/>
              <a:gd name="connsiteX136" fmla="*/ 5593878 w 7401213"/>
              <a:gd name="connsiteY136" fmla="*/ 4122420 h 4320540"/>
              <a:gd name="connsiteX137" fmla="*/ 5631978 w 7401213"/>
              <a:gd name="connsiteY137" fmla="*/ 4107180 h 4320540"/>
              <a:gd name="connsiteX138" fmla="*/ 5654838 w 7401213"/>
              <a:gd name="connsiteY138" fmla="*/ 4091940 h 4320540"/>
              <a:gd name="connsiteX139" fmla="*/ 5952018 w 7401213"/>
              <a:gd name="connsiteY139" fmla="*/ 3985260 h 4320540"/>
              <a:gd name="connsiteX140" fmla="*/ 6355878 w 7401213"/>
              <a:gd name="connsiteY140" fmla="*/ 3840480 h 4320540"/>
              <a:gd name="connsiteX141" fmla="*/ 6889278 w 7401213"/>
              <a:gd name="connsiteY141" fmla="*/ 3474720 h 4320540"/>
              <a:gd name="connsiteX142" fmla="*/ 7125498 w 7401213"/>
              <a:gd name="connsiteY142" fmla="*/ 3230880 h 4320540"/>
              <a:gd name="connsiteX143" fmla="*/ 7399818 w 7401213"/>
              <a:gd name="connsiteY143" fmla="*/ 2438400 h 4320540"/>
              <a:gd name="connsiteX144" fmla="*/ 7361718 w 7401213"/>
              <a:gd name="connsiteY144" fmla="*/ 1790700 h 4320540"/>
              <a:gd name="connsiteX145" fmla="*/ 7247418 w 7401213"/>
              <a:gd name="connsiteY145" fmla="*/ 1249680 h 4320540"/>
              <a:gd name="connsiteX146" fmla="*/ 7178838 w 7401213"/>
              <a:gd name="connsiteY146" fmla="*/ 899160 h 4320540"/>
              <a:gd name="connsiteX147" fmla="*/ 7163598 w 7401213"/>
              <a:gd name="connsiteY147" fmla="*/ 701040 h 4320540"/>
              <a:gd name="connsiteX148" fmla="*/ 7148358 w 7401213"/>
              <a:gd name="connsiteY148" fmla="*/ 396240 h 4320540"/>
              <a:gd name="connsiteX149" fmla="*/ 7072158 w 7401213"/>
              <a:gd name="connsiteY149" fmla="*/ 205740 h 4320540"/>
              <a:gd name="connsiteX150" fmla="*/ 7018818 w 7401213"/>
              <a:gd name="connsiteY150" fmla="*/ 99060 h 4320540"/>
              <a:gd name="connsiteX151" fmla="*/ 6767358 w 7401213"/>
              <a:gd name="connsiteY151" fmla="*/ 22860 h 4320540"/>
              <a:gd name="connsiteX152" fmla="*/ 6614958 w 7401213"/>
              <a:gd name="connsiteY152" fmla="*/ 45720 h 4320540"/>
              <a:gd name="connsiteX153" fmla="*/ 6592098 w 7401213"/>
              <a:gd name="connsiteY153" fmla="*/ 68580 h 4320540"/>
              <a:gd name="connsiteX154" fmla="*/ 6546378 w 7401213"/>
              <a:gd name="connsiteY154" fmla="*/ 83820 h 4320540"/>
              <a:gd name="connsiteX155" fmla="*/ 6447318 w 7401213"/>
              <a:gd name="connsiteY155" fmla="*/ 76200 h 4320540"/>
              <a:gd name="connsiteX156" fmla="*/ 6371118 w 7401213"/>
              <a:gd name="connsiteY156" fmla="*/ 68580 h 4320540"/>
              <a:gd name="connsiteX157" fmla="*/ 5921538 w 7401213"/>
              <a:gd name="connsiteY157" fmla="*/ 60960 h 4320540"/>
              <a:gd name="connsiteX158" fmla="*/ 5311938 w 7401213"/>
              <a:gd name="connsiteY158" fmla="*/ 38100 h 4320540"/>
              <a:gd name="connsiteX159" fmla="*/ 5266218 w 7401213"/>
              <a:gd name="connsiteY159" fmla="*/ 30480 h 4320540"/>
              <a:gd name="connsiteX160" fmla="*/ 5151918 w 7401213"/>
              <a:gd name="connsiteY160" fmla="*/ 22860 h 4320540"/>
              <a:gd name="connsiteX161" fmla="*/ 4847118 w 7401213"/>
              <a:gd name="connsiteY161" fmla="*/ 30480 h 4320540"/>
              <a:gd name="connsiteX162" fmla="*/ 4793778 w 7401213"/>
              <a:gd name="connsiteY162" fmla="*/ 38100 h 4320540"/>
              <a:gd name="connsiteX163" fmla="*/ 4732818 w 7401213"/>
              <a:gd name="connsiteY163" fmla="*/ 53340 h 4320540"/>
              <a:gd name="connsiteX164" fmla="*/ 4687098 w 7401213"/>
              <a:gd name="connsiteY164" fmla="*/ 76200 h 4320540"/>
              <a:gd name="connsiteX165" fmla="*/ 4664238 w 7401213"/>
              <a:gd name="connsiteY165" fmla="*/ 91440 h 4320540"/>
              <a:gd name="connsiteX166" fmla="*/ 4671858 w 7401213"/>
              <a:gd name="connsiteY166" fmla="*/ 76200 h 4320540"/>
              <a:gd name="connsiteX0" fmla="*/ 4671858 w 7401213"/>
              <a:gd name="connsiteY0" fmla="*/ 76200 h 4320540"/>
              <a:gd name="connsiteX1" fmla="*/ 4671858 w 7401213"/>
              <a:gd name="connsiteY1" fmla="*/ 76200 h 4320540"/>
              <a:gd name="connsiteX2" fmla="*/ 4664238 w 7401213"/>
              <a:gd name="connsiteY2" fmla="*/ 396240 h 4320540"/>
              <a:gd name="connsiteX3" fmla="*/ 4648998 w 7401213"/>
              <a:gd name="connsiteY3" fmla="*/ 495300 h 4320540"/>
              <a:gd name="connsiteX4" fmla="*/ 4641378 w 7401213"/>
              <a:gd name="connsiteY4" fmla="*/ 670560 h 4320540"/>
              <a:gd name="connsiteX5" fmla="*/ 4626138 w 7401213"/>
              <a:gd name="connsiteY5" fmla="*/ 807720 h 4320540"/>
              <a:gd name="connsiteX6" fmla="*/ 4648998 w 7401213"/>
              <a:gd name="connsiteY6" fmla="*/ 944880 h 4320540"/>
              <a:gd name="connsiteX7" fmla="*/ 4664238 w 7401213"/>
              <a:gd name="connsiteY7" fmla="*/ 967740 h 4320540"/>
              <a:gd name="connsiteX8" fmla="*/ 4801398 w 7401213"/>
              <a:gd name="connsiteY8" fmla="*/ 1181100 h 4320540"/>
              <a:gd name="connsiteX9" fmla="*/ 4809018 w 7401213"/>
              <a:gd name="connsiteY9" fmla="*/ 1203960 h 4320540"/>
              <a:gd name="connsiteX10" fmla="*/ 4847118 w 7401213"/>
              <a:gd name="connsiteY10" fmla="*/ 1592580 h 4320540"/>
              <a:gd name="connsiteX11" fmla="*/ 4862358 w 7401213"/>
              <a:gd name="connsiteY11" fmla="*/ 1623060 h 4320540"/>
              <a:gd name="connsiteX12" fmla="*/ 4877598 w 7401213"/>
              <a:gd name="connsiteY12" fmla="*/ 1661160 h 4320540"/>
              <a:gd name="connsiteX13" fmla="*/ 4900458 w 7401213"/>
              <a:gd name="connsiteY13" fmla="*/ 1691640 h 4320540"/>
              <a:gd name="connsiteX14" fmla="*/ 4961418 w 7401213"/>
              <a:gd name="connsiteY14" fmla="*/ 1798320 h 4320540"/>
              <a:gd name="connsiteX15" fmla="*/ 4969038 w 7401213"/>
              <a:gd name="connsiteY15" fmla="*/ 1828800 h 4320540"/>
              <a:gd name="connsiteX16" fmla="*/ 5014758 w 7401213"/>
              <a:gd name="connsiteY16" fmla="*/ 1889760 h 4320540"/>
              <a:gd name="connsiteX17" fmla="*/ 5022378 w 7401213"/>
              <a:gd name="connsiteY17" fmla="*/ 1912620 h 4320540"/>
              <a:gd name="connsiteX18" fmla="*/ 5052858 w 7401213"/>
              <a:gd name="connsiteY18" fmla="*/ 1965960 h 4320540"/>
              <a:gd name="connsiteX19" fmla="*/ 5075718 w 7401213"/>
              <a:gd name="connsiteY19" fmla="*/ 2049780 h 4320540"/>
              <a:gd name="connsiteX20" fmla="*/ 5083338 w 7401213"/>
              <a:gd name="connsiteY20" fmla="*/ 2110740 h 4320540"/>
              <a:gd name="connsiteX21" fmla="*/ 5098578 w 7401213"/>
              <a:gd name="connsiteY21" fmla="*/ 2148840 h 4320540"/>
              <a:gd name="connsiteX22" fmla="*/ 5136678 w 7401213"/>
              <a:gd name="connsiteY22" fmla="*/ 2202180 h 4320540"/>
              <a:gd name="connsiteX23" fmla="*/ 5182398 w 7401213"/>
              <a:gd name="connsiteY23" fmla="*/ 2232660 h 4320540"/>
              <a:gd name="connsiteX24" fmla="*/ 5311938 w 7401213"/>
              <a:gd name="connsiteY24" fmla="*/ 2270760 h 4320540"/>
              <a:gd name="connsiteX25" fmla="*/ 5449098 w 7401213"/>
              <a:gd name="connsiteY25" fmla="*/ 2293620 h 4320540"/>
              <a:gd name="connsiteX26" fmla="*/ 5510058 w 7401213"/>
              <a:gd name="connsiteY26" fmla="*/ 2324100 h 4320540"/>
              <a:gd name="connsiteX27" fmla="*/ 5525298 w 7401213"/>
              <a:gd name="connsiteY27" fmla="*/ 2362200 h 4320540"/>
              <a:gd name="connsiteX28" fmla="*/ 5548158 w 7401213"/>
              <a:gd name="connsiteY28" fmla="*/ 2392680 h 4320540"/>
              <a:gd name="connsiteX29" fmla="*/ 5578638 w 7401213"/>
              <a:gd name="connsiteY29" fmla="*/ 2446020 h 4320540"/>
              <a:gd name="connsiteX30" fmla="*/ 5601498 w 7401213"/>
              <a:gd name="connsiteY30" fmla="*/ 2491740 h 4320540"/>
              <a:gd name="connsiteX31" fmla="*/ 5631978 w 7401213"/>
              <a:gd name="connsiteY31" fmla="*/ 2560320 h 4320540"/>
              <a:gd name="connsiteX32" fmla="*/ 5654838 w 7401213"/>
              <a:gd name="connsiteY32" fmla="*/ 2735580 h 4320540"/>
              <a:gd name="connsiteX33" fmla="*/ 5662458 w 7401213"/>
              <a:gd name="connsiteY33" fmla="*/ 2971800 h 4320540"/>
              <a:gd name="connsiteX34" fmla="*/ 5715798 w 7401213"/>
              <a:gd name="connsiteY34" fmla="*/ 3208020 h 4320540"/>
              <a:gd name="connsiteX35" fmla="*/ 5761518 w 7401213"/>
              <a:gd name="connsiteY35" fmla="*/ 3337560 h 4320540"/>
              <a:gd name="connsiteX36" fmla="*/ 5769138 w 7401213"/>
              <a:gd name="connsiteY36" fmla="*/ 3375660 h 4320540"/>
              <a:gd name="connsiteX37" fmla="*/ 5776758 w 7401213"/>
              <a:gd name="connsiteY37" fmla="*/ 3429000 h 4320540"/>
              <a:gd name="connsiteX38" fmla="*/ 5807238 w 7401213"/>
              <a:gd name="connsiteY38" fmla="*/ 3566160 h 4320540"/>
              <a:gd name="connsiteX39" fmla="*/ 5791998 w 7401213"/>
              <a:gd name="connsiteY39" fmla="*/ 3909060 h 4320540"/>
              <a:gd name="connsiteX40" fmla="*/ 5738658 w 7401213"/>
              <a:gd name="connsiteY40" fmla="*/ 4000500 h 4320540"/>
              <a:gd name="connsiteX41" fmla="*/ 5731038 w 7401213"/>
              <a:gd name="connsiteY41" fmla="*/ 4023360 h 4320540"/>
              <a:gd name="connsiteX42" fmla="*/ 5654838 w 7401213"/>
              <a:gd name="connsiteY42" fmla="*/ 4107180 h 4320540"/>
              <a:gd name="connsiteX43" fmla="*/ 5616738 w 7401213"/>
              <a:gd name="connsiteY43" fmla="*/ 4122420 h 4320540"/>
              <a:gd name="connsiteX44" fmla="*/ 5593878 w 7401213"/>
              <a:gd name="connsiteY44" fmla="*/ 4137660 h 4320540"/>
              <a:gd name="connsiteX45" fmla="*/ 5540538 w 7401213"/>
              <a:gd name="connsiteY45" fmla="*/ 4145280 h 4320540"/>
              <a:gd name="connsiteX46" fmla="*/ 5456718 w 7401213"/>
              <a:gd name="connsiteY46" fmla="*/ 4168140 h 4320540"/>
              <a:gd name="connsiteX47" fmla="*/ 5243358 w 7401213"/>
              <a:gd name="connsiteY47" fmla="*/ 4175760 h 4320540"/>
              <a:gd name="connsiteX48" fmla="*/ 5129058 w 7401213"/>
              <a:gd name="connsiteY48" fmla="*/ 4183380 h 4320540"/>
              <a:gd name="connsiteX49" fmla="*/ 5052858 w 7401213"/>
              <a:gd name="connsiteY49" fmla="*/ 4198620 h 4320540"/>
              <a:gd name="connsiteX50" fmla="*/ 5022378 w 7401213"/>
              <a:gd name="connsiteY50" fmla="*/ 4213860 h 4320540"/>
              <a:gd name="connsiteX51" fmla="*/ 4976658 w 7401213"/>
              <a:gd name="connsiteY51" fmla="*/ 4221480 h 4320540"/>
              <a:gd name="connsiteX52" fmla="*/ 4930938 w 7401213"/>
              <a:gd name="connsiteY52" fmla="*/ 4236720 h 4320540"/>
              <a:gd name="connsiteX53" fmla="*/ 4648998 w 7401213"/>
              <a:gd name="connsiteY53" fmla="*/ 4244340 h 4320540"/>
              <a:gd name="connsiteX54" fmla="*/ 4527078 w 7401213"/>
              <a:gd name="connsiteY54" fmla="*/ 4251960 h 4320540"/>
              <a:gd name="connsiteX55" fmla="*/ 4397538 w 7401213"/>
              <a:gd name="connsiteY55" fmla="*/ 4267200 h 4320540"/>
              <a:gd name="connsiteX56" fmla="*/ 3978438 w 7401213"/>
              <a:gd name="connsiteY56" fmla="*/ 4289107 h 4320540"/>
              <a:gd name="connsiteX57" fmla="*/ 3688878 w 7401213"/>
              <a:gd name="connsiteY57" fmla="*/ 4267200 h 4320540"/>
              <a:gd name="connsiteX58" fmla="*/ 3650778 w 7401213"/>
              <a:gd name="connsiteY58" fmla="*/ 4198620 h 4320540"/>
              <a:gd name="connsiteX59" fmla="*/ 3643158 w 7401213"/>
              <a:gd name="connsiteY59" fmla="*/ 4130040 h 4320540"/>
              <a:gd name="connsiteX60" fmla="*/ 3627918 w 7401213"/>
              <a:gd name="connsiteY60" fmla="*/ 4099560 h 4320540"/>
              <a:gd name="connsiteX61" fmla="*/ 3597438 w 7401213"/>
              <a:gd name="connsiteY61" fmla="*/ 4023360 h 4320540"/>
              <a:gd name="connsiteX62" fmla="*/ 3612678 w 7401213"/>
              <a:gd name="connsiteY62" fmla="*/ 3718560 h 4320540"/>
              <a:gd name="connsiteX63" fmla="*/ 3620298 w 7401213"/>
              <a:gd name="connsiteY63" fmla="*/ 3627120 h 4320540"/>
              <a:gd name="connsiteX64" fmla="*/ 3612678 w 7401213"/>
              <a:gd name="connsiteY64" fmla="*/ 3284220 h 4320540"/>
              <a:gd name="connsiteX65" fmla="*/ 3597438 w 7401213"/>
              <a:gd name="connsiteY65" fmla="*/ 3215640 h 4320540"/>
              <a:gd name="connsiteX66" fmla="*/ 3490758 w 7401213"/>
              <a:gd name="connsiteY66" fmla="*/ 3055620 h 4320540"/>
              <a:gd name="connsiteX67" fmla="*/ 3399318 w 7401213"/>
              <a:gd name="connsiteY67" fmla="*/ 2933700 h 4320540"/>
              <a:gd name="connsiteX68" fmla="*/ 3345978 w 7401213"/>
              <a:gd name="connsiteY68" fmla="*/ 2819400 h 4320540"/>
              <a:gd name="connsiteX69" fmla="*/ 3330738 w 7401213"/>
              <a:gd name="connsiteY69" fmla="*/ 2727960 h 4320540"/>
              <a:gd name="connsiteX70" fmla="*/ 3277398 w 7401213"/>
              <a:gd name="connsiteY70" fmla="*/ 2537460 h 4320540"/>
              <a:gd name="connsiteX71" fmla="*/ 3285018 w 7401213"/>
              <a:gd name="connsiteY71" fmla="*/ 1958340 h 4320540"/>
              <a:gd name="connsiteX72" fmla="*/ 3277398 w 7401213"/>
              <a:gd name="connsiteY72" fmla="*/ 1592580 h 4320540"/>
              <a:gd name="connsiteX73" fmla="*/ 3262158 w 7401213"/>
              <a:gd name="connsiteY73" fmla="*/ 1546860 h 4320540"/>
              <a:gd name="connsiteX74" fmla="*/ 3231678 w 7401213"/>
              <a:gd name="connsiteY74" fmla="*/ 1409700 h 4320540"/>
              <a:gd name="connsiteX75" fmla="*/ 3185958 w 7401213"/>
              <a:gd name="connsiteY75" fmla="*/ 1280160 h 4320540"/>
              <a:gd name="connsiteX76" fmla="*/ 3140238 w 7401213"/>
              <a:gd name="connsiteY76" fmla="*/ 792480 h 4320540"/>
              <a:gd name="connsiteX77" fmla="*/ 3086898 w 7401213"/>
              <a:gd name="connsiteY77" fmla="*/ 655320 h 4320540"/>
              <a:gd name="connsiteX78" fmla="*/ 3064038 w 7401213"/>
              <a:gd name="connsiteY78" fmla="*/ 548640 h 4320540"/>
              <a:gd name="connsiteX79" fmla="*/ 3003078 w 7401213"/>
              <a:gd name="connsiteY79" fmla="*/ 152400 h 4320540"/>
              <a:gd name="connsiteX80" fmla="*/ 2789718 w 7401213"/>
              <a:gd name="connsiteY80" fmla="*/ 60960 h 4320540"/>
              <a:gd name="connsiteX81" fmla="*/ 2644938 w 7401213"/>
              <a:gd name="connsiteY81" fmla="*/ 30480 h 4320540"/>
              <a:gd name="connsiteX82" fmla="*/ 2583978 w 7401213"/>
              <a:gd name="connsiteY82" fmla="*/ 38100 h 4320540"/>
              <a:gd name="connsiteX83" fmla="*/ 2538258 w 7401213"/>
              <a:gd name="connsiteY83" fmla="*/ 68580 h 4320540"/>
              <a:gd name="connsiteX84" fmla="*/ 2462058 w 7401213"/>
              <a:gd name="connsiteY84" fmla="*/ 91440 h 4320540"/>
              <a:gd name="connsiteX85" fmla="*/ 2142018 w 7401213"/>
              <a:gd name="connsiteY85" fmla="*/ 53340 h 4320540"/>
              <a:gd name="connsiteX86" fmla="*/ 1646718 w 7401213"/>
              <a:gd name="connsiteY86" fmla="*/ 45720 h 4320540"/>
              <a:gd name="connsiteX87" fmla="*/ 1585758 w 7401213"/>
              <a:gd name="connsiteY87" fmla="*/ 38100 h 4320540"/>
              <a:gd name="connsiteX88" fmla="*/ 1410498 w 7401213"/>
              <a:gd name="connsiteY88" fmla="*/ 22860 h 4320540"/>
              <a:gd name="connsiteX89" fmla="*/ 1311438 w 7401213"/>
              <a:gd name="connsiteY89" fmla="*/ 0 h 4320540"/>
              <a:gd name="connsiteX90" fmla="*/ 1098078 w 7401213"/>
              <a:gd name="connsiteY90" fmla="*/ 15240 h 4320540"/>
              <a:gd name="connsiteX91" fmla="*/ 1052358 w 7401213"/>
              <a:gd name="connsiteY91" fmla="*/ 30480 h 4320540"/>
              <a:gd name="connsiteX92" fmla="*/ 968538 w 7401213"/>
              <a:gd name="connsiteY92" fmla="*/ 60960 h 4320540"/>
              <a:gd name="connsiteX93" fmla="*/ 899958 w 7401213"/>
              <a:gd name="connsiteY93" fmla="*/ 76200 h 4320540"/>
              <a:gd name="connsiteX94" fmla="*/ 762798 w 7401213"/>
              <a:gd name="connsiteY94" fmla="*/ 106680 h 4320540"/>
              <a:gd name="connsiteX95" fmla="*/ 709458 w 7401213"/>
              <a:gd name="connsiteY95" fmla="*/ 121920 h 4320540"/>
              <a:gd name="connsiteX96" fmla="*/ 648498 w 7401213"/>
              <a:gd name="connsiteY96" fmla="*/ 137160 h 4320540"/>
              <a:gd name="connsiteX97" fmla="*/ 602778 w 7401213"/>
              <a:gd name="connsiteY97" fmla="*/ 152400 h 4320540"/>
              <a:gd name="connsiteX98" fmla="*/ 503718 w 7401213"/>
              <a:gd name="connsiteY98" fmla="*/ 205740 h 4320540"/>
              <a:gd name="connsiteX99" fmla="*/ 473238 w 7401213"/>
              <a:gd name="connsiteY99" fmla="*/ 236220 h 4320540"/>
              <a:gd name="connsiteX100" fmla="*/ 244638 w 7401213"/>
              <a:gd name="connsiteY100" fmla="*/ 411480 h 4320540"/>
              <a:gd name="connsiteX101" fmla="*/ 115098 w 7401213"/>
              <a:gd name="connsiteY101" fmla="*/ 662940 h 4320540"/>
              <a:gd name="connsiteX102" fmla="*/ 8418 w 7401213"/>
              <a:gd name="connsiteY102" fmla="*/ 1028700 h 4320540"/>
              <a:gd name="connsiteX103" fmla="*/ 798 w 7401213"/>
              <a:gd name="connsiteY103" fmla="*/ 1188720 h 4320540"/>
              <a:gd name="connsiteX104" fmla="*/ 107478 w 7401213"/>
              <a:gd name="connsiteY104" fmla="*/ 1866900 h 4320540"/>
              <a:gd name="connsiteX105" fmla="*/ 358938 w 7401213"/>
              <a:gd name="connsiteY105" fmla="*/ 2506980 h 4320540"/>
              <a:gd name="connsiteX106" fmla="*/ 587538 w 7401213"/>
              <a:gd name="connsiteY106" fmla="*/ 3078480 h 4320540"/>
              <a:gd name="connsiteX107" fmla="*/ 755178 w 7401213"/>
              <a:gd name="connsiteY107" fmla="*/ 3436620 h 4320540"/>
              <a:gd name="connsiteX108" fmla="*/ 877098 w 7401213"/>
              <a:gd name="connsiteY108" fmla="*/ 3657600 h 4320540"/>
              <a:gd name="connsiteX109" fmla="*/ 976158 w 7401213"/>
              <a:gd name="connsiteY109" fmla="*/ 3764280 h 4320540"/>
              <a:gd name="connsiteX110" fmla="*/ 1235238 w 7401213"/>
              <a:gd name="connsiteY110" fmla="*/ 3939540 h 4320540"/>
              <a:gd name="connsiteX111" fmla="*/ 1494318 w 7401213"/>
              <a:gd name="connsiteY111" fmla="*/ 3985260 h 4320540"/>
              <a:gd name="connsiteX112" fmla="*/ 1745778 w 7401213"/>
              <a:gd name="connsiteY112" fmla="*/ 4000500 h 4320540"/>
              <a:gd name="connsiteX113" fmla="*/ 1966758 w 7401213"/>
              <a:gd name="connsiteY113" fmla="*/ 4114800 h 4320540"/>
              <a:gd name="connsiteX114" fmla="*/ 2081058 w 7401213"/>
              <a:gd name="connsiteY114" fmla="*/ 4175760 h 4320540"/>
              <a:gd name="connsiteX115" fmla="*/ 2134398 w 7401213"/>
              <a:gd name="connsiteY115" fmla="*/ 4183380 h 4320540"/>
              <a:gd name="connsiteX116" fmla="*/ 2576358 w 7401213"/>
              <a:gd name="connsiteY116" fmla="*/ 4160520 h 4320540"/>
              <a:gd name="connsiteX117" fmla="*/ 3170718 w 7401213"/>
              <a:gd name="connsiteY117" fmla="*/ 4183380 h 4320540"/>
              <a:gd name="connsiteX118" fmla="*/ 3285018 w 7401213"/>
              <a:gd name="connsiteY118" fmla="*/ 4206240 h 4320540"/>
              <a:gd name="connsiteX119" fmla="*/ 3376458 w 7401213"/>
              <a:gd name="connsiteY119" fmla="*/ 4236720 h 4320540"/>
              <a:gd name="connsiteX120" fmla="*/ 3452658 w 7401213"/>
              <a:gd name="connsiteY120" fmla="*/ 4251960 h 4320540"/>
              <a:gd name="connsiteX121" fmla="*/ 3490758 w 7401213"/>
              <a:gd name="connsiteY121" fmla="*/ 4267200 h 4320540"/>
              <a:gd name="connsiteX122" fmla="*/ 3605058 w 7401213"/>
              <a:gd name="connsiteY122" fmla="*/ 4274820 h 4320540"/>
              <a:gd name="connsiteX123" fmla="*/ 3643158 w 7401213"/>
              <a:gd name="connsiteY123" fmla="*/ 4282440 h 4320540"/>
              <a:gd name="connsiteX124" fmla="*/ 3909858 w 7401213"/>
              <a:gd name="connsiteY124" fmla="*/ 4313873 h 4320540"/>
              <a:gd name="connsiteX125" fmla="*/ 3986058 w 7401213"/>
              <a:gd name="connsiteY125" fmla="*/ 4320540 h 4320540"/>
              <a:gd name="connsiteX126" fmla="*/ 4053686 w 7401213"/>
              <a:gd name="connsiteY126" fmla="*/ 4313873 h 4320540"/>
              <a:gd name="connsiteX127" fmla="*/ 4085118 w 7401213"/>
              <a:gd name="connsiteY127" fmla="*/ 4312920 h 4320540"/>
              <a:gd name="connsiteX128" fmla="*/ 4138458 w 7401213"/>
              <a:gd name="connsiteY128" fmla="*/ 4274820 h 4320540"/>
              <a:gd name="connsiteX129" fmla="*/ 4168938 w 7401213"/>
              <a:gd name="connsiteY129" fmla="*/ 4267200 h 4320540"/>
              <a:gd name="connsiteX130" fmla="*/ 4328958 w 7401213"/>
              <a:gd name="connsiteY130" fmla="*/ 4259580 h 4320540"/>
              <a:gd name="connsiteX131" fmla="*/ 4877598 w 7401213"/>
              <a:gd name="connsiteY131" fmla="*/ 4244340 h 4320540"/>
              <a:gd name="connsiteX132" fmla="*/ 4930938 w 7401213"/>
              <a:gd name="connsiteY132" fmla="*/ 4236720 h 4320540"/>
              <a:gd name="connsiteX133" fmla="*/ 4953798 w 7401213"/>
              <a:gd name="connsiteY133" fmla="*/ 4229100 h 4320540"/>
              <a:gd name="connsiteX134" fmla="*/ 5014758 w 7401213"/>
              <a:gd name="connsiteY134" fmla="*/ 4206240 h 4320540"/>
              <a:gd name="connsiteX135" fmla="*/ 5190018 w 7401213"/>
              <a:gd name="connsiteY135" fmla="*/ 4145280 h 4320540"/>
              <a:gd name="connsiteX136" fmla="*/ 5593878 w 7401213"/>
              <a:gd name="connsiteY136" fmla="*/ 4122420 h 4320540"/>
              <a:gd name="connsiteX137" fmla="*/ 5631978 w 7401213"/>
              <a:gd name="connsiteY137" fmla="*/ 4107180 h 4320540"/>
              <a:gd name="connsiteX138" fmla="*/ 5654838 w 7401213"/>
              <a:gd name="connsiteY138" fmla="*/ 4091940 h 4320540"/>
              <a:gd name="connsiteX139" fmla="*/ 5952018 w 7401213"/>
              <a:gd name="connsiteY139" fmla="*/ 3985260 h 4320540"/>
              <a:gd name="connsiteX140" fmla="*/ 6355878 w 7401213"/>
              <a:gd name="connsiteY140" fmla="*/ 3840480 h 4320540"/>
              <a:gd name="connsiteX141" fmla="*/ 6889278 w 7401213"/>
              <a:gd name="connsiteY141" fmla="*/ 3474720 h 4320540"/>
              <a:gd name="connsiteX142" fmla="*/ 7125498 w 7401213"/>
              <a:gd name="connsiteY142" fmla="*/ 3230880 h 4320540"/>
              <a:gd name="connsiteX143" fmla="*/ 7399818 w 7401213"/>
              <a:gd name="connsiteY143" fmla="*/ 2438400 h 4320540"/>
              <a:gd name="connsiteX144" fmla="*/ 7361718 w 7401213"/>
              <a:gd name="connsiteY144" fmla="*/ 1790700 h 4320540"/>
              <a:gd name="connsiteX145" fmla="*/ 7247418 w 7401213"/>
              <a:gd name="connsiteY145" fmla="*/ 1249680 h 4320540"/>
              <a:gd name="connsiteX146" fmla="*/ 7178838 w 7401213"/>
              <a:gd name="connsiteY146" fmla="*/ 899160 h 4320540"/>
              <a:gd name="connsiteX147" fmla="*/ 7163598 w 7401213"/>
              <a:gd name="connsiteY147" fmla="*/ 701040 h 4320540"/>
              <a:gd name="connsiteX148" fmla="*/ 7148358 w 7401213"/>
              <a:gd name="connsiteY148" fmla="*/ 396240 h 4320540"/>
              <a:gd name="connsiteX149" fmla="*/ 7072158 w 7401213"/>
              <a:gd name="connsiteY149" fmla="*/ 205740 h 4320540"/>
              <a:gd name="connsiteX150" fmla="*/ 7018818 w 7401213"/>
              <a:gd name="connsiteY150" fmla="*/ 99060 h 4320540"/>
              <a:gd name="connsiteX151" fmla="*/ 6767358 w 7401213"/>
              <a:gd name="connsiteY151" fmla="*/ 22860 h 4320540"/>
              <a:gd name="connsiteX152" fmla="*/ 6614958 w 7401213"/>
              <a:gd name="connsiteY152" fmla="*/ 45720 h 4320540"/>
              <a:gd name="connsiteX153" fmla="*/ 6592098 w 7401213"/>
              <a:gd name="connsiteY153" fmla="*/ 68580 h 4320540"/>
              <a:gd name="connsiteX154" fmla="*/ 6546378 w 7401213"/>
              <a:gd name="connsiteY154" fmla="*/ 83820 h 4320540"/>
              <a:gd name="connsiteX155" fmla="*/ 6447318 w 7401213"/>
              <a:gd name="connsiteY155" fmla="*/ 76200 h 4320540"/>
              <a:gd name="connsiteX156" fmla="*/ 6371118 w 7401213"/>
              <a:gd name="connsiteY156" fmla="*/ 68580 h 4320540"/>
              <a:gd name="connsiteX157" fmla="*/ 5921538 w 7401213"/>
              <a:gd name="connsiteY157" fmla="*/ 60960 h 4320540"/>
              <a:gd name="connsiteX158" fmla="*/ 5311938 w 7401213"/>
              <a:gd name="connsiteY158" fmla="*/ 38100 h 4320540"/>
              <a:gd name="connsiteX159" fmla="*/ 5266218 w 7401213"/>
              <a:gd name="connsiteY159" fmla="*/ 30480 h 4320540"/>
              <a:gd name="connsiteX160" fmla="*/ 5151918 w 7401213"/>
              <a:gd name="connsiteY160" fmla="*/ 22860 h 4320540"/>
              <a:gd name="connsiteX161" fmla="*/ 4847118 w 7401213"/>
              <a:gd name="connsiteY161" fmla="*/ 30480 h 4320540"/>
              <a:gd name="connsiteX162" fmla="*/ 4793778 w 7401213"/>
              <a:gd name="connsiteY162" fmla="*/ 38100 h 4320540"/>
              <a:gd name="connsiteX163" fmla="*/ 4732818 w 7401213"/>
              <a:gd name="connsiteY163" fmla="*/ 53340 h 4320540"/>
              <a:gd name="connsiteX164" fmla="*/ 4687098 w 7401213"/>
              <a:gd name="connsiteY164" fmla="*/ 76200 h 4320540"/>
              <a:gd name="connsiteX165" fmla="*/ 4664238 w 7401213"/>
              <a:gd name="connsiteY165" fmla="*/ 91440 h 4320540"/>
              <a:gd name="connsiteX166" fmla="*/ 4671858 w 7401213"/>
              <a:gd name="connsiteY166" fmla="*/ 76200 h 4320540"/>
              <a:gd name="connsiteX0" fmla="*/ 4671858 w 7401213"/>
              <a:gd name="connsiteY0" fmla="*/ 76200 h 4320540"/>
              <a:gd name="connsiteX1" fmla="*/ 4671858 w 7401213"/>
              <a:gd name="connsiteY1" fmla="*/ 76200 h 4320540"/>
              <a:gd name="connsiteX2" fmla="*/ 4664238 w 7401213"/>
              <a:gd name="connsiteY2" fmla="*/ 396240 h 4320540"/>
              <a:gd name="connsiteX3" fmla="*/ 4648998 w 7401213"/>
              <a:gd name="connsiteY3" fmla="*/ 495300 h 4320540"/>
              <a:gd name="connsiteX4" fmla="*/ 4641378 w 7401213"/>
              <a:gd name="connsiteY4" fmla="*/ 670560 h 4320540"/>
              <a:gd name="connsiteX5" fmla="*/ 4626138 w 7401213"/>
              <a:gd name="connsiteY5" fmla="*/ 807720 h 4320540"/>
              <a:gd name="connsiteX6" fmla="*/ 4648998 w 7401213"/>
              <a:gd name="connsiteY6" fmla="*/ 944880 h 4320540"/>
              <a:gd name="connsiteX7" fmla="*/ 4664238 w 7401213"/>
              <a:gd name="connsiteY7" fmla="*/ 967740 h 4320540"/>
              <a:gd name="connsiteX8" fmla="*/ 4801398 w 7401213"/>
              <a:gd name="connsiteY8" fmla="*/ 1181100 h 4320540"/>
              <a:gd name="connsiteX9" fmla="*/ 4809018 w 7401213"/>
              <a:gd name="connsiteY9" fmla="*/ 1203960 h 4320540"/>
              <a:gd name="connsiteX10" fmla="*/ 4847118 w 7401213"/>
              <a:gd name="connsiteY10" fmla="*/ 1592580 h 4320540"/>
              <a:gd name="connsiteX11" fmla="*/ 4862358 w 7401213"/>
              <a:gd name="connsiteY11" fmla="*/ 1623060 h 4320540"/>
              <a:gd name="connsiteX12" fmla="*/ 4877598 w 7401213"/>
              <a:gd name="connsiteY12" fmla="*/ 1661160 h 4320540"/>
              <a:gd name="connsiteX13" fmla="*/ 4900458 w 7401213"/>
              <a:gd name="connsiteY13" fmla="*/ 1691640 h 4320540"/>
              <a:gd name="connsiteX14" fmla="*/ 4961418 w 7401213"/>
              <a:gd name="connsiteY14" fmla="*/ 1798320 h 4320540"/>
              <a:gd name="connsiteX15" fmla="*/ 4969038 w 7401213"/>
              <a:gd name="connsiteY15" fmla="*/ 1828800 h 4320540"/>
              <a:gd name="connsiteX16" fmla="*/ 5014758 w 7401213"/>
              <a:gd name="connsiteY16" fmla="*/ 1889760 h 4320540"/>
              <a:gd name="connsiteX17" fmla="*/ 5022378 w 7401213"/>
              <a:gd name="connsiteY17" fmla="*/ 1912620 h 4320540"/>
              <a:gd name="connsiteX18" fmla="*/ 5052858 w 7401213"/>
              <a:gd name="connsiteY18" fmla="*/ 1965960 h 4320540"/>
              <a:gd name="connsiteX19" fmla="*/ 5075718 w 7401213"/>
              <a:gd name="connsiteY19" fmla="*/ 2049780 h 4320540"/>
              <a:gd name="connsiteX20" fmla="*/ 5083338 w 7401213"/>
              <a:gd name="connsiteY20" fmla="*/ 2110740 h 4320540"/>
              <a:gd name="connsiteX21" fmla="*/ 5098578 w 7401213"/>
              <a:gd name="connsiteY21" fmla="*/ 2148840 h 4320540"/>
              <a:gd name="connsiteX22" fmla="*/ 5136678 w 7401213"/>
              <a:gd name="connsiteY22" fmla="*/ 2202180 h 4320540"/>
              <a:gd name="connsiteX23" fmla="*/ 5182398 w 7401213"/>
              <a:gd name="connsiteY23" fmla="*/ 2232660 h 4320540"/>
              <a:gd name="connsiteX24" fmla="*/ 5311938 w 7401213"/>
              <a:gd name="connsiteY24" fmla="*/ 2237423 h 4320540"/>
              <a:gd name="connsiteX25" fmla="*/ 5449098 w 7401213"/>
              <a:gd name="connsiteY25" fmla="*/ 2293620 h 4320540"/>
              <a:gd name="connsiteX26" fmla="*/ 5510058 w 7401213"/>
              <a:gd name="connsiteY26" fmla="*/ 2324100 h 4320540"/>
              <a:gd name="connsiteX27" fmla="*/ 5525298 w 7401213"/>
              <a:gd name="connsiteY27" fmla="*/ 2362200 h 4320540"/>
              <a:gd name="connsiteX28" fmla="*/ 5548158 w 7401213"/>
              <a:gd name="connsiteY28" fmla="*/ 2392680 h 4320540"/>
              <a:gd name="connsiteX29" fmla="*/ 5578638 w 7401213"/>
              <a:gd name="connsiteY29" fmla="*/ 2446020 h 4320540"/>
              <a:gd name="connsiteX30" fmla="*/ 5601498 w 7401213"/>
              <a:gd name="connsiteY30" fmla="*/ 2491740 h 4320540"/>
              <a:gd name="connsiteX31" fmla="*/ 5631978 w 7401213"/>
              <a:gd name="connsiteY31" fmla="*/ 2560320 h 4320540"/>
              <a:gd name="connsiteX32" fmla="*/ 5654838 w 7401213"/>
              <a:gd name="connsiteY32" fmla="*/ 2735580 h 4320540"/>
              <a:gd name="connsiteX33" fmla="*/ 5662458 w 7401213"/>
              <a:gd name="connsiteY33" fmla="*/ 2971800 h 4320540"/>
              <a:gd name="connsiteX34" fmla="*/ 5715798 w 7401213"/>
              <a:gd name="connsiteY34" fmla="*/ 3208020 h 4320540"/>
              <a:gd name="connsiteX35" fmla="*/ 5761518 w 7401213"/>
              <a:gd name="connsiteY35" fmla="*/ 3337560 h 4320540"/>
              <a:gd name="connsiteX36" fmla="*/ 5769138 w 7401213"/>
              <a:gd name="connsiteY36" fmla="*/ 3375660 h 4320540"/>
              <a:gd name="connsiteX37" fmla="*/ 5776758 w 7401213"/>
              <a:gd name="connsiteY37" fmla="*/ 3429000 h 4320540"/>
              <a:gd name="connsiteX38" fmla="*/ 5807238 w 7401213"/>
              <a:gd name="connsiteY38" fmla="*/ 3566160 h 4320540"/>
              <a:gd name="connsiteX39" fmla="*/ 5791998 w 7401213"/>
              <a:gd name="connsiteY39" fmla="*/ 3909060 h 4320540"/>
              <a:gd name="connsiteX40" fmla="*/ 5738658 w 7401213"/>
              <a:gd name="connsiteY40" fmla="*/ 4000500 h 4320540"/>
              <a:gd name="connsiteX41" fmla="*/ 5731038 w 7401213"/>
              <a:gd name="connsiteY41" fmla="*/ 4023360 h 4320540"/>
              <a:gd name="connsiteX42" fmla="*/ 5654838 w 7401213"/>
              <a:gd name="connsiteY42" fmla="*/ 4107180 h 4320540"/>
              <a:gd name="connsiteX43" fmla="*/ 5616738 w 7401213"/>
              <a:gd name="connsiteY43" fmla="*/ 4122420 h 4320540"/>
              <a:gd name="connsiteX44" fmla="*/ 5593878 w 7401213"/>
              <a:gd name="connsiteY44" fmla="*/ 4137660 h 4320540"/>
              <a:gd name="connsiteX45" fmla="*/ 5540538 w 7401213"/>
              <a:gd name="connsiteY45" fmla="*/ 4145280 h 4320540"/>
              <a:gd name="connsiteX46" fmla="*/ 5456718 w 7401213"/>
              <a:gd name="connsiteY46" fmla="*/ 4168140 h 4320540"/>
              <a:gd name="connsiteX47" fmla="*/ 5243358 w 7401213"/>
              <a:gd name="connsiteY47" fmla="*/ 4175760 h 4320540"/>
              <a:gd name="connsiteX48" fmla="*/ 5129058 w 7401213"/>
              <a:gd name="connsiteY48" fmla="*/ 4183380 h 4320540"/>
              <a:gd name="connsiteX49" fmla="*/ 5052858 w 7401213"/>
              <a:gd name="connsiteY49" fmla="*/ 4198620 h 4320540"/>
              <a:gd name="connsiteX50" fmla="*/ 5022378 w 7401213"/>
              <a:gd name="connsiteY50" fmla="*/ 4213860 h 4320540"/>
              <a:gd name="connsiteX51" fmla="*/ 4976658 w 7401213"/>
              <a:gd name="connsiteY51" fmla="*/ 4221480 h 4320540"/>
              <a:gd name="connsiteX52" fmla="*/ 4930938 w 7401213"/>
              <a:gd name="connsiteY52" fmla="*/ 4236720 h 4320540"/>
              <a:gd name="connsiteX53" fmla="*/ 4648998 w 7401213"/>
              <a:gd name="connsiteY53" fmla="*/ 4244340 h 4320540"/>
              <a:gd name="connsiteX54" fmla="*/ 4527078 w 7401213"/>
              <a:gd name="connsiteY54" fmla="*/ 4251960 h 4320540"/>
              <a:gd name="connsiteX55" fmla="*/ 4397538 w 7401213"/>
              <a:gd name="connsiteY55" fmla="*/ 4267200 h 4320540"/>
              <a:gd name="connsiteX56" fmla="*/ 3978438 w 7401213"/>
              <a:gd name="connsiteY56" fmla="*/ 4289107 h 4320540"/>
              <a:gd name="connsiteX57" fmla="*/ 3688878 w 7401213"/>
              <a:gd name="connsiteY57" fmla="*/ 4267200 h 4320540"/>
              <a:gd name="connsiteX58" fmla="*/ 3650778 w 7401213"/>
              <a:gd name="connsiteY58" fmla="*/ 4198620 h 4320540"/>
              <a:gd name="connsiteX59" fmla="*/ 3643158 w 7401213"/>
              <a:gd name="connsiteY59" fmla="*/ 4130040 h 4320540"/>
              <a:gd name="connsiteX60" fmla="*/ 3627918 w 7401213"/>
              <a:gd name="connsiteY60" fmla="*/ 4099560 h 4320540"/>
              <a:gd name="connsiteX61" fmla="*/ 3597438 w 7401213"/>
              <a:gd name="connsiteY61" fmla="*/ 4023360 h 4320540"/>
              <a:gd name="connsiteX62" fmla="*/ 3612678 w 7401213"/>
              <a:gd name="connsiteY62" fmla="*/ 3718560 h 4320540"/>
              <a:gd name="connsiteX63" fmla="*/ 3620298 w 7401213"/>
              <a:gd name="connsiteY63" fmla="*/ 3627120 h 4320540"/>
              <a:gd name="connsiteX64" fmla="*/ 3612678 w 7401213"/>
              <a:gd name="connsiteY64" fmla="*/ 3284220 h 4320540"/>
              <a:gd name="connsiteX65" fmla="*/ 3597438 w 7401213"/>
              <a:gd name="connsiteY65" fmla="*/ 3215640 h 4320540"/>
              <a:gd name="connsiteX66" fmla="*/ 3490758 w 7401213"/>
              <a:gd name="connsiteY66" fmla="*/ 3055620 h 4320540"/>
              <a:gd name="connsiteX67" fmla="*/ 3399318 w 7401213"/>
              <a:gd name="connsiteY67" fmla="*/ 2933700 h 4320540"/>
              <a:gd name="connsiteX68" fmla="*/ 3345978 w 7401213"/>
              <a:gd name="connsiteY68" fmla="*/ 2819400 h 4320540"/>
              <a:gd name="connsiteX69" fmla="*/ 3330738 w 7401213"/>
              <a:gd name="connsiteY69" fmla="*/ 2727960 h 4320540"/>
              <a:gd name="connsiteX70" fmla="*/ 3277398 w 7401213"/>
              <a:gd name="connsiteY70" fmla="*/ 2537460 h 4320540"/>
              <a:gd name="connsiteX71" fmla="*/ 3285018 w 7401213"/>
              <a:gd name="connsiteY71" fmla="*/ 1958340 h 4320540"/>
              <a:gd name="connsiteX72" fmla="*/ 3277398 w 7401213"/>
              <a:gd name="connsiteY72" fmla="*/ 1592580 h 4320540"/>
              <a:gd name="connsiteX73" fmla="*/ 3262158 w 7401213"/>
              <a:gd name="connsiteY73" fmla="*/ 1546860 h 4320540"/>
              <a:gd name="connsiteX74" fmla="*/ 3231678 w 7401213"/>
              <a:gd name="connsiteY74" fmla="*/ 1409700 h 4320540"/>
              <a:gd name="connsiteX75" fmla="*/ 3185958 w 7401213"/>
              <a:gd name="connsiteY75" fmla="*/ 1280160 h 4320540"/>
              <a:gd name="connsiteX76" fmla="*/ 3140238 w 7401213"/>
              <a:gd name="connsiteY76" fmla="*/ 792480 h 4320540"/>
              <a:gd name="connsiteX77" fmla="*/ 3086898 w 7401213"/>
              <a:gd name="connsiteY77" fmla="*/ 655320 h 4320540"/>
              <a:gd name="connsiteX78" fmla="*/ 3064038 w 7401213"/>
              <a:gd name="connsiteY78" fmla="*/ 548640 h 4320540"/>
              <a:gd name="connsiteX79" fmla="*/ 3003078 w 7401213"/>
              <a:gd name="connsiteY79" fmla="*/ 152400 h 4320540"/>
              <a:gd name="connsiteX80" fmla="*/ 2789718 w 7401213"/>
              <a:gd name="connsiteY80" fmla="*/ 60960 h 4320540"/>
              <a:gd name="connsiteX81" fmla="*/ 2644938 w 7401213"/>
              <a:gd name="connsiteY81" fmla="*/ 30480 h 4320540"/>
              <a:gd name="connsiteX82" fmla="*/ 2583978 w 7401213"/>
              <a:gd name="connsiteY82" fmla="*/ 38100 h 4320540"/>
              <a:gd name="connsiteX83" fmla="*/ 2538258 w 7401213"/>
              <a:gd name="connsiteY83" fmla="*/ 68580 h 4320540"/>
              <a:gd name="connsiteX84" fmla="*/ 2462058 w 7401213"/>
              <a:gd name="connsiteY84" fmla="*/ 91440 h 4320540"/>
              <a:gd name="connsiteX85" fmla="*/ 2142018 w 7401213"/>
              <a:gd name="connsiteY85" fmla="*/ 53340 h 4320540"/>
              <a:gd name="connsiteX86" fmla="*/ 1646718 w 7401213"/>
              <a:gd name="connsiteY86" fmla="*/ 45720 h 4320540"/>
              <a:gd name="connsiteX87" fmla="*/ 1585758 w 7401213"/>
              <a:gd name="connsiteY87" fmla="*/ 38100 h 4320540"/>
              <a:gd name="connsiteX88" fmla="*/ 1410498 w 7401213"/>
              <a:gd name="connsiteY88" fmla="*/ 22860 h 4320540"/>
              <a:gd name="connsiteX89" fmla="*/ 1311438 w 7401213"/>
              <a:gd name="connsiteY89" fmla="*/ 0 h 4320540"/>
              <a:gd name="connsiteX90" fmla="*/ 1098078 w 7401213"/>
              <a:gd name="connsiteY90" fmla="*/ 15240 h 4320540"/>
              <a:gd name="connsiteX91" fmla="*/ 1052358 w 7401213"/>
              <a:gd name="connsiteY91" fmla="*/ 30480 h 4320540"/>
              <a:gd name="connsiteX92" fmla="*/ 968538 w 7401213"/>
              <a:gd name="connsiteY92" fmla="*/ 60960 h 4320540"/>
              <a:gd name="connsiteX93" fmla="*/ 899958 w 7401213"/>
              <a:gd name="connsiteY93" fmla="*/ 76200 h 4320540"/>
              <a:gd name="connsiteX94" fmla="*/ 762798 w 7401213"/>
              <a:gd name="connsiteY94" fmla="*/ 106680 h 4320540"/>
              <a:gd name="connsiteX95" fmla="*/ 709458 w 7401213"/>
              <a:gd name="connsiteY95" fmla="*/ 121920 h 4320540"/>
              <a:gd name="connsiteX96" fmla="*/ 648498 w 7401213"/>
              <a:gd name="connsiteY96" fmla="*/ 137160 h 4320540"/>
              <a:gd name="connsiteX97" fmla="*/ 602778 w 7401213"/>
              <a:gd name="connsiteY97" fmla="*/ 152400 h 4320540"/>
              <a:gd name="connsiteX98" fmla="*/ 503718 w 7401213"/>
              <a:gd name="connsiteY98" fmla="*/ 205740 h 4320540"/>
              <a:gd name="connsiteX99" fmla="*/ 473238 w 7401213"/>
              <a:gd name="connsiteY99" fmla="*/ 236220 h 4320540"/>
              <a:gd name="connsiteX100" fmla="*/ 244638 w 7401213"/>
              <a:gd name="connsiteY100" fmla="*/ 411480 h 4320540"/>
              <a:gd name="connsiteX101" fmla="*/ 115098 w 7401213"/>
              <a:gd name="connsiteY101" fmla="*/ 662940 h 4320540"/>
              <a:gd name="connsiteX102" fmla="*/ 8418 w 7401213"/>
              <a:gd name="connsiteY102" fmla="*/ 1028700 h 4320540"/>
              <a:gd name="connsiteX103" fmla="*/ 798 w 7401213"/>
              <a:gd name="connsiteY103" fmla="*/ 1188720 h 4320540"/>
              <a:gd name="connsiteX104" fmla="*/ 107478 w 7401213"/>
              <a:gd name="connsiteY104" fmla="*/ 1866900 h 4320540"/>
              <a:gd name="connsiteX105" fmla="*/ 358938 w 7401213"/>
              <a:gd name="connsiteY105" fmla="*/ 2506980 h 4320540"/>
              <a:gd name="connsiteX106" fmla="*/ 587538 w 7401213"/>
              <a:gd name="connsiteY106" fmla="*/ 3078480 h 4320540"/>
              <a:gd name="connsiteX107" fmla="*/ 755178 w 7401213"/>
              <a:gd name="connsiteY107" fmla="*/ 3436620 h 4320540"/>
              <a:gd name="connsiteX108" fmla="*/ 877098 w 7401213"/>
              <a:gd name="connsiteY108" fmla="*/ 3657600 h 4320540"/>
              <a:gd name="connsiteX109" fmla="*/ 976158 w 7401213"/>
              <a:gd name="connsiteY109" fmla="*/ 3764280 h 4320540"/>
              <a:gd name="connsiteX110" fmla="*/ 1235238 w 7401213"/>
              <a:gd name="connsiteY110" fmla="*/ 3939540 h 4320540"/>
              <a:gd name="connsiteX111" fmla="*/ 1494318 w 7401213"/>
              <a:gd name="connsiteY111" fmla="*/ 3985260 h 4320540"/>
              <a:gd name="connsiteX112" fmla="*/ 1745778 w 7401213"/>
              <a:gd name="connsiteY112" fmla="*/ 4000500 h 4320540"/>
              <a:gd name="connsiteX113" fmla="*/ 1966758 w 7401213"/>
              <a:gd name="connsiteY113" fmla="*/ 4114800 h 4320540"/>
              <a:gd name="connsiteX114" fmla="*/ 2081058 w 7401213"/>
              <a:gd name="connsiteY114" fmla="*/ 4175760 h 4320540"/>
              <a:gd name="connsiteX115" fmla="*/ 2134398 w 7401213"/>
              <a:gd name="connsiteY115" fmla="*/ 4183380 h 4320540"/>
              <a:gd name="connsiteX116" fmla="*/ 2576358 w 7401213"/>
              <a:gd name="connsiteY116" fmla="*/ 4160520 h 4320540"/>
              <a:gd name="connsiteX117" fmla="*/ 3170718 w 7401213"/>
              <a:gd name="connsiteY117" fmla="*/ 4183380 h 4320540"/>
              <a:gd name="connsiteX118" fmla="*/ 3285018 w 7401213"/>
              <a:gd name="connsiteY118" fmla="*/ 4206240 h 4320540"/>
              <a:gd name="connsiteX119" fmla="*/ 3376458 w 7401213"/>
              <a:gd name="connsiteY119" fmla="*/ 4236720 h 4320540"/>
              <a:gd name="connsiteX120" fmla="*/ 3452658 w 7401213"/>
              <a:gd name="connsiteY120" fmla="*/ 4251960 h 4320540"/>
              <a:gd name="connsiteX121" fmla="*/ 3490758 w 7401213"/>
              <a:gd name="connsiteY121" fmla="*/ 4267200 h 4320540"/>
              <a:gd name="connsiteX122" fmla="*/ 3605058 w 7401213"/>
              <a:gd name="connsiteY122" fmla="*/ 4274820 h 4320540"/>
              <a:gd name="connsiteX123" fmla="*/ 3643158 w 7401213"/>
              <a:gd name="connsiteY123" fmla="*/ 4282440 h 4320540"/>
              <a:gd name="connsiteX124" fmla="*/ 3909858 w 7401213"/>
              <a:gd name="connsiteY124" fmla="*/ 4313873 h 4320540"/>
              <a:gd name="connsiteX125" fmla="*/ 3986058 w 7401213"/>
              <a:gd name="connsiteY125" fmla="*/ 4320540 h 4320540"/>
              <a:gd name="connsiteX126" fmla="*/ 4053686 w 7401213"/>
              <a:gd name="connsiteY126" fmla="*/ 4313873 h 4320540"/>
              <a:gd name="connsiteX127" fmla="*/ 4085118 w 7401213"/>
              <a:gd name="connsiteY127" fmla="*/ 4312920 h 4320540"/>
              <a:gd name="connsiteX128" fmla="*/ 4138458 w 7401213"/>
              <a:gd name="connsiteY128" fmla="*/ 4274820 h 4320540"/>
              <a:gd name="connsiteX129" fmla="*/ 4168938 w 7401213"/>
              <a:gd name="connsiteY129" fmla="*/ 4267200 h 4320540"/>
              <a:gd name="connsiteX130" fmla="*/ 4328958 w 7401213"/>
              <a:gd name="connsiteY130" fmla="*/ 4259580 h 4320540"/>
              <a:gd name="connsiteX131" fmla="*/ 4877598 w 7401213"/>
              <a:gd name="connsiteY131" fmla="*/ 4244340 h 4320540"/>
              <a:gd name="connsiteX132" fmla="*/ 4930938 w 7401213"/>
              <a:gd name="connsiteY132" fmla="*/ 4236720 h 4320540"/>
              <a:gd name="connsiteX133" fmla="*/ 4953798 w 7401213"/>
              <a:gd name="connsiteY133" fmla="*/ 4229100 h 4320540"/>
              <a:gd name="connsiteX134" fmla="*/ 5014758 w 7401213"/>
              <a:gd name="connsiteY134" fmla="*/ 4206240 h 4320540"/>
              <a:gd name="connsiteX135" fmla="*/ 5190018 w 7401213"/>
              <a:gd name="connsiteY135" fmla="*/ 4145280 h 4320540"/>
              <a:gd name="connsiteX136" fmla="*/ 5593878 w 7401213"/>
              <a:gd name="connsiteY136" fmla="*/ 4122420 h 4320540"/>
              <a:gd name="connsiteX137" fmla="*/ 5631978 w 7401213"/>
              <a:gd name="connsiteY137" fmla="*/ 4107180 h 4320540"/>
              <a:gd name="connsiteX138" fmla="*/ 5654838 w 7401213"/>
              <a:gd name="connsiteY138" fmla="*/ 4091940 h 4320540"/>
              <a:gd name="connsiteX139" fmla="*/ 5952018 w 7401213"/>
              <a:gd name="connsiteY139" fmla="*/ 3985260 h 4320540"/>
              <a:gd name="connsiteX140" fmla="*/ 6355878 w 7401213"/>
              <a:gd name="connsiteY140" fmla="*/ 3840480 h 4320540"/>
              <a:gd name="connsiteX141" fmla="*/ 6889278 w 7401213"/>
              <a:gd name="connsiteY141" fmla="*/ 3474720 h 4320540"/>
              <a:gd name="connsiteX142" fmla="*/ 7125498 w 7401213"/>
              <a:gd name="connsiteY142" fmla="*/ 3230880 h 4320540"/>
              <a:gd name="connsiteX143" fmla="*/ 7399818 w 7401213"/>
              <a:gd name="connsiteY143" fmla="*/ 2438400 h 4320540"/>
              <a:gd name="connsiteX144" fmla="*/ 7361718 w 7401213"/>
              <a:gd name="connsiteY144" fmla="*/ 1790700 h 4320540"/>
              <a:gd name="connsiteX145" fmla="*/ 7247418 w 7401213"/>
              <a:gd name="connsiteY145" fmla="*/ 1249680 h 4320540"/>
              <a:gd name="connsiteX146" fmla="*/ 7178838 w 7401213"/>
              <a:gd name="connsiteY146" fmla="*/ 899160 h 4320540"/>
              <a:gd name="connsiteX147" fmla="*/ 7163598 w 7401213"/>
              <a:gd name="connsiteY147" fmla="*/ 701040 h 4320540"/>
              <a:gd name="connsiteX148" fmla="*/ 7148358 w 7401213"/>
              <a:gd name="connsiteY148" fmla="*/ 396240 h 4320540"/>
              <a:gd name="connsiteX149" fmla="*/ 7072158 w 7401213"/>
              <a:gd name="connsiteY149" fmla="*/ 205740 h 4320540"/>
              <a:gd name="connsiteX150" fmla="*/ 7018818 w 7401213"/>
              <a:gd name="connsiteY150" fmla="*/ 99060 h 4320540"/>
              <a:gd name="connsiteX151" fmla="*/ 6767358 w 7401213"/>
              <a:gd name="connsiteY151" fmla="*/ 22860 h 4320540"/>
              <a:gd name="connsiteX152" fmla="*/ 6614958 w 7401213"/>
              <a:gd name="connsiteY152" fmla="*/ 45720 h 4320540"/>
              <a:gd name="connsiteX153" fmla="*/ 6592098 w 7401213"/>
              <a:gd name="connsiteY153" fmla="*/ 68580 h 4320540"/>
              <a:gd name="connsiteX154" fmla="*/ 6546378 w 7401213"/>
              <a:gd name="connsiteY154" fmla="*/ 83820 h 4320540"/>
              <a:gd name="connsiteX155" fmla="*/ 6447318 w 7401213"/>
              <a:gd name="connsiteY155" fmla="*/ 76200 h 4320540"/>
              <a:gd name="connsiteX156" fmla="*/ 6371118 w 7401213"/>
              <a:gd name="connsiteY156" fmla="*/ 68580 h 4320540"/>
              <a:gd name="connsiteX157" fmla="*/ 5921538 w 7401213"/>
              <a:gd name="connsiteY157" fmla="*/ 60960 h 4320540"/>
              <a:gd name="connsiteX158" fmla="*/ 5311938 w 7401213"/>
              <a:gd name="connsiteY158" fmla="*/ 38100 h 4320540"/>
              <a:gd name="connsiteX159" fmla="*/ 5266218 w 7401213"/>
              <a:gd name="connsiteY159" fmla="*/ 30480 h 4320540"/>
              <a:gd name="connsiteX160" fmla="*/ 5151918 w 7401213"/>
              <a:gd name="connsiteY160" fmla="*/ 22860 h 4320540"/>
              <a:gd name="connsiteX161" fmla="*/ 4847118 w 7401213"/>
              <a:gd name="connsiteY161" fmla="*/ 30480 h 4320540"/>
              <a:gd name="connsiteX162" fmla="*/ 4793778 w 7401213"/>
              <a:gd name="connsiteY162" fmla="*/ 38100 h 4320540"/>
              <a:gd name="connsiteX163" fmla="*/ 4732818 w 7401213"/>
              <a:gd name="connsiteY163" fmla="*/ 53340 h 4320540"/>
              <a:gd name="connsiteX164" fmla="*/ 4687098 w 7401213"/>
              <a:gd name="connsiteY164" fmla="*/ 76200 h 4320540"/>
              <a:gd name="connsiteX165" fmla="*/ 4664238 w 7401213"/>
              <a:gd name="connsiteY165" fmla="*/ 91440 h 4320540"/>
              <a:gd name="connsiteX166" fmla="*/ 4671858 w 7401213"/>
              <a:gd name="connsiteY166" fmla="*/ 76200 h 4320540"/>
              <a:gd name="connsiteX0" fmla="*/ 4671858 w 7401213"/>
              <a:gd name="connsiteY0" fmla="*/ 76200 h 4320540"/>
              <a:gd name="connsiteX1" fmla="*/ 4671858 w 7401213"/>
              <a:gd name="connsiteY1" fmla="*/ 76200 h 4320540"/>
              <a:gd name="connsiteX2" fmla="*/ 4664238 w 7401213"/>
              <a:gd name="connsiteY2" fmla="*/ 396240 h 4320540"/>
              <a:gd name="connsiteX3" fmla="*/ 4648998 w 7401213"/>
              <a:gd name="connsiteY3" fmla="*/ 495300 h 4320540"/>
              <a:gd name="connsiteX4" fmla="*/ 4641378 w 7401213"/>
              <a:gd name="connsiteY4" fmla="*/ 670560 h 4320540"/>
              <a:gd name="connsiteX5" fmla="*/ 4626138 w 7401213"/>
              <a:gd name="connsiteY5" fmla="*/ 807720 h 4320540"/>
              <a:gd name="connsiteX6" fmla="*/ 4648998 w 7401213"/>
              <a:gd name="connsiteY6" fmla="*/ 944880 h 4320540"/>
              <a:gd name="connsiteX7" fmla="*/ 4664238 w 7401213"/>
              <a:gd name="connsiteY7" fmla="*/ 967740 h 4320540"/>
              <a:gd name="connsiteX8" fmla="*/ 4801398 w 7401213"/>
              <a:gd name="connsiteY8" fmla="*/ 1181100 h 4320540"/>
              <a:gd name="connsiteX9" fmla="*/ 4809018 w 7401213"/>
              <a:gd name="connsiteY9" fmla="*/ 1203960 h 4320540"/>
              <a:gd name="connsiteX10" fmla="*/ 4847118 w 7401213"/>
              <a:gd name="connsiteY10" fmla="*/ 1592580 h 4320540"/>
              <a:gd name="connsiteX11" fmla="*/ 4862358 w 7401213"/>
              <a:gd name="connsiteY11" fmla="*/ 1623060 h 4320540"/>
              <a:gd name="connsiteX12" fmla="*/ 4877598 w 7401213"/>
              <a:gd name="connsiteY12" fmla="*/ 1661160 h 4320540"/>
              <a:gd name="connsiteX13" fmla="*/ 4900458 w 7401213"/>
              <a:gd name="connsiteY13" fmla="*/ 1691640 h 4320540"/>
              <a:gd name="connsiteX14" fmla="*/ 4961418 w 7401213"/>
              <a:gd name="connsiteY14" fmla="*/ 1798320 h 4320540"/>
              <a:gd name="connsiteX15" fmla="*/ 4969038 w 7401213"/>
              <a:gd name="connsiteY15" fmla="*/ 1828800 h 4320540"/>
              <a:gd name="connsiteX16" fmla="*/ 5014758 w 7401213"/>
              <a:gd name="connsiteY16" fmla="*/ 1889760 h 4320540"/>
              <a:gd name="connsiteX17" fmla="*/ 5022378 w 7401213"/>
              <a:gd name="connsiteY17" fmla="*/ 1912620 h 4320540"/>
              <a:gd name="connsiteX18" fmla="*/ 5052858 w 7401213"/>
              <a:gd name="connsiteY18" fmla="*/ 1965960 h 4320540"/>
              <a:gd name="connsiteX19" fmla="*/ 5013806 w 7401213"/>
              <a:gd name="connsiteY19" fmla="*/ 2111692 h 4320540"/>
              <a:gd name="connsiteX20" fmla="*/ 5083338 w 7401213"/>
              <a:gd name="connsiteY20" fmla="*/ 2110740 h 4320540"/>
              <a:gd name="connsiteX21" fmla="*/ 5098578 w 7401213"/>
              <a:gd name="connsiteY21" fmla="*/ 2148840 h 4320540"/>
              <a:gd name="connsiteX22" fmla="*/ 5136678 w 7401213"/>
              <a:gd name="connsiteY22" fmla="*/ 2202180 h 4320540"/>
              <a:gd name="connsiteX23" fmla="*/ 5182398 w 7401213"/>
              <a:gd name="connsiteY23" fmla="*/ 2232660 h 4320540"/>
              <a:gd name="connsiteX24" fmla="*/ 5311938 w 7401213"/>
              <a:gd name="connsiteY24" fmla="*/ 2237423 h 4320540"/>
              <a:gd name="connsiteX25" fmla="*/ 5449098 w 7401213"/>
              <a:gd name="connsiteY25" fmla="*/ 2293620 h 4320540"/>
              <a:gd name="connsiteX26" fmla="*/ 5510058 w 7401213"/>
              <a:gd name="connsiteY26" fmla="*/ 2324100 h 4320540"/>
              <a:gd name="connsiteX27" fmla="*/ 5525298 w 7401213"/>
              <a:gd name="connsiteY27" fmla="*/ 2362200 h 4320540"/>
              <a:gd name="connsiteX28" fmla="*/ 5548158 w 7401213"/>
              <a:gd name="connsiteY28" fmla="*/ 2392680 h 4320540"/>
              <a:gd name="connsiteX29" fmla="*/ 5578638 w 7401213"/>
              <a:gd name="connsiteY29" fmla="*/ 2446020 h 4320540"/>
              <a:gd name="connsiteX30" fmla="*/ 5601498 w 7401213"/>
              <a:gd name="connsiteY30" fmla="*/ 2491740 h 4320540"/>
              <a:gd name="connsiteX31" fmla="*/ 5631978 w 7401213"/>
              <a:gd name="connsiteY31" fmla="*/ 2560320 h 4320540"/>
              <a:gd name="connsiteX32" fmla="*/ 5654838 w 7401213"/>
              <a:gd name="connsiteY32" fmla="*/ 2735580 h 4320540"/>
              <a:gd name="connsiteX33" fmla="*/ 5662458 w 7401213"/>
              <a:gd name="connsiteY33" fmla="*/ 2971800 h 4320540"/>
              <a:gd name="connsiteX34" fmla="*/ 5715798 w 7401213"/>
              <a:gd name="connsiteY34" fmla="*/ 3208020 h 4320540"/>
              <a:gd name="connsiteX35" fmla="*/ 5761518 w 7401213"/>
              <a:gd name="connsiteY35" fmla="*/ 3337560 h 4320540"/>
              <a:gd name="connsiteX36" fmla="*/ 5769138 w 7401213"/>
              <a:gd name="connsiteY36" fmla="*/ 3375660 h 4320540"/>
              <a:gd name="connsiteX37" fmla="*/ 5776758 w 7401213"/>
              <a:gd name="connsiteY37" fmla="*/ 3429000 h 4320540"/>
              <a:gd name="connsiteX38" fmla="*/ 5807238 w 7401213"/>
              <a:gd name="connsiteY38" fmla="*/ 3566160 h 4320540"/>
              <a:gd name="connsiteX39" fmla="*/ 5791998 w 7401213"/>
              <a:gd name="connsiteY39" fmla="*/ 3909060 h 4320540"/>
              <a:gd name="connsiteX40" fmla="*/ 5738658 w 7401213"/>
              <a:gd name="connsiteY40" fmla="*/ 4000500 h 4320540"/>
              <a:gd name="connsiteX41" fmla="*/ 5731038 w 7401213"/>
              <a:gd name="connsiteY41" fmla="*/ 4023360 h 4320540"/>
              <a:gd name="connsiteX42" fmla="*/ 5654838 w 7401213"/>
              <a:gd name="connsiteY42" fmla="*/ 4107180 h 4320540"/>
              <a:gd name="connsiteX43" fmla="*/ 5616738 w 7401213"/>
              <a:gd name="connsiteY43" fmla="*/ 4122420 h 4320540"/>
              <a:gd name="connsiteX44" fmla="*/ 5593878 w 7401213"/>
              <a:gd name="connsiteY44" fmla="*/ 4137660 h 4320540"/>
              <a:gd name="connsiteX45" fmla="*/ 5540538 w 7401213"/>
              <a:gd name="connsiteY45" fmla="*/ 4145280 h 4320540"/>
              <a:gd name="connsiteX46" fmla="*/ 5456718 w 7401213"/>
              <a:gd name="connsiteY46" fmla="*/ 4168140 h 4320540"/>
              <a:gd name="connsiteX47" fmla="*/ 5243358 w 7401213"/>
              <a:gd name="connsiteY47" fmla="*/ 4175760 h 4320540"/>
              <a:gd name="connsiteX48" fmla="*/ 5129058 w 7401213"/>
              <a:gd name="connsiteY48" fmla="*/ 4183380 h 4320540"/>
              <a:gd name="connsiteX49" fmla="*/ 5052858 w 7401213"/>
              <a:gd name="connsiteY49" fmla="*/ 4198620 h 4320540"/>
              <a:gd name="connsiteX50" fmla="*/ 5022378 w 7401213"/>
              <a:gd name="connsiteY50" fmla="*/ 4213860 h 4320540"/>
              <a:gd name="connsiteX51" fmla="*/ 4976658 w 7401213"/>
              <a:gd name="connsiteY51" fmla="*/ 4221480 h 4320540"/>
              <a:gd name="connsiteX52" fmla="*/ 4930938 w 7401213"/>
              <a:gd name="connsiteY52" fmla="*/ 4236720 h 4320540"/>
              <a:gd name="connsiteX53" fmla="*/ 4648998 w 7401213"/>
              <a:gd name="connsiteY53" fmla="*/ 4244340 h 4320540"/>
              <a:gd name="connsiteX54" fmla="*/ 4527078 w 7401213"/>
              <a:gd name="connsiteY54" fmla="*/ 4251960 h 4320540"/>
              <a:gd name="connsiteX55" fmla="*/ 4397538 w 7401213"/>
              <a:gd name="connsiteY55" fmla="*/ 4267200 h 4320540"/>
              <a:gd name="connsiteX56" fmla="*/ 3978438 w 7401213"/>
              <a:gd name="connsiteY56" fmla="*/ 4289107 h 4320540"/>
              <a:gd name="connsiteX57" fmla="*/ 3688878 w 7401213"/>
              <a:gd name="connsiteY57" fmla="*/ 4267200 h 4320540"/>
              <a:gd name="connsiteX58" fmla="*/ 3650778 w 7401213"/>
              <a:gd name="connsiteY58" fmla="*/ 4198620 h 4320540"/>
              <a:gd name="connsiteX59" fmla="*/ 3643158 w 7401213"/>
              <a:gd name="connsiteY59" fmla="*/ 4130040 h 4320540"/>
              <a:gd name="connsiteX60" fmla="*/ 3627918 w 7401213"/>
              <a:gd name="connsiteY60" fmla="*/ 4099560 h 4320540"/>
              <a:gd name="connsiteX61" fmla="*/ 3597438 w 7401213"/>
              <a:gd name="connsiteY61" fmla="*/ 4023360 h 4320540"/>
              <a:gd name="connsiteX62" fmla="*/ 3612678 w 7401213"/>
              <a:gd name="connsiteY62" fmla="*/ 3718560 h 4320540"/>
              <a:gd name="connsiteX63" fmla="*/ 3620298 w 7401213"/>
              <a:gd name="connsiteY63" fmla="*/ 3627120 h 4320540"/>
              <a:gd name="connsiteX64" fmla="*/ 3612678 w 7401213"/>
              <a:gd name="connsiteY64" fmla="*/ 3284220 h 4320540"/>
              <a:gd name="connsiteX65" fmla="*/ 3597438 w 7401213"/>
              <a:gd name="connsiteY65" fmla="*/ 3215640 h 4320540"/>
              <a:gd name="connsiteX66" fmla="*/ 3490758 w 7401213"/>
              <a:gd name="connsiteY66" fmla="*/ 3055620 h 4320540"/>
              <a:gd name="connsiteX67" fmla="*/ 3399318 w 7401213"/>
              <a:gd name="connsiteY67" fmla="*/ 2933700 h 4320540"/>
              <a:gd name="connsiteX68" fmla="*/ 3345978 w 7401213"/>
              <a:gd name="connsiteY68" fmla="*/ 2819400 h 4320540"/>
              <a:gd name="connsiteX69" fmla="*/ 3330738 w 7401213"/>
              <a:gd name="connsiteY69" fmla="*/ 2727960 h 4320540"/>
              <a:gd name="connsiteX70" fmla="*/ 3277398 w 7401213"/>
              <a:gd name="connsiteY70" fmla="*/ 2537460 h 4320540"/>
              <a:gd name="connsiteX71" fmla="*/ 3285018 w 7401213"/>
              <a:gd name="connsiteY71" fmla="*/ 1958340 h 4320540"/>
              <a:gd name="connsiteX72" fmla="*/ 3277398 w 7401213"/>
              <a:gd name="connsiteY72" fmla="*/ 1592580 h 4320540"/>
              <a:gd name="connsiteX73" fmla="*/ 3262158 w 7401213"/>
              <a:gd name="connsiteY73" fmla="*/ 1546860 h 4320540"/>
              <a:gd name="connsiteX74" fmla="*/ 3231678 w 7401213"/>
              <a:gd name="connsiteY74" fmla="*/ 1409700 h 4320540"/>
              <a:gd name="connsiteX75" fmla="*/ 3185958 w 7401213"/>
              <a:gd name="connsiteY75" fmla="*/ 1280160 h 4320540"/>
              <a:gd name="connsiteX76" fmla="*/ 3140238 w 7401213"/>
              <a:gd name="connsiteY76" fmla="*/ 792480 h 4320540"/>
              <a:gd name="connsiteX77" fmla="*/ 3086898 w 7401213"/>
              <a:gd name="connsiteY77" fmla="*/ 655320 h 4320540"/>
              <a:gd name="connsiteX78" fmla="*/ 3064038 w 7401213"/>
              <a:gd name="connsiteY78" fmla="*/ 548640 h 4320540"/>
              <a:gd name="connsiteX79" fmla="*/ 3003078 w 7401213"/>
              <a:gd name="connsiteY79" fmla="*/ 152400 h 4320540"/>
              <a:gd name="connsiteX80" fmla="*/ 2789718 w 7401213"/>
              <a:gd name="connsiteY80" fmla="*/ 60960 h 4320540"/>
              <a:gd name="connsiteX81" fmla="*/ 2644938 w 7401213"/>
              <a:gd name="connsiteY81" fmla="*/ 30480 h 4320540"/>
              <a:gd name="connsiteX82" fmla="*/ 2583978 w 7401213"/>
              <a:gd name="connsiteY82" fmla="*/ 38100 h 4320540"/>
              <a:gd name="connsiteX83" fmla="*/ 2538258 w 7401213"/>
              <a:gd name="connsiteY83" fmla="*/ 68580 h 4320540"/>
              <a:gd name="connsiteX84" fmla="*/ 2462058 w 7401213"/>
              <a:gd name="connsiteY84" fmla="*/ 91440 h 4320540"/>
              <a:gd name="connsiteX85" fmla="*/ 2142018 w 7401213"/>
              <a:gd name="connsiteY85" fmla="*/ 53340 h 4320540"/>
              <a:gd name="connsiteX86" fmla="*/ 1646718 w 7401213"/>
              <a:gd name="connsiteY86" fmla="*/ 45720 h 4320540"/>
              <a:gd name="connsiteX87" fmla="*/ 1585758 w 7401213"/>
              <a:gd name="connsiteY87" fmla="*/ 38100 h 4320540"/>
              <a:gd name="connsiteX88" fmla="*/ 1410498 w 7401213"/>
              <a:gd name="connsiteY88" fmla="*/ 22860 h 4320540"/>
              <a:gd name="connsiteX89" fmla="*/ 1311438 w 7401213"/>
              <a:gd name="connsiteY89" fmla="*/ 0 h 4320540"/>
              <a:gd name="connsiteX90" fmla="*/ 1098078 w 7401213"/>
              <a:gd name="connsiteY90" fmla="*/ 15240 h 4320540"/>
              <a:gd name="connsiteX91" fmla="*/ 1052358 w 7401213"/>
              <a:gd name="connsiteY91" fmla="*/ 30480 h 4320540"/>
              <a:gd name="connsiteX92" fmla="*/ 968538 w 7401213"/>
              <a:gd name="connsiteY92" fmla="*/ 60960 h 4320540"/>
              <a:gd name="connsiteX93" fmla="*/ 899958 w 7401213"/>
              <a:gd name="connsiteY93" fmla="*/ 76200 h 4320540"/>
              <a:gd name="connsiteX94" fmla="*/ 762798 w 7401213"/>
              <a:gd name="connsiteY94" fmla="*/ 106680 h 4320540"/>
              <a:gd name="connsiteX95" fmla="*/ 709458 w 7401213"/>
              <a:gd name="connsiteY95" fmla="*/ 121920 h 4320540"/>
              <a:gd name="connsiteX96" fmla="*/ 648498 w 7401213"/>
              <a:gd name="connsiteY96" fmla="*/ 137160 h 4320540"/>
              <a:gd name="connsiteX97" fmla="*/ 602778 w 7401213"/>
              <a:gd name="connsiteY97" fmla="*/ 152400 h 4320540"/>
              <a:gd name="connsiteX98" fmla="*/ 503718 w 7401213"/>
              <a:gd name="connsiteY98" fmla="*/ 205740 h 4320540"/>
              <a:gd name="connsiteX99" fmla="*/ 473238 w 7401213"/>
              <a:gd name="connsiteY99" fmla="*/ 236220 h 4320540"/>
              <a:gd name="connsiteX100" fmla="*/ 244638 w 7401213"/>
              <a:gd name="connsiteY100" fmla="*/ 411480 h 4320540"/>
              <a:gd name="connsiteX101" fmla="*/ 115098 w 7401213"/>
              <a:gd name="connsiteY101" fmla="*/ 662940 h 4320540"/>
              <a:gd name="connsiteX102" fmla="*/ 8418 w 7401213"/>
              <a:gd name="connsiteY102" fmla="*/ 1028700 h 4320540"/>
              <a:gd name="connsiteX103" fmla="*/ 798 w 7401213"/>
              <a:gd name="connsiteY103" fmla="*/ 1188720 h 4320540"/>
              <a:gd name="connsiteX104" fmla="*/ 107478 w 7401213"/>
              <a:gd name="connsiteY104" fmla="*/ 1866900 h 4320540"/>
              <a:gd name="connsiteX105" fmla="*/ 358938 w 7401213"/>
              <a:gd name="connsiteY105" fmla="*/ 2506980 h 4320540"/>
              <a:gd name="connsiteX106" fmla="*/ 587538 w 7401213"/>
              <a:gd name="connsiteY106" fmla="*/ 3078480 h 4320540"/>
              <a:gd name="connsiteX107" fmla="*/ 755178 w 7401213"/>
              <a:gd name="connsiteY107" fmla="*/ 3436620 h 4320540"/>
              <a:gd name="connsiteX108" fmla="*/ 877098 w 7401213"/>
              <a:gd name="connsiteY108" fmla="*/ 3657600 h 4320540"/>
              <a:gd name="connsiteX109" fmla="*/ 976158 w 7401213"/>
              <a:gd name="connsiteY109" fmla="*/ 3764280 h 4320540"/>
              <a:gd name="connsiteX110" fmla="*/ 1235238 w 7401213"/>
              <a:gd name="connsiteY110" fmla="*/ 3939540 h 4320540"/>
              <a:gd name="connsiteX111" fmla="*/ 1494318 w 7401213"/>
              <a:gd name="connsiteY111" fmla="*/ 3985260 h 4320540"/>
              <a:gd name="connsiteX112" fmla="*/ 1745778 w 7401213"/>
              <a:gd name="connsiteY112" fmla="*/ 4000500 h 4320540"/>
              <a:gd name="connsiteX113" fmla="*/ 1966758 w 7401213"/>
              <a:gd name="connsiteY113" fmla="*/ 4114800 h 4320540"/>
              <a:gd name="connsiteX114" fmla="*/ 2081058 w 7401213"/>
              <a:gd name="connsiteY114" fmla="*/ 4175760 h 4320540"/>
              <a:gd name="connsiteX115" fmla="*/ 2134398 w 7401213"/>
              <a:gd name="connsiteY115" fmla="*/ 4183380 h 4320540"/>
              <a:gd name="connsiteX116" fmla="*/ 2576358 w 7401213"/>
              <a:gd name="connsiteY116" fmla="*/ 4160520 h 4320540"/>
              <a:gd name="connsiteX117" fmla="*/ 3170718 w 7401213"/>
              <a:gd name="connsiteY117" fmla="*/ 4183380 h 4320540"/>
              <a:gd name="connsiteX118" fmla="*/ 3285018 w 7401213"/>
              <a:gd name="connsiteY118" fmla="*/ 4206240 h 4320540"/>
              <a:gd name="connsiteX119" fmla="*/ 3376458 w 7401213"/>
              <a:gd name="connsiteY119" fmla="*/ 4236720 h 4320540"/>
              <a:gd name="connsiteX120" fmla="*/ 3452658 w 7401213"/>
              <a:gd name="connsiteY120" fmla="*/ 4251960 h 4320540"/>
              <a:gd name="connsiteX121" fmla="*/ 3490758 w 7401213"/>
              <a:gd name="connsiteY121" fmla="*/ 4267200 h 4320540"/>
              <a:gd name="connsiteX122" fmla="*/ 3605058 w 7401213"/>
              <a:gd name="connsiteY122" fmla="*/ 4274820 h 4320540"/>
              <a:gd name="connsiteX123" fmla="*/ 3643158 w 7401213"/>
              <a:gd name="connsiteY123" fmla="*/ 4282440 h 4320540"/>
              <a:gd name="connsiteX124" fmla="*/ 3909858 w 7401213"/>
              <a:gd name="connsiteY124" fmla="*/ 4313873 h 4320540"/>
              <a:gd name="connsiteX125" fmla="*/ 3986058 w 7401213"/>
              <a:gd name="connsiteY125" fmla="*/ 4320540 h 4320540"/>
              <a:gd name="connsiteX126" fmla="*/ 4053686 w 7401213"/>
              <a:gd name="connsiteY126" fmla="*/ 4313873 h 4320540"/>
              <a:gd name="connsiteX127" fmla="*/ 4085118 w 7401213"/>
              <a:gd name="connsiteY127" fmla="*/ 4312920 h 4320540"/>
              <a:gd name="connsiteX128" fmla="*/ 4138458 w 7401213"/>
              <a:gd name="connsiteY128" fmla="*/ 4274820 h 4320540"/>
              <a:gd name="connsiteX129" fmla="*/ 4168938 w 7401213"/>
              <a:gd name="connsiteY129" fmla="*/ 4267200 h 4320540"/>
              <a:gd name="connsiteX130" fmla="*/ 4328958 w 7401213"/>
              <a:gd name="connsiteY130" fmla="*/ 4259580 h 4320540"/>
              <a:gd name="connsiteX131" fmla="*/ 4877598 w 7401213"/>
              <a:gd name="connsiteY131" fmla="*/ 4244340 h 4320540"/>
              <a:gd name="connsiteX132" fmla="*/ 4930938 w 7401213"/>
              <a:gd name="connsiteY132" fmla="*/ 4236720 h 4320540"/>
              <a:gd name="connsiteX133" fmla="*/ 4953798 w 7401213"/>
              <a:gd name="connsiteY133" fmla="*/ 4229100 h 4320540"/>
              <a:gd name="connsiteX134" fmla="*/ 5014758 w 7401213"/>
              <a:gd name="connsiteY134" fmla="*/ 4206240 h 4320540"/>
              <a:gd name="connsiteX135" fmla="*/ 5190018 w 7401213"/>
              <a:gd name="connsiteY135" fmla="*/ 4145280 h 4320540"/>
              <a:gd name="connsiteX136" fmla="*/ 5593878 w 7401213"/>
              <a:gd name="connsiteY136" fmla="*/ 4122420 h 4320540"/>
              <a:gd name="connsiteX137" fmla="*/ 5631978 w 7401213"/>
              <a:gd name="connsiteY137" fmla="*/ 4107180 h 4320540"/>
              <a:gd name="connsiteX138" fmla="*/ 5654838 w 7401213"/>
              <a:gd name="connsiteY138" fmla="*/ 4091940 h 4320540"/>
              <a:gd name="connsiteX139" fmla="*/ 5952018 w 7401213"/>
              <a:gd name="connsiteY139" fmla="*/ 3985260 h 4320540"/>
              <a:gd name="connsiteX140" fmla="*/ 6355878 w 7401213"/>
              <a:gd name="connsiteY140" fmla="*/ 3840480 h 4320540"/>
              <a:gd name="connsiteX141" fmla="*/ 6889278 w 7401213"/>
              <a:gd name="connsiteY141" fmla="*/ 3474720 h 4320540"/>
              <a:gd name="connsiteX142" fmla="*/ 7125498 w 7401213"/>
              <a:gd name="connsiteY142" fmla="*/ 3230880 h 4320540"/>
              <a:gd name="connsiteX143" fmla="*/ 7399818 w 7401213"/>
              <a:gd name="connsiteY143" fmla="*/ 2438400 h 4320540"/>
              <a:gd name="connsiteX144" fmla="*/ 7361718 w 7401213"/>
              <a:gd name="connsiteY144" fmla="*/ 1790700 h 4320540"/>
              <a:gd name="connsiteX145" fmla="*/ 7247418 w 7401213"/>
              <a:gd name="connsiteY145" fmla="*/ 1249680 h 4320540"/>
              <a:gd name="connsiteX146" fmla="*/ 7178838 w 7401213"/>
              <a:gd name="connsiteY146" fmla="*/ 899160 h 4320540"/>
              <a:gd name="connsiteX147" fmla="*/ 7163598 w 7401213"/>
              <a:gd name="connsiteY147" fmla="*/ 701040 h 4320540"/>
              <a:gd name="connsiteX148" fmla="*/ 7148358 w 7401213"/>
              <a:gd name="connsiteY148" fmla="*/ 396240 h 4320540"/>
              <a:gd name="connsiteX149" fmla="*/ 7072158 w 7401213"/>
              <a:gd name="connsiteY149" fmla="*/ 205740 h 4320540"/>
              <a:gd name="connsiteX150" fmla="*/ 7018818 w 7401213"/>
              <a:gd name="connsiteY150" fmla="*/ 99060 h 4320540"/>
              <a:gd name="connsiteX151" fmla="*/ 6767358 w 7401213"/>
              <a:gd name="connsiteY151" fmla="*/ 22860 h 4320540"/>
              <a:gd name="connsiteX152" fmla="*/ 6614958 w 7401213"/>
              <a:gd name="connsiteY152" fmla="*/ 45720 h 4320540"/>
              <a:gd name="connsiteX153" fmla="*/ 6592098 w 7401213"/>
              <a:gd name="connsiteY153" fmla="*/ 68580 h 4320540"/>
              <a:gd name="connsiteX154" fmla="*/ 6546378 w 7401213"/>
              <a:gd name="connsiteY154" fmla="*/ 83820 h 4320540"/>
              <a:gd name="connsiteX155" fmla="*/ 6447318 w 7401213"/>
              <a:gd name="connsiteY155" fmla="*/ 76200 h 4320540"/>
              <a:gd name="connsiteX156" fmla="*/ 6371118 w 7401213"/>
              <a:gd name="connsiteY156" fmla="*/ 68580 h 4320540"/>
              <a:gd name="connsiteX157" fmla="*/ 5921538 w 7401213"/>
              <a:gd name="connsiteY157" fmla="*/ 60960 h 4320540"/>
              <a:gd name="connsiteX158" fmla="*/ 5311938 w 7401213"/>
              <a:gd name="connsiteY158" fmla="*/ 38100 h 4320540"/>
              <a:gd name="connsiteX159" fmla="*/ 5266218 w 7401213"/>
              <a:gd name="connsiteY159" fmla="*/ 30480 h 4320540"/>
              <a:gd name="connsiteX160" fmla="*/ 5151918 w 7401213"/>
              <a:gd name="connsiteY160" fmla="*/ 22860 h 4320540"/>
              <a:gd name="connsiteX161" fmla="*/ 4847118 w 7401213"/>
              <a:gd name="connsiteY161" fmla="*/ 30480 h 4320540"/>
              <a:gd name="connsiteX162" fmla="*/ 4793778 w 7401213"/>
              <a:gd name="connsiteY162" fmla="*/ 38100 h 4320540"/>
              <a:gd name="connsiteX163" fmla="*/ 4732818 w 7401213"/>
              <a:gd name="connsiteY163" fmla="*/ 53340 h 4320540"/>
              <a:gd name="connsiteX164" fmla="*/ 4687098 w 7401213"/>
              <a:gd name="connsiteY164" fmla="*/ 76200 h 4320540"/>
              <a:gd name="connsiteX165" fmla="*/ 4664238 w 7401213"/>
              <a:gd name="connsiteY165" fmla="*/ 91440 h 4320540"/>
              <a:gd name="connsiteX166" fmla="*/ 4671858 w 7401213"/>
              <a:gd name="connsiteY166" fmla="*/ 76200 h 4320540"/>
              <a:gd name="connsiteX0" fmla="*/ 4671858 w 7401213"/>
              <a:gd name="connsiteY0" fmla="*/ 76200 h 4320540"/>
              <a:gd name="connsiteX1" fmla="*/ 4671858 w 7401213"/>
              <a:gd name="connsiteY1" fmla="*/ 76200 h 4320540"/>
              <a:gd name="connsiteX2" fmla="*/ 4664238 w 7401213"/>
              <a:gd name="connsiteY2" fmla="*/ 396240 h 4320540"/>
              <a:gd name="connsiteX3" fmla="*/ 4648998 w 7401213"/>
              <a:gd name="connsiteY3" fmla="*/ 495300 h 4320540"/>
              <a:gd name="connsiteX4" fmla="*/ 4641378 w 7401213"/>
              <a:gd name="connsiteY4" fmla="*/ 670560 h 4320540"/>
              <a:gd name="connsiteX5" fmla="*/ 4626138 w 7401213"/>
              <a:gd name="connsiteY5" fmla="*/ 807720 h 4320540"/>
              <a:gd name="connsiteX6" fmla="*/ 4648998 w 7401213"/>
              <a:gd name="connsiteY6" fmla="*/ 944880 h 4320540"/>
              <a:gd name="connsiteX7" fmla="*/ 4664238 w 7401213"/>
              <a:gd name="connsiteY7" fmla="*/ 967740 h 4320540"/>
              <a:gd name="connsiteX8" fmla="*/ 4801398 w 7401213"/>
              <a:gd name="connsiteY8" fmla="*/ 1181100 h 4320540"/>
              <a:gd name="connsiteX9" fmla="*/ 4809018 w 7401213"/>
              <a:gd name="connsiteY9" fmla="*/ 1203960 h 4320540"/>
              <a:gd name="connsiteX10" fmla="*/ 4847118 w 7401213"/>
              <a:gd name="connsiteY10" fmla="*/ 1592580 h 4320540"/>
              <a:gd name="connsiteX11" fmla="*/ 4862358 w 7401213"/>
              <a:gd name="connsiteY11" fmla="*/ 1623060 h 4320540"/>
              <a:gd name="connsiteX12" fmla="*/ 4877598 w 7401213"/>
              <a:gd name="connsiteY12" fmla="*/ 1661160 h 4320540"/>
              <a:gd name="connsiteX13" fmla="*/ 4900458 w 7401213"/>
              <a:gd name="connsiteY13" fmla="*/ 1691640 h 4320540"/>
              <a:gd name="connsiteX14" fmla="*/ 4961418 w 7401213"/>
              <a:gd name="connsiteY14" fmla="*/ 1798320 h 4320540"/>
              <a:gd name="connsiteX15" fmla="*/ 4969038 w 7401213"/>
              <a:gd name="connsiteY15" fmla="*/ 1828800 h 4320540"/>
              <a:gd name="connsiteX16" fmla="*/ 5014758 w 7401213"/>
              <a:gd name="connsiteY16" fmla="*/ 1889760 h 4320540"/>
              <a:gd name="connsiteX17" fmla="*/ 5022378 w 7401213"/>
              <a:gd name="connsiteY17" fmla="*/ 1912620 h 4320540"/>
              <a:gd name="connsiteX18" fmla="*/ 5052858 w 7401213"/>
              <a:gd name="connsiteY18" fmla="*/ 1965960 h 4320540"/>
              <a:gd name="connsiteX19" fmla="*/ 5013806 w 7401213"/>
              <a:gd name="connsiteY19" fmla="*/ 2111692 h 4320540"/>
              <a:gd name="connsiteX20" fmla="*/ 5050000 w 7401213"/>
              <a:gd name="connsiteY20" fmla="*/ 2210752 h 4320540"/>
              <a:gd name="connsiteX21" fmla="*/ 5098578 w 7401213"/>
              <a:gd name="connsiteY21" fmla="*/ 2148840 h 4320540"/>
              <a:gd name="connsiteX22" fmla="*/ 5136678 w 7401213"/>
              <a:gd name="connsiteY22" fmla="*/ 2202180 h 4320540"/>
              <a:gd name="connsiteX23" fmla="*/ 5182398 w 7401213"/>
              <a:gd name="connsiteY23" fmla="*/ 2232660 h 4320540"/>
              <a:gd name="connsiteX24" fmla="*/ 5311938 w 7401213"/>
              <a:gd name="connsiteY24" fmla="*/ 2237423 h 4320540"/>
              <a:gd name="connsiteX25" fmla="*/ 5449098 w 7401213"/>
              <a:gd name="connsiteY25" fmla="*/ 2293620 h 4320540"/>
              <a:gd name="connsiteX26" fmla="*/ 5510058 w 7401213"/>
              <a:gd name="connsiteY26" fmla="*/ 2324100 h 4320540"/>
              <a:gd name="connsiteX27" fmla="*/ 5525298 w 7401213"/>
              <a:gd name="connsiteY27" fmla="*/ 2362200 h 4320540"/>
              <a:gd name="connsiteX28" fmla="*/ 5548158 w 7401213"/>
              <a:gd name="connsiteY28" fmla="*/ 2392680 h 4320540"/>
              <a:gd name="connsiteX29" fmla="*/ 5578638 w 7401213"/>
              <a:gd name="connsiteY29" fmla="*/ 2446020 h 4320540"/>
              <a:gd name="connsiteX30" fmla="*/ 5601498 w 7401213"/>
              <a:gd name="connsiteY30" fmla="*/ 2491740 h 4320540"/>
              <a:gd name="connsiteX31" fmla="*/ 5631978 w 7401213"/>
              <a:gd name="connsiteY31" fmla="*/ 2560320 h 4320540"/>
              <a:gd name="connsiteX32" fmla="*/ 5654838 w 7401213"/>
              <a:gd name="connsiteY32" fmla="*/ 2735580 h 4320540"/>
              <a:gd name="connsiteX33" fmla="*/ 5662458 w 7401213"/>
              <a:gd name="connsiteY33" fmla="*/ 2971800 h 4320540"/>
              <a:gd name="connsiteX34" fmla="*/ 5715798 w 7401213"/>
              <a:gd name="connsiteY34" fmla="*/ 3208020 h 4320540"/>
              <a:gd name="connsiteX35" fmla="*/ 5761518 w 7401213"/>
              <a:gd name="connsiteY35" fmla="*/ 3337560 h 4320540"/>
              <a:gd name="connsiteX36" fmla="*/ 5769138 w 7401213"/>
              <a:gd name="connsiteY36" fmla="*/ 3375660 h 4320540"/>
              <a:gd name="connsiteX37" fmla="*/ 5776758 w 7401213"/>
              <a:gd name="connsiteY37" fmla="*/ 3429000 h 4320540"/>
              <a:gd name="connsiteX38" fmla="*/ 5807238 w 7401213"/>
              <a:gd name="connsiteY38" fmla="*/ 3566160 h 4320540"/>
              <a:gd name="connsiteX39" fmla="*/ 5791998 w 7401213"/>
              <a:gd name="connsiteY39" fmla="*/ 3909060 h 4320540"/>
              <a:gd name="connsiteX40" fmla="*/ 5738658 w 7401213"/>
              <a:gd name="connsiteY40" fmla="*/ 4000500 h 4320540"/>
              <a:gd name="connsiteX41" fmla="*/ 5731038 w 7401213"/>
              <a:gd name="connsiteY41" fmla="*/ 4023360 h 4320540"/>
              <a:gd name="connsiteX42" fmla="*/ 5654838 w 7401213"/>
              <a:gd name="connsiteY42" fmla="*/ 4107180 h 4320540"/>
              <a:gd name="connsiteX43" fmla="*/ 5616738 w 7401213"/>
              <a:gd name="connsiteY43" fmla="*/ 4122420 h 4320540"/>
              <a:gd name="connsiteX44" fmla="*/ 5593878 w 7401213"/>
              <a:gd name="connsiteY44" fmla="*/ 4137660 h 4320540"/>
              <a:gd name="connsiteX45" fmla="*/ 5540538 w 7401213"/>
              <a:gd name="connsiteY45" fmla="*/ 4145280 h 4320540"/>
              <a:gd name="connsiteX46" fmla="*/ 5456718 w 7401213"/>
              <a:gd name="connsiteY46" fmla="*/ 4168140 h 4320540"/>
              <a:gd name="connsiteX47" fmla="*/ 5243358 w 7401213"/>
              <a:gd name="connsiteY47" fmla="*/ 4175760 h 4320540"/>
              <a:gd name="connsiteX48" fmla="*/ 5129058 w 7401213"/>
              <a:gd name="connsiteY48" fmla="*/ 4183380 h 4320540"/>
              <a:gd name="connsiteX49" fmla="*/ 5052858 w 7401213"/>
              <a:gd name="connsiteY49" fmla="*/ 4198620 h 4320540"/>
              <a:gd name="connsiteX50" fmla="*/ 5022378 w 7401213"/>
              <a:gd name="connsiteY50" fmla="*/ 4213860 h 4320540"/>
              <a:gd name="connsiteX51" fmla="*/ 4976658 w 7401213"/>
              <a:gd name="connsiteY51" fmla="*/ 4221480 h 4320540"/>
              <a:gd name="connsiteX52" fmla="*/ 4930938 w 7401213"/>
              <a:gd name="connsiteY52" fmla="*/ 4236720 h 4320540"/>
              <a:gd name="connsiteX53" fmla="*/ 4648998 w 7401213"/>
              <a:gd name="connsiteY53" fmla="*/ 4244340 h 4320540"/>
              <a:gd name="connsiteX54" fmla="*/ 4527078 w 7401213"/>
              <a:gd name="connsiteY54" fmla="*/ 4251960 h 4320540"/>
              <a:gd name="connsiteX55" fmla="*/ 4397538 w 7401213"/>
              <a:gd name="connsiteY55" fmla="*/ 4267200 h 4320540"/>
              <a:gd name="connsiteX56" fmla="*/ 3978438 w 7401213"/>
              <a:gd name="connsiteY56" fmla="*/ 4289107 h 4320540"/>
              <a:gd name="connsiteX57" fmla="*/ 3688878 w 7401213"/>
              <a:gd name="connsiteY57" fmla="*/ 4267200 h 4320540"/>
              <a:gd name="connsiteX58" fmla="*/ 3650778 w 7401213"/>
              <a:gd name="connsiteY58" fmla="*/ 4198620 h 4320540"/>
              <a:gd name="connsiteX59" fmla="*/ 3643158 w 7401213"/>
              <a:gd name="connsiteY59" fmla="*/ 4130040 h 4320540"/>
              <a:gd name="connsiteX60" fmla="*/ 3627918 w 7401213"/>
              <a:gd name="connsiteY60" fmla="*/ 4099560 h 4320540"/>
              <a:gd name="connsiteX61" fmla="*/ 3597438 w 7401213"/>
              <a:gd name="connsiteY61" fmla="*/ 4023360 h 4320540"/>
              <a:gd name="connsiteX62" fmla="*/ 3612678 w 7401213"/>
              <a:gd name="connsiteY62" fmla="*/ 3718560 h 4320540"/>
              <a:gd name="connsiteX63" fmla="*/ 3620298 w 7401213"/>
              <a:gd name="connsiteY63" fmla="*/ 3627120 h 4320540"/>
              <a:gd name="connsiteX64" fmla="*/ 3612678 w 7401213"/>
              <a:gd name="connsiteY64" fmla="*/ 3284220 h 4320540"/>
              <a:gd name="connsiteX65" fmla="*/ 3597438 w 7401213"/>
              <a:gd name="connsiteY65" fmla="*/ 3215640 h 4320540"/>
              <a:gd name="connsiteX66" fmla="*/ 3490758 w 7401213"/>
              <a:gd name="connsiteY66" fmla="*/ 3055620 h 4320540"/>
              <a:gd name="connsiteX67" fmla="*/ 3399318 w 7401213"/>
              <a:gd name="connsiteY67" fmla="*/ 2933700 h 4320540"/>
              <a:gd name="connsiteX68" fmla="*/ 3345978 w 7401213"/>
              <a:gd name="connsiteY68" fmla="*/ 2819400 h 4320540"/>
              <a:gd name="connsiteX69" fmla="*/ 3330738 w 7401213"/>
              <a:gd name="connsiteY69" fmla="*/ 2727960 h 4320540"/>
              <a:gd name="connsiteX70" fmla="*/ 3277398 w 7401213"/>
              <a:gd name="connsiteY70" fmla="*/ 2537460 h 4320540"/>
              <a:gd name="connsiteX71" fmla="*/ 3285018 w 7401213"/>
              <a:gd name="connsiteY71" fmla="*/ 1958340 h 4320540"/>
              <a:gd name="connsiteX72" fmla="*/ 3277398 w 7401213"/>
              <a:gd name="connsiteY72" fmla="*/ 1592580 h 4320540"/>
              <a:gd name="connsiteX73" fmla="*/ 3262158 w 7401213"/>
              <a:gd name="connsiteY73" fmla="*/ 1546860 h 4320540"/>
              <a:gd name="connsiteX74" fmla="*/ 3231678 w 7401213"/>
              <a:gd name="connsiteY74" fmla="*/ 1409700 h 4320540"/>
              <a:gd name="connsiteX75" fmla="*/ 3185958 w 7401213"/>
              <a:gd name="connsiteY75" fmla="*/ 1280160 h 4320540"/>
              <a:gd name="connsiteX76" fmla="*/ 3140238 w 7401213"/>
              <a:gd name="connsiteY76" fmla="*/ 792480 h 4320540"/>
              <a:gd name="connsiteX77" fmla="*/ 3086898 w 7401213"/>
              <a:gd name="connsiteY77" fmla="*/ 655320 h 4320540"/>
              <a:gd name="connsiteX78" fmla="*/ 3064038 w 7401213"/>
              <a:gd name="connsiteY78" fmla="*/ 548640 h 4320540"/>
              <a:gd name="connsiteX79" fmla="*/ 3003078 w 7401213"/>
              <a:gd name="connsiteY79" fmla="*/ 152400 h 4320540"/>
              <a:gd name="connsiteX80" fmla="*/ 2789718 w 7401213"/>
              <a:gd name="connsiteY80" fmla="*/ 60960 h 4320540"/>
              <a:gd name="connsiteX81" fmla="*/ 2644938 w 7401213"/>
              <a:gd name="connsiteY81" fmla="*/ 30480 h 4320540"/>
              <a:gd name="connsiteX82" fmla="*/ 2583978 w 7401213"/>
              <a:gd name="connsiteY82" fmla="*/ 38100 h 4320540"/>
              <a:gd name="connsiteX83" fmla="*/ 2538258 w 7401213"/>
              <a:gd name="connsiteY83" fmla="*/ 68580 h 4320540"/>
              <a:gd name="connsiteX84" fmla="*/ 2462058 w 7401213"/>
              <a:gd name="connsiteY84" fmla="*/ 91440 h 4320540"/>
              <a:gd name="connsiteX85" fmla="*/ 2142018 w 7401213"/>
              <a:gd name="connsiteY85" fmla="*/ 53340 h 4320540"/>
              <a:gd name="connsiteX86" fmla="*/ 1646718 w 7401213"/>
              <a:gd name="connsiteY86" fmla="*/ 45720 h 4320540"/>
              <a:gd name="connsiteX87" fmla="*/ 1585758 w 7401213"/>
              <a:gd name="connsiteY87" fmla="*/ 38100 h 4320540"/>
              <a:gd name="connsiteX88" fmla="*/ 1410498 w 7401213"/>
              <a:gd name="connsiteY88" fmla="*/ 22860 h 4320540"/>
              <a:gd name="connsiteX89" fmla="*/ 1311438 w 7401213"/>
              <a:gd name="connsiteY89" fmla="*/ 0 h 4320540"/>
              <a:gd name="connsiteX90" fmla="*/ 1098078 w 7401213"/>
              <a:gd name="connsiteY90" fmla="*/ 15240 h 4320540"/>
              <a:gd name="connsiteX91" fmla="*/ 1052358 w 7401213"/>
              <a:gd name="connsiteY91" fmla="*/ 30480 h 4320540"/>
              <a:gd name="connsiteX92" fmla="*/ 968538 w 7401213"/>
              <a:gd name="connsiteY92" fmla="*/ 60960 h 4320540"/>
              <a:gd name="connsiteX93" fmla="*/ 899958 w 7401213"/>
              <a:gd name="connsiteY93" fmla="*/ 76200 h 4320540"/>
              <a:gd name="connsiteX94" fmla="*/ 762798 w 7401213"/>
              <a:gd name="connsiteY94" fmla="*/ 106680 h 4320540"/>
              <a:gd name="connsiteX95" fmla="*/ 709458 w 7401213"/>
              <a:gd name="connsiteY95" fmla="*/ 121920 h 4320540"/>
              <a:gd name="connsiteX96" fmla="*/ 648498 w 7401213"/>
              <a:gd name="connsiteY96" fmla="*/ 137160 h 4320540"/>
              <a:gd name="connsiteX97" fmla="*/ 602778 w 7401213"/>
              <a:gd name="connsiteY97" fmla="*/ 152400 h 4320540"/>
              <a:gd name="connsiteX98" fmla="*/ 503718 w 7401213"/>
              <a:gd name="connsiteY98" fmla="*/ 205740 h 4320540"/>
              <a:gd name="connsiteX99" fmla="*/ 473238 w 7401213"/>
              <a:gd name="connsiteY99" fmla="*/ 236220 h 4320540"/>
              <a:gd name="connsiteX100" fmla="*/ 244638 w 7401213"/>
              <a:gd name="connsiteY100" fmla="*/ 411480 h 4320540"/>
              <a:gd name="connsiteX101" fmla="*/ 115098 w 7401213"/>
              <a:gd name="connsiteY101" fmla="*/ 662940 h 4320540"/>
              <a:gd name="connsiteX102" fmla="*/ 8418 w 7401213"/>
              <a:gd name="connsiteY102" fmla="*/ 1028700 h 4320540"/>
              <a:gd name="connsiteX103" fmla="*/ 798 w 7401213"/>
              <a:gd name="connsiteY103" fmla="*/ 1188720 h 4320540"/>
              <a:gd name="connsiteX104" fmla="*/ 107478 w 7401213"/>
              <a:gd name="connsiteY104" fmla="*/ 1866900 h 4320540"/>
              <a:gd name="connsiteX105" fmla="*/ 358938 w 7401213"/>
              <a:gd name="connsiteY105" fmla="*/ 2506980 h 4320540"/>
              <a:gd name="connsiteX106" fmla="*/ 587538 w 7401213"/>
              <a:gd name="connsiteY106" fmla="*/ 3078480 h 4320540"/>
              <a:gd name="connsiteX107" fmla="*/ 755178 w 7401213"/>
              <a:gd name="connsiteY107" fmla="*/ 3436620 h 4320540"/>
              <a:gd name="connsiteX108" fmla="*/ 877098 w 7401213"/>
              <a:gd name="connsiteY108" fmla="*/ 3657600 h 4320540"/>
              <a:gd name="connsiteX109" fmla="*/ 976158 w 7401213"/>
              <a:gd name="connsiteY109" fmla="*/ 3764280 h 4320540"/>
              <a:gd name="connsiteX110" fmla="*/ 1235238 w 7401213"/>
              <a:gd name="connsiteY110" fmla="*/ 3939540 h 4320540"/>
              <a:gd name="connsiteX111" fmla="*/ 1494318 w 7401213"/>
              <a:gd name="connsiteY111" fmla="*/ 3985260 h 4320540"/>
              <a:gd name="connsiteX112" fmla="*/ 1745778 w 7401213"/>
              <a:gd name="connsiteY112" fmla="*/ 4000500 h 4320540"/>
              <a:gd name="connsiteX113" fmla="*/ 1966758 w 7401213"/>
              <a:gd name="connsiteY113" fmla="*/ 4114800 h 4320540"/>
              <a:gd name="connsiteX114" fmla="*/ 2081058 w 7401213"/>
              <a:gd name="connsiteY114" fmla="*/ 4175760 h 4320540"/>
              <a:gd name="connsiteX115" fmla="*/ 2134398 w 7401213"/>
              <a:gd name="connsiteY115" fmla="*/ 4183380 h 4320540"/>
              <a:gd name="connsiteX116" fmla="*/ 2576358 w 7401213"/>
              <a:gd name="connsiteY116" fmla="*/ 4160520 h 4320540"/>
              <a:gd name="connsiteX117" fmla="*/ 3170718 w 7401213"/>
              <a:gd name="connsiteY117" fmla="*/ 4183380 h 4320540"/>
              <a:gd name="connsiteX118" fmla="*/ 3285018 w 7401213"/>
              <a:gd name="connsiteY118" fmla="*/ 4206240 h 4320540"/>
              <a:gd name="connsiteX119" fmla="*/ 3376458 w 7401213"/>
              <a:gd name="connsiteY119" fmla="*/ 4236720 h 4320540"/>
              <a:gd name="connsiteX120" fmla="*/ 3452658 w 7401213"/>
              <a:gd name="connsiteY120" fmla="*/ 4251960 h 4320540"/>
              <a:gd name="connsiteX121" fmla="*/ 3490758 w 7401213"/>
              <a:gd name="connsiteY121" fmla="*/ 4267200 h 4320540"/>
              <a:gd name="connsiteX122" fmla="*/ 3605058 w 7401213"/>
              <a:gd name="connsiteY122" fmla="*/ 4274820 h 4320540"/>
              <a:gd name="connsiteX123" fmla="*/ 3643158 w 7401213"/>
              <a:gd name="connsiteY123" fmla="*/ 4282440 h 4320540"/>
              <a:gd name="connsiteX124" fmla="*/ 3909858 w 7401213"/>
              <a:gd name="connsiteY124" fmla="*/ 4313873 h 4320540"/>
              <a:gd name="connsiteX125" fmla="*/ 3986058 w 7401213"/>
              <a:gd name="connsiteY125" fmla="*/ 4320540 h 4320540"/>
              <a:gd name="connsiteX126" fmla="*/ 4053686 w 7401213"/>
              <a:gd name="connsiteY126" fmla="*/ 4313873 h 4320540"/>
              <a:gd name="connsiteX127" fmla="*/ 4085118 w 7401213"/>
              <a:gd name="connsiteY127" fmla="*/ 4312920 h 4320540"/>
              <a:gd name="connsiteX128" fmla="*/ 4138458 w 7401213"/>
              <a:gd name="connsiteY128" fmla="*/ 4274820 h 4320540"/>
              <a:gd name="connsiteX129" fmla="*/ 4168938 w 7401213"/>
              <a:gd name="connsiteY129" fmla="*/ 4267200 h 4320540"/>
              <a:gd name="connsiteX130" fmla="*/ 4328958 w 7401213"/>
              <a:gd name="connsiteY130" fmla="*/ 4259580 h 4320540"/>
              <a:gd name="connsiteX131" fmla="*/ 4877598 w 7401213"/>
              <a:gd name="connsiteY131" fmla="*/ 4244340 h 4320540"/>
              <a:gd name="connsiteX132" fmla="*/ 4930938 w 7401213"/>
              <a:gd name="connsiteY132" fmla="*/ 4236720 h 4320540"/>
              <a:gd name="connsiteX133" fmla="*/ 4953798 w 7401213"/>
              <a:gd name="connsiteY133" fmla="*/ 4229100 h 4320540"/>
              <a:gd name="connsiteX134" fmla="*/ 5014758 w 7401213"/>
              <a:gd name="connsiteY134" fmla="*/ 4206240 h 4320540"/>
              <a:gd name="connsiteX135" fmla="*/ 5190018 w 7401213"/>
              <a:gd name="connsiteY135" fmla="*/ 4145280 h 4320540"/>
              <a:gd name="connsiteX136" fmla="*/ 5593878 w 7401213"/>
              <a:gd name="connsiteY136" fmla="*/ 4122420 h 4320540"/>
              <a:gd name="connsiteX137" fmla="*/ 5631978 w 7401213"/>
              <a:gd name="connsiteY137" fmla="*/ 4107180 h 4320540"/>
              <a:gd name="connsiteX138" fmla="*/ 5654838 w 7401213"/>
              <a:gd name="connsiteY138" fmla="*/ 4091940 h 4320540"/>
              <a:gd name="connsiteX139" fmla="*/ 5952018 w 7401213"/>
              <a:gd name="connsiteY139" fmla="*/ 3985260 h 4320540"/>
              <a:gd name="connsiteX140" fmla="*/ 6355878 w 7401213"/>
              <a:gd name="connsiteY140" fmla="*/ 3840480 h 4320540"/>
              <a:gd name="connsiteX141" fmla="*/ 6889278 w 7401213"/>
              <a:gd name="connsiteY141" fmla="*/ 3474720 h 4320540"/>
              <a:gd name="connsiteX142" fmla="*/ 7125498 w 7401213"/>
              <a:gd name="connsiteY142" fmla="*/ 3230880 h 4320540"/>
              <a:gd name="connsiteX143" fmla="*/ 7399818 w 7401213"/>
              <a:gd name="connsiteY143" fmla="*/ 2438400 h 4320540"/>
              <a:gd name="connsiteX144" fmla="*/ 7361718 w 7401213"/>
              <a:gd name="connsiteY144" fmla="*/ 1790700 h 4320540"/>
              <a:gd name="connsiteX145" fmla="*/ 7247418 w 7401213"/>
              <a:gd name="connsiteY145" fmla="*/ 1249680 h 4320540"/>
              <a:gd name="connsiteX146" fmla="*/ 7178838 w 7401213"/>
              <a:gd name="connsiteY146" fmla="*/ 899160 h 4320540"/>
              <a:gd name="connsiteX147" fmla="*/ 7163598 w 7401213"/>
              <a:gd name="connsiteY147" fmla="*/ 701040 h 4320540"/>
              <a:gd name="connsiteX148" fmla="*/ 7148358 w 7401213"/>
              <a:gd name="connsiteY148" fmla="*/ 396240 h 4320540"/>
              <a:gd name="connsiteX149" fmla="*/ 7072158 w 7401213"/>
              <a:gd name="connsiteY149" fmla="*/ 205740 h 4320540"/>
              <a:gd name="connsiteX150" fmla="*/ 7018818 w 7401213"/>
              <a:gd name="connsiteY150" fmla="*/ 99060 h 4320540"/>
              <a:gd name="connsiteX151" fmla="*/ 6767358 w 7401213"/>
              <a:gd name="connsiteY151" fmla="*/ 22860 h 4320540"/>
              <a:gd name="connsiteX152" fmla="*/ 6614958 w 7401213"/>
              <a:gd name="connsiteY152" fmla="*/ 45720 h 4320540"/>
              <a:gd name="connsiteX153" fmla="*/ 6592098 w 7401213"/>
              <a:gd name="connsiteY153" fmla="*/ 68580 h 4320540"/>
              <a:gd name="connsiteX154" fmla="*/ 6546378 w 7401213"/>
              <a:gd name="connsiteY154" fmla="*/ 83820 h 4320540"/>
              <a:gd name="connsiteX155" fmla="*/ 6447318 w 7401213"/>
              <a:gd name="connsiteY155" fmla="*/ 76200 h 4320540"/>
              <a:gd name="connsiteX156" fmla="*/ 6371118 w 7401213"/>
              <a:gd name="connsiteY156" fmla="*/ 68580 h 4320540"/>
              <a:gd name="connsiteX157" fmla="*/ 5921538 w 7401213"/>
              <a:gd name="connsiteY157" fmla="*/ 60960 h 4320540"/>
              <a:gd name="connsiteX158" fmla="*/ 5311938 w 7401213"/>
              <a:gd name="connsiteY158" fmla="*/ 38100 h 4320540"/>
              <a:gd name="connsiteX159" fmla="*/ 5266218 w 7401213"/>
              <a:gd name="connsiteY159" fmla="*/ 30480 h 4320540"/>
              <a:gd name="connsiteX160" fmla="*/ 5151918 w 7401213"/>
              <a:gd name="connsiteY160" fmla="*/ 22860 h 4320540"/>
              <a:gd name="connsiteX161" fmla="*/ 4847118 w 7401213"/>
              <a:gd name="connsiteY161" fmla="*/ 30480 h 4320540"/>
              <a:gd name="connsiteX162" fmla="*/ 4793778 w 7401213"/>
              <a:gd name="connsiteY162" fmla="*/ 38100 h 4320540"/>
              <a:gd name="connsiteX163" fmla="*/ 4732818 w 7401213"/>
              <a:gd name="connsiteY163" fmla="*/ 53340 h 4320540"/>
              <a:gd name="connsiteX164" fmla="*/ 4687098 w 7401213"/>
              <a:gd name="connsiteY164" fmla="*/ 76200 h 4320540"/>
              <a:gd name="connsiteX165" fmla="*/ 4664238 w 7401213"/>
              <a:gd name="connsiteY165" fmla="*/ 91440 h 4320540"/>
              <a:gd name="connsiteX166" fmla="*/ 4671858 w 7401213"/>
              <a:gd name="connsiteY166" fmla="*/ 76200 h 4320540"/>
              <a:gd name="connsiteX0" fmla="*/ 4671858 w 7401213"/>
              <a:gd name="connsiteY0" fmla="*/ 76200 h 4320540"/>
              <a:gd name="connsiteX1" fmla="*/ 4671858 w 7401213"/>
              <a:gd name="connsiteY1" fmla="*/ 76200 h 4320540"/>
              <a:gd name="connsiteX2" fmla="*/ 4664238 w 7401213"/>
              <a:gd name="connsiteY2" fmla="*/ 396240 h 4320540"/>
              <a:gd name="connsiteX3" fmla="*/ 4648998 w 7401213"/>
              <a:gd name="connsiteY3" fmla="*/ 495300 h 4320540"/>
              <a:gd name="connsiteX4" fmla="*/ 4641378 w 7401213"/>
              <a:gd name="connsiteY4" fmla="*/ 670560 h 4320540"/>
              <a:gd name="connsiteX5" fmla="*/ 4626138 w 7401213"/>
              <a:gd name="connsiteY5" fmla="*/ 807720 h 4320540"/>
              <a:gd name="connsiteX6" fmla="*/ 4648998 w 7401213"/>
              <a:gd name="connsiteY6" fmla="*/ 944880 h 4320540"/>
              <a:gd name="connsiteX7" fmla="*/ 4664238 w 7401213"/>
              <a:gd name="connsiteY7" fmla="*/ 967740 h 4320540"/>
              <a:gd name="connsiteX8" fmla="*/ 4801398 w 7401213"/>
              <a:gd name="connsiteY8" fmla="*/ 1181100 h 4320540"/>
              <a:gd name="connsiteX9" fmla="*/ 4809018 w 7401213"/>
              <a:gd name="connsiteY9" fmla="*/ 1203960 h 4320540"/>
              <a:gd name="connsiteX10" fmla="*/ 4847118 w 7401213"/>
              <a:gd name="connsiteY10" fmla="*/ 1592580 h 4320540"/>
              <a:gd name="connsiteX11" fmla="*/ 4862358 w 7401213"/>
              <a:gd name="connsiteY11" fmla="*/ 1623060 h 4320540"/>
              <a:gd name="connsiteX12" fmla="*/ 4877598 w 7401213"/>
              <a:gd name="connsiteY12" fmla="*/ 1661160 h 4320540"/>
              <a:gd name="connsiteX13" fmla="*/ 4900458 w 7401213"/>
              <a:gd name="connsiteY13" fmla="*/ 1691640 h 4320540"/>
              <a:gd name="connsiteX14" fmla="*/ 4961418 w 7401213"/>
              <a:gd name="connsiteY14" fmla="*/ 1798320 h 4320540"/>
              <a:gd name="connsiteX15" fmla="*/ 4969038 w 7401213"/>
              <a:gd name="connsiteY15" fmla="*/ 1828800 h 4320540"/>
              <a:gd name="connsiteX16" fmla="*/ 5014758 w 7401213"/>
              <a:gd name="connsiteY16" fmla="*/ 1889760 h 4320540"/>
              <a:gd name="connsiteX17" fmla="*/ 5022378 w 7401213"/>
              <a:gd name="connsiteY17" fmla="*/ 1912620 h 4320540"/>
              <a:gd name="connsiteX18" fmla="*/ 5052858 w 7401213"/>
              <a:gd name="connsiteY18" fmla="*/ 1965960 h 4320540"/>
              <a:gd name="connsiteX19" fmla="*/ 5013806 w 7401213"/>
              <a:gd name="connsiteY19" fmla="*/ 2111692 h 4320540"/>
              <a:gd name="connsiteX20" fmla="*/ 5050000 w 7401213"/>
              <a:gd name="connsiteY20" fmla="*/ 2210752 h 4320540"/>
              <a:gd name="connsiteX21" fmla="*/ 5098578 w 7401213"/>
              <a:gd name="connsiteY21" fmla="*/ 2148840 h 4320540"/>
              <a:gd name="connsiteX22" fmla="*/ 5127153 w 7401213"/>
              <a:gd name="connsiteY22" fmla="*/ 2240280 h 4320540"/>
              <a:gd name="connsiteX23" fmla="*/ 5182398 w 7401213"/>
              <a:gd name="connsiteY23" fmla="*/ 2232660 h 4320540"/>
              <a:gd name="connsiteX24" fmla="*/ 5311938 w 7401213"/>
              <a:gd name="connsiteY24" fmla="*/ 2237423 h 4320540"/>
              <a:gd name="connsiteX25" fmla="*/ 5449098 w 7401213"/>
              <a:gd name="connsiteY25" fmla="*/ 2293620 h 4320540"/>
              <a:gd name="connsiteX26" fmla="*/ 5510058 w 7401213"/>
              <a:gd name="connsiteY26" fmla="*/ 2324100 h 4320540"/>
              <a:gd name="connsiteX27" fmla="*/ 5525298 w 7401213"/>
              <a:gd name="connsiteY27" fmla="*/ 2362200 h 4320540"/>
              <a:gd name="connsiteX28" fmla="*/ 5548158 w 7401213"/>
              <a:gd name="connsiteY28" fmla="*/ 2392680 h 4320540"/>
              <a:gd name="connsiteX29" fmla="*/ 5578638 w 7401213"/>
              <a:gd name="connsiteY29" fmla="*/ 2446020 h 4320540"/>
              <a:gd name="connsiteX30" fmla="*/ 5601498 w 7401213"/>
              <a:gd name="connsiteY30" fmla="*/ 2491740 h 4320540"/>
              <a:gd name="connsiteX31" fmla="*/ 5631978 w 7401213"/>
              <a:gd name="connsiteY31" fmla="*/ 2560320 h 4320540"/>
              <a:gd name="connsiteX32" fmla="*/ 5654838 w 7401213"/>
              <a:gd name="connsiteY32" fmla="*/ 2735580 h 4320540"/>
              <a:gd name="connsiteX33" fmla="*/ 5662458 w 7401213"/>
              <a:gd name="connsiteY33" fmla="*/ 2971800 h 4320540"/>
              <a:gd name="connsiteX34" fmla="*/ 5715798 w 7401213"/>
              <a:gd name="connsiteY34" fmla="*/ 3208020 h 4320540"/>
              <a:gd name="connsiteX35" fmla="*/ 5761518 w 7401213"/>
              <a:gd name="connsiteY35" fmla="*/ 3337560 h 4320540"/>
              <a:gd name="connsiteX36" fmla="*/ 5769138 w 7401213"/>
              <a:gd name="connsiteY36" fmla="*/ 3375660 h 4320540"/>
              <a:gd name="connsiteX37" fmla="*/ 5776758 w 7401213"/>
              <a:gd name="connsiteY37" fmla="*/ 3429000 h 4320540"/>
              <a:gd name="connsiteX38" fmla="*/ 5807238 w 7401213"/>
              <a:gd name="connsiteY38" fmla="*/ 3566160 h 4320540"/>
              <a:gd name="connsiteX39" fmla="*/ 5791998 w 7401213"/>
              <a:gd name="connsiteY39" fmla="*/ 3909060 h 4320540"/>
              <a:gd name="connsiteX40" fmla="*/ 5738658 w 7401213"/>
              <a:gd name="connsiteY40" fmla="*/ 4000500 h 4320540"/>
              <a:gd name="connsiteX41" fmla="*/ 5731038 w 7401213"/>
              <a:gd name="connsiteY41" fmla="*/ 4023360 h 4320540"/>
              <a:gd name="connsiteX42" fmla="*/ 5654838 w 7401213"/>
              <a:gd name="connsiteY42" fmla="*/ 4107180 h 4320540"/>
              <a:gd name="connsiteX43" fmla="*/ 5616738 w 7401213"/>
              <a:gd name="connsiteY43" fmla="*/ 4122420 h 4320540"/>
              <a:gd name="connsiteX44" fmla="*/ 5593878 w 7401213"/>
              <a:gd name="connsiteY44" fmla="*/ 4137660 h 4320540"/>
              <a:gd name="connsiteX45" fmla="*/ 5540538 w 7401213"/>
              <a:gd name="connsiteY45" fmla="*/ 4145280 h 4320540"/>
              <a:gd name="connsiteX46" fmla="*/ 5456718 w 7401213"/>
              <a:gd name="connsiteY46" fmla="*/ 4168140 h 4320540"/>
              <a:gd name="connsiteX47" fmla="*/ 5243358 w 7401213"/>
              <a:gd name="connsiteY47" fmla="*/ 4175760 h 4320540"/>
              <a:gd name="connsiteX48" fmla="*/ 5129058 w 7401213"/>
              <a:gd name="connsiteY48" fmla="*/ 4183380 h 4320540"/>
              <a:gd name="connsiteX49" fmla="*/ 5052858 w 7401213"/>
              <a:gd name="connsiteY49" fmla="*/ 4198620 h 4320540"/>
              <a:gd name="connsiteX50" fmla="*/ 5022378 w 7401213"/>
              <a:gd name="connsiteY50" fmla="*/ 4213860 h 4320540"/>
              <a:gd name="connsiteX51" fmla="*/ 4976658 w 7401213"/>
              <a:gd name="connsiteY51" fmla="*/ 4221480 h 4320540"/>
              <a:gd name="connsiteX52" fmla="*/ 4930938 w 7401213"/>
              <a:gd name="connsiteY52" fmla="*/ 4236720 h 4320540"/>
              <a:gd name="connsiteX53" fmla="*/ 4648998 w 7401213"/>
              <a:gd name="connsiteY53" fmla="*/ 4244340 h 4320540"/>
              <a:gd name="connsiteX54" fmla="*/ 4527078 w 7401213"/>
              <a:gd name="connsiteY54" fmla="*/ 4251960 h 4320540"/>
              <a:gd name="connsiteX55" fmla="*/ 4397538 w 7401213"/>
              <a:gd name="connsiteY55" fmla="*/ 4267200 h 4320540"/>
              <a:gd name="connsiteX56" fmla="*/ 3978438 w 7401213"/>
              <a:gd name="connsiteY56" fmla="*/ 4289107 h 4320540"/>
              <a:gd name="connsiteX57" fmla="*/ 3688878 w 7401213"/>
              <a:gd name="connsiteY57" fmla="*/ 4267200 h 4320540"/>
              <a:gd name="connsiteX58" fmla="*/ 3650778 w 7401213"/>
              <a:gd name="connsiteY58" fmla="*/ 4198620 h 4320540"/>
              <a:gd name="connsiteX59" fmla="*/ 3643158 w 7401213"/>
              <a:gd name="connsiteY59" fmla="*/ 4130040 h 4320540"/>
              <a:gd name="connsiteX60" fmla="*/ 3627918 w 7401213"/>
              <a:gd name="connsiteY60" fmla="*/ 4099560 h 4320540"/>
              <a:gd name="connsiteX61" fmla="*/ 3597438 w 7401213"/>
              <a:gd name="connsiteY61" fmla="*/ 4023360 h 4320540"/>
              <a:gd name="connsiteX62" fmla="*/ 3612678 w 7401213"/>
              <a:gd name="connsiteY62" fmla="*/ 3718560 h 4320540"/>
              <a:gd name="connsiteX63" fmla="*/ 3620298 w 7401213"/>
              <a:gd name="connsiteY63" fmla="*/ 3627120 h 4320540"/>
              <a:gd name="connsiteX64" fmla="*/ 3612678 w 7401213"/>
              <a:gd name="connsiteY64" fmla="*/ 3284220 h 4320540"/>
              <a:gd name="connsiteX65" fmla="*/ 3597438 w 7401213"/>
              <a:gd name="connsiteY65" fmla="*/ 3215640 h 4320540"/>
              <a:gd name="connsiteX66" fmla="*/ 3490758 w 7401213"/>
              <a:gd name="connsiteY66" fmla="*/ 3055620 h 4320540"/>
              <a:gd name="connsiteX67" fmla="*/ 3399318 w 7401213"/>
              <a:gd name="connsiteY67" fmla="*/ 2933700 h 4320540"/>
              <a:gd name="connsiteX68" fmla="*/ 3345978 w 7401213"/>
              <a:gd name="connsiteY68" fmla="*/ 2819400 h 4320540"/>
              <a:gd name="connsiteX69" fmla="*/ 3330738 w 7401213"/>
              <a:gd name="connsiteY69" fmla="*/ 2727960 h 4320540"/>
              <a:gd name="connsiteX70" fmla="*/ 3277398 w 7401213"/>
              <a:gd name="connsiteY70" fmla="*/ 2537460 h 4320540"/>
              <a:gd name="connsiteX71" fmla="*/ 3285018 w 7401213"/>
              <a:gd name="connsiteY71" fmla="*/ 1958340 h 4320540"/>
              <a:gd name="connsiteX72" fmla="*/ 3277398 w 7401213"/>
              <a:gd name="connsiteY72" fmla="*/ 1592580 h 4320540"/>
              <a:gd name="connsiteX73" fmla="*/ 3262158 w 7401213"/>
              <a:gd name="connsiteY73" fmla="*/ 1546860 h 4320540"/>
              <a:gd name="connsiteX74" fmla="*/ 3231678 w 7401213"/>
              <a:gd name="connsiteY74" fmla="*/ 1409700 h 4320540"/>
              <a:gd name="connsiteX75" fmla="*/ 3185958 w 7401213"/>
              <a:gd name="connsiteY75" fmla="*/ 1280160 h 4320540"/>
              <a:gd name="connsiteX76" fmla="*/ 3140238 w 7401213"/>
              <a:gd name="connsiteY76" fmla="*/ 792480 h 4320540"/>
              <a:gd name="connsiteX77" fmla="*/ 3086898 w 7401213"/>
              <a:gd name="connsiteY77" fmla="*/ 655320 h 4320540"/>
              <a:gd name="connsiteX78" fmla="*/ 3064038 w 7401213"/>
              <a:gd name="connsiteY78" fmla="*/ 548640 h 4320540"/>
              <a:gd name="connsiteX79" fmla="*/ 3003078 w 7401213"/>
              <a:gd name="connsiteY79" fmla="*/ 152400 h 4320540"/>
              <a:gd name="connsiteX80" fmla="*/ 2789718 w 7401213"/>
              <a:gd name="connsiteY80" fmla="*/ 60960 h 4320540"/>
              <a:gd name="connsiteX81" fmla="*/ 2644938 w 7401213"/>
              <a:gd name="connsiteY81" fmla="*/ 30480 h 4320540"/>
              <a:gd name="connsiteX82" fmla="*/ 2583978 w 7401213"/>
              <a:gd name="connsiteY82" fmla="*/ 38100 h 4320540"/>
              <a:gd name="connsiteX83" fmla="*/ 2538258 w 7401213"/>
              <a:gd name="connsiteY83" fmla="*/ 68580 h 4320540"/>
              <a:gd name="connsiteX84" fmla="*/ 2462058 w 7401213"/>
              <a:gd name="connsiteY84" fmla="*/ 91440 h 4320540"/>
              <a:gd name="connsiteX85" fmla="*/ 2142018 w 7401213"/>
              <a:gd name="connsiteY85" fmla="*/ 53340 h 4320540"/>
              <a:gd name="connsiteX86" fmla="*/ 1646718 w 7401213"/>
              <a:gd name="connsiteY86" fmla="*/ 45720 h 4320540"/>
              <a:gd name="connsiteX87" fmla="*/ 1585758 w 7401213"/>
              <a:gd name="connsiteY87" fmla="*/ 38100 h 4320540"/>
              <a:gd name="connsiteX88" fmla="*/ 1410498 w 7401213"/>
              <a:gd name="connsiteY88" fmla="*/ 22860 h 4320540"/>
              <a:gd name="connsiteX89" fmla="*/ 1311438 w 7401213"/>
              <a:gd name="connsiteY89" fmla="*/ 0 h 4320540"/>
              <a:gd name="connsiteX90" fmla="*/ 1098078 w 7401213"/>
              <a:gd name="connsiteY90" fmla="*/ 15240 h 4320540"/>
              <a:gd name="connsiteX91" fmla="*/ 1052358 w 7401213"/>
              <a:gd name="connsiteY91" fmla="*/ 30480 h 4320540"/>
              <a:gd name="connsiteX92" fmla="*/ 968538 w 7401213"/>
              <a:gd name="connsiteY92" fmla="*/ 60960 h 4320540"/>
              <a:gd name="connsiteX93" fmla="*/ 899958 w 7401213"/>
              <a:gd name="connsiteY93" fmla="*/ 76200 h 4320540"/>
              <a:gd name="connsiteX94" fmla="*/ 762798 w 7401213"/>
              <a:gd name="connsiteY94" fmla="*/ 106680 h 4320540"/>
              <a:gd name="connsiteX95" fmla="*/ 709458 w 7401213"/>
              <a:gd name="connsiteY95" fmla="*/ 121920 h 4320540"/>
              <a:gd name="connsiteX96" fmla="*/ 648498 w 7401213"/>
              <a:gd name="connsiteY96" fmla="*/ 137160 h 4320540"/>
              <a:gd name="connsiteX97" fmla="*/ 602778 w 7401213"/>
              <a:gd name="connsiteY97" fmla="*/ 152400 h 4320540"/>
              <a:gd name="connsiteX98" fmla="*/ 503718 w 7401213"/>
              <a:gd name="connsiteY98" fmla="*/ 205740 h 4320540"/>
              <a:gd name="connsiteX99" fmla="*/ 473238 w 7401213"/>
              <a:gd name="connsiteY99" fmla="*/ 236220 h 4320540"/>
              <a:gd name="connsiteX100" fmla="*/ 244638 w 7401213"/>
              <a:gd name="connsiteY100" fmla="*/ 411480 h 4320540"/>
              <a:gd name="connsiteX101" fmla="*/ 115098 w 7401213"/>
              <a:gd name="connsiteY101" fmla="*/ 662940 h 4320540"/>
              <a:gd name="connsiteX102" fmla="*/ 8418 w 7401213"/>
              <a:gd name="connsiteY102" fmla="*/ 1028700 h 4320540"/>
              <a:gd name="connsiteX103" fmla="*/ 798 w 7401213"/>
              <a:gd name="connsiteY103" fmla="*/ 1188720 h 4320540"/>
              <a:gd name="connsiteX104" fmla="*/ 107478 w 7401213"/>
              <a:gd name="connsiteY104" fmla="*/ 1866900 h 4320540"/>
              <a:gd name="connsiteX105" fmla="*/ 358938 w 7401213"/>
              <a:gd name="connsiteY105" fmla="*/ 2506980 h 4320540"/>
              <a:gd name="connsiteX106" fmla="*/ 587538 w 7401213"/>
              <a:gd name="connsiteY106" fmla="*/ 3078480 h 4320540"/>
              <a:gd name="connsiteX107" fmla="*/ 755178 w 7401213"/>
              <a:gd name="connsiteY107" fmla="*/ 3436620 h 4320540"/>
              <a:gd name="connsiteX108" fmla="*/ 877098 w 7401213"/>
              <a:gd name="connsiteY108" fmla="*/ 3657600 h 4320540"/>
              <a:gd name="connsiteX109" fmla="*/ 976158 w 7401213"/>
              <a:gd name="connsiteY109" fmla="*/ 3764280 h 4320540"/>
              <a:gd name="connsiteX110" fmla="*/ 1235238 w 7401213"/>
              <a:gd name="connsiteY110" fmla="*/ 3939540 h 4320540"/>
              <a:gd name="connsiteX111" fmla="*/ 1494318 w 7401213"/>
              <a:gd name="connsiteY111" fmla="*/ 3985260 h 4320540"/>
              <a:gd name="connsiteX112" fmla="*/ 1745778 w 7401213"/>
              <a:gd name="connsiteY112" fmla="*/ 4000500 h 4320540"/>
              <a:gd name="connsiteX113" fmla="*/ 1966758 w 7401213"/>
              <a:gd name="connsiteY113" fmla="*/ 4114800 h 4320540"/>
              <a:gd name="connsiteX114" fmla="*/ 2081058 w 7401213"/>
              <a:gd name="connsiteY114" fmla="*/ 4175760 h 4320540"/>
              <a:gd name="connsiteX115" fmla="*/ 2134398 w 7401213"/>
              <a:gd name="connsiteY115" fmla="*/ 4183380 h 4320540"/>
              <a:gd name="connsiteX116" fmla="*/ 2576358 w 7401213"/>
              <a:gd name="connsiteY116" fmla="*/ 4160520 h 4320540"/>
              <a:gd name="connsiteX117" fmla="*/ 3170718 w 7401213"/>
              <a:gd name="connsiteY117" fmla="*/ 4183380 h 4320540"/>
              <a:gd name="connsiteX118" fmla="*/ 3285018 w 7401213"/>
              <a:gd name="connsiteY118" fmla="*/ 4206240 h 4320540"/>
              <a:gd name="connsiteX119" fmla="*/ 3376458 w 7401213"/>
              <a:gd name="connsiteY119" fmla="*/ 4236720 h 4320540"/>
              <a:gd name="connsiteX120" fmla="*/ 3452658 w 7401213"/>
              <a:gd name="connsiteY120" fmla="*/ 4251960 h 4320540"/>
              <a:gd name="connsiteX121" fmla="*/ 3490758 w 7401213"/>
              <a:gd name="connsiteY121" fmla="*/ 4267200 h 4320540"/>
              <a:gd name="connsiteX122" fmla="*/ 3605058 w 7401213"/>
              <a:gd name="connsiteY122" fmla="*/ 4274820 h 4320540"/>
              <a:gd name="connsiteX123" fmla="*/ 3643158 w 7401213"/>
              <a:gd name="connsiteY123" fmla="*/ 4282440 h 4320540"/>
              <a:gd name="connsiteX124" fmla="*/ 3909858 w 7401213"/>
              <a:gd name="connsiteY124" fmla="*/ 4313873 h 4320540"/>
              <a:gd name="connsiteX125" fmla="*/ 3986058 w 7401213"/>
              <a:gd name="connsiteY125" fmla="*/ 4320540 h 4320540"/>
              <a:gd name="connsiteX126" fmla="*/ 4053686 w 7401213"/>
              <a:gd name="connsiteY126" fmla="*/ 4313873 h 4320540"/>
              <a:gd name="connsiteX127" fmla="*/ 4085118 w 7401213"/>
              <a:gd name="connsiteY127" fmla="*/ 4312920 h 4320540"/>
              <a:gd name="connsiteX128" fmla="*/ 4138458 w 7401213"/>
              <a:gd name="connsiteY128" fmla="*/ 4274820 h 4320540"/>
              <a:gd name="connsiteX129" fmla="*/ 4168938 w 7401213"/>
              <a:gd name="connsiteY129" fmla="*/ 4267200 h 4320540"/>
              <a:gd name="connsiteX130" fmla="*/ 4328958 w 7401213"/>
              <a:gd name="connsiteY130" fmla="*/ 4259580 h 4320540"/>
              <a:gd name="connsiteX131" fmla="*/ 4877598 w 7401213"/>
              <a:gd name="connsiteY131" fmla="*/ 4244340 h 4320540"/>
              <a:gd name="connsiteX132" fmla="*/ 4930938 w 7401213"/>
              <a:gd name="connsiteY132" fmla="*/ 4236720 h 4320540"/>
              <a:gd name="connsiteX133" fmla="*/ 4953798 w 7401213"/>
              <a:gd name="connsiteY133" fmla="*/ 4229100 h 4320540"/>
              <a:gd name="connsiteX134" fmla="*/ 5014758 w 7401213"/>
              <a:gd name="connsiteY134" fmla="*/ 4206240 h 4320540"/>
              <a:gd name="connsiteX135" fmla="*/ 5190018 w 7401213"/>
              <a:gd name="connsiteY135" fmla="*/ 4145280 h 4320540"/>
              <a:gd name="connsiteX136" fmla="*/ 5593878 w 7401213"/>
              <a:gd name="connsiteY136" fmla="*/ 4122420 h 4320540"/>
              <a:gd name="connsiteX137" fmla="*/ 5631978 w 7401213"/>
              <a:gd name="connsiteY137" fmla="*/ 4107180 h 4320540"/>
              <a:gd name="connsiteX138" fmla="*/ 5654838 w 7401213"/>
              <a:gd name="connsiteY138" fmla="*/ 4091940 h 4320540"/>
              <a:gd name="connsiteX139" fmla="*/ 5952018 w 7401213"/>
              <a:gd name="connsiteY139" fmla="*/ 3985260 h 4320540"/>
              <a:gd name="connsiteX140" fmla="*/ 6355878 w 7401213"/>
              <a:gd name="connsiteY140" fmla="*/ 3840480 h 4320540"/>
              <a:gd name="connsiteX141" fmla="*/ 6889278 w 7401213"/>
              <a:gd name="connsiteY141" fmla="*/ 3474720 h 4320540"/>
              <a:gd name="connsiteX142" fmla="*/ 7125498 w 7401213"/>
              <a:gd name="connsiteY142" fmla="*/ 3230880 h 4320540"/>
              <a:gd name="connsiteX143" fmla="*/ 7399818 w 7401213"/>
              <a:gd name="connsiteY143" fmla="*/ 2438400 h 4320540"/>
              <a:gd name="connsiteX144" fmla="*/ 7361718 w 7401213"/>
              <a:gd name="connsiteY144" fmla="*/ 1790700 h 4320540"/>
              <a:gd name="connsiteX145" fmla="*/ 7247418 w 7401213"/>
              <a:gd name="connsiteY145" fmla="*/ 1249680 h 4320540"/>
              <a:gd name="connsiteX146" fmla="*/ 7178838 w 7401213"/>
              <a:gd name="connsiteY146" fmla="*/ 899160 h 4320540"/>
              <a:gd name="connsiteX147" fmla="*/ 7163598 w 7401213"/>
              <a:gd name="connsiteY147" fmla="*/ 701040 h 4320540"/>
              <a:gd name="connsiteX148" fmla="*/ 7148358 w 7401213"/>
              <a:gd name="connsiteY148" fmla="*/ 396240 h 4320540"/>
              <a:gd name="connsiteX149" fmla="*/ 7072158 w 7401213"/>
              <a:gd name="connsiteY149" fmla="*/ 205740 h 4320540"/>
              <a:gd name="connsiteX150" fmla="*/ 7018818 w 7401213"/>
              <a:gd name="connsiteY150" fmla="*/ 99060 h 4320540"/>
              <a:gd name="connsiteX151" fmla="*/ 6767358 w 7401213"/>
              <a:gd name="connsiteY151" fmla="*/ 22860 h 4320540"/>
              <a:gd name="connsiteX152" fmla="*/ 6614958 w 7401213"/>
              <a:gd name="connsiteY152" fmla="*/ 45720 h 4320540"/>
              <a:gd name="connsiteX153" fmla="*/ 6592098 w 7401213"/>
              <a:gd name="connsiteY153" fmla="*/ 68580 h 4320540"/>
              <a:gd name="connsiteX154" fmla="*/ 6546378 w 7401213"/>
              <a:gd name="connsiteY154" fmla="*/ 83820 h 4320540"/>
              <a:gd name="connsiteX155" fmla="*/ 6447318 w 7401213"/>
              <a:gd name="connsiteY155" fmla="*/ 76200 h 4320540"/>
              <a:gd name="connsiteX156" fmla="*/ 6371118 w 7401213"/>
              <a:gd name="connsiteY156" fmla="*/ 68580 h 4320540"/>
              <a:gd name="connsiteX157" fmla="*/ 5921538 w 7401213"/>
              <a:gd name="connsiteY157" fmla="*/ 60960 h 4320540"/>
              <a:gd name="connsiteX158" fmla="*/ 5311938 w 7401213"/>
              <a:gd name="connsiteY158" fmla="*/ 38100 h 4320540"/>
              <a:gd name="connsiteX159" fmla="*/ 5266218 w 7401213"/>
              <a:gd name="connsiteY159" fmla="*/ 30480 h 4320540"/>
              <a:gd name="connsiteX160" fmla="*/ 5151918 w 7401213"/>
              <a:gd name="connsiteY160" fmla="*/ 22860 h 4320540"/>
              <a:gd name="connsiteX161" fmla="*/ 4847118 w 7401213"/>
              <a:gd name="connsiteY161" fmla="*/ 30480 h 4320540"/>
              <a:gd name="connsiteX162" fmla="*/ 4793778 w 7401213"/>
              <a:gd name="connsiteY162" fmla="*/ 38100 h 4320540"/>
              <a:gd name="connsiteX163" fmla="*/ 4732818 w 7401213"/>
              <a:gd name="connsiteY163" fmla="*/ 53340 h 4320540"/>
              <a:gd name="connsiteX164" fmla="*/ 4687098 w 7401213"/>
              <a:gd name="connsiteY164" fmla="*/ 76200 h 4320540"/>
              <a:gd name="connsiteX165" fmla="*/ 4664238 w 7401213"/>
              <a:gd name="connsiteY165" fmla="*/ 91440 h 4320540"/>
              <a:gd name="connsiteX166" fmla="*/ 4671858 w 7401213"/>
              <a:gd name="connsiteY166" fmla="*/ 76200 h 4320540"/>
              <a:gd name="connsiteX0" fmla="*/ 4671858 w 7401213"/>
              <a:gd name="connsiteY0" fmla="*/ 76200 h 4320540"/>
              <a:gd name="connsiteX1" fmla="*/ 4671858 w 7401213"/>
              <a:gd name="connsiteY1" fmla="*/ 76200 h 4320540"/>
              <a:gd name="connsiteX2" fmla="*/ 4664238 w 7401213"/>
              <a:gd name="connsiteY2" fmla="*/ 396240 h 4320540"/>
              <a:gd name="connsiteX3" fmla="*/ 4648998 w 7401213"/>
              <a:gd name="connsiteY3" fmla="*/ 495300 h 4320540"/>
              <a:gd name="connsiteX4" fmla="*/ 4641378 w 7401213"/>
              <a:gd name="connsiteY4" fmla="*/ 670560 h 4320540"/>
              <a:gd name="connsiteX5" fmla="*/ 4626138 w 7401213"/>
              <a:gd name="connsiteY5" fmla="*/ 807720 h 4320540"/>
              <a:gd name="connsiteX6" fmla="*/ 4648998 w 7401213"/>
              <a:gd name="connsiteY6" fmla="*/ 944880 h 4320540"/>
              <a:gd name="connsiteX7" fmla="*/ 4664238 w 7401213"/>
              <a:gd name="connsiteY7" fmla="*/ 967740 h 4320540"/>
              <a:gd name="connsiteX8" fmla="*/ 4801398 w 7401213"/>
              <a:gd name="connsiteY8" fmla="*/ 1181100 h 4320540"/>
              <a:gd name="connsiteX9" fmla="*/ 4809018 w 7401213"/>
              <a:gd name="connsiteY9" fmla="*/ 1203960 h 4320540"/>
              <a:gd name="connsiteX10" fmla="*/ 4847118 w 7401213"/>
              <a:gd name="connsiteY10" fmla="*/ 1592580 h 4320540"/>
              <a:gd name="connsiteX11" fmla="*/ 4862358 w 7401213"/>
              <a:gd name="connsiteY11" fmla="*/ 1623060 h 4320540"/>
              <a:gd name="connsiteX12" fmla="*/ 4877598 w 7401213"/>
              <a:gd name="connsiteY12" fmla="*/ 1661160 h 4320540"/>
              <a:gd name="connsiteX13" fmla="*/ 4900458 w 7401213"/>
              <a:gd name="connsiteY13" fmla="*/ 1691640 h 4320540"/>
              <a:gd name="connsiteX14" fmla="*/ 4961418 w 7401213"/>
              <a:gd name="connsiteY14" fmla="*/ 1798320 h 4320540"/>
              <a:gd name="connsiteX15" fmla="*/ 4969038 w 7401213"/>
              <a:gd name="connsiteY15" fmla="*/ 1828800 h 4320540"/>
              <a:gd name="connsiteX16" fmla="*/ 5014758 w 7401213"/>
              <a:gd name="connsiteY16" fmla="*/ 1889760 h 4320540"/>
              <a:gd name="connsiteX17" fmla="*/ 5022378 w 7401213"/>
              <a:gd name="connsiteY17" fmla="*/ 1912620 h 4320540"/>
              <a:gd name="connsiteX18" fmla="*/ 5052858 w 7401213"/>
              <a:gd name="connsiteY18" fmla="*/ 1965960 h 4320540"/>
              <a:gd name="connsiteX19" fmla="*/ 5013806 w 7401213"/>
              <a:gd name="connsiteY19" fmla="*/ 2111692 h 4320540"/>
              <a:gd name="connsiteX20" fmla="*/ 5050000 w 7401213"/>
              <a:gd name="connsiteY20" fmla="*/ 2210752 h 4320540"/>
              <a:gd name="connsiteX21" fmla="*/ 5079528 w 7401213"/>
              <a:gd name="connsiteY21" fmla="*/ 2167890 h 4320540"/>
              <a:gd name="connsiteX22" fmla="*/ 5127153 w 7401213"/>
              <a:gd name="connsiteY22" fmla="*/ 2240280 h 4320540"/>
              <a:gd name="connsiteX23" fmla="*/ 5182398 w 7401213"/>
              <a:gd name="connsiteY23" fmla="*/ 2232660 h 4320540"/>
              <a:gd name="connsiteX24" fmla="*/ 5311938 w 7401213"/>
              <a:gd name="connsiteY24" fmla="*/ 2237423 h 4320540"/>
              <a:gd name="connsiteX25" fmla="*/ 5449098 w 7401213"/>
              <a:gd name="connsiteY25" fmla="*/ 2293620 h 4320540"/>
              <a:gd name="connsiteX26" fmla="*/ 5510058 w 7401213"/>
              <a:gd name="connsiteY26" fmla="*/ 2324100 h 4320540"/>
              <a:gd name="connsiteX27" fmla="*/ 5525298 w 7401213"/>
              <a:gd name="connsiteY27" fmla="*/ 2362200 h 4320540"/>
              <a:gd name="connsiteX28" fmla="*/ 5548158 w 7401213"/>
              <a:gd name="connsiteY28" fmla="*/ 2392680 h 4320540"/>
              <a:gd name="connsiteX29" fmla="*/ 5578638 w 7401213"/>
              <a:gd name="connsiteY29" fmla="*/ 2446020 h 4320540"/>
              <a:gd name="connsiteX30" fmla="*/ 5601498 w 7401213"/>
              <a:gd name="connsiteY30" fmla="*/ 2491740 h 4320540"/>
              <a:gd name="connsiteX31" fmla="*/ 5631978 w 7401213"/>
              <a:gd name="connsiteY31" fmla="*/ 2560320 h 4320540"/>
              <a:gd name="connsiteX32" fmla="*/ 5654838 w 7401213"/>
              <a:gd name="connsiteY32" fmla="*/ 2735580 h 4320540"/>
              <a:gd name="connsiteX33" fmla="*/ 5662458 w 7401213"/>
              <a:gd name="connsiteY33" fmla="*/ 2971800 h 4320540"/>
              <a:gd name="connsiteX34" fmla="*/ 5715798 w 7401213"/>
              <a:gd name="connsiteY34" fmla="*/ 3208020 h 4320540"/>
              <a:gd name="connsiteX35" fmla="*/ 5761518 w 7401213"/>
              <a:gd name="connsiteY35" fmla="*/ 3337560 h 4320540"/>
              <a:gd name="connsiteX36" fmla="*/ 5769138 w 7401213"/>
              <a:gd name="connsiteY36" fmla="*/ 3375660 h 4320540"/>
              <a:gd name="connsiteX37" fmla="*/ 5776758 w 7401213"/>
              <a:gd name="connsiteY37" fmla="*/ 3429000 h 4320540"/>
              <a:gd name="connsiteX38" fmla="*/ 5807238 w 7401213"/>
              <a:gd name="connsiteY38" fmla="*/ 3566160 h 4320540"/>
              <a:gd name="connsiteX39" fmla="*/ 5791998 w 7401213"/>
              <a:gd name="connsiteY39" fmla="*/ 3909060 h 4320540"/>
              <a:gd name="connsiteX40" fmla="*/ 5738658 w 7401213"/>
              <a:gd name="connsiteY40" fmla="*/ 4000500 h 4320540"/>
              <a:gd name="connsiteX41" fmla="*/ 5731038 w 7401213"/>
              <a:gd name="connsiteY41" fmla="*/ 4023360 h 4320540"/>
              <a:gd name="connsiteX42" fmla="*/ 5654838 w 7401213"/>
              <a:gd name="connsiteY42" fmla="*/ 4107180 h 4320540"/>
              <a:gd name="connsiteX43" fmla="*/ 5616738 w 7401213"/>
              <a:gd name="connsiteY43" fmla="*/ 4122420 h 4320540"/>
              <a:gd name="connsiteX44" fmla="*/ 5593878 w 7401213"/>
              <a:gd name="connsiteY44" fmla="*/ 4137660 h 4320540"/>
              <a:gd name="connsiteX45" fmla="*/ 5540538 w 7401213"/>
              <a:gd name="connsiteY45" fmla="*/ 4145280 h 4320540"/>
              <a:gd name="connsiteX46" fmla="*/ 5456718 w 7401213"/>
              <a:gd name="connsiteY46" fmla="*/ 4168140 h 4320540"/>
              <a:gd name="connsiteX47" fmla="*/ 5243358 w 7401213"/>
              <a:gd name="connsiteY47" fmla="*/ 4175760 h 4320540"/>
              <a:gd name="connsiteX48" fmla="*/ 5129058 w 7401213"/>
              <a:gd name="connsiteY48" fmla="*/ 4183380 h 4320540"/>
              <a:gd name="connsiteX49" fmla="*/ 5052858 w 7401213"/>
              <a:gd name="connsiteY49" fmla="*/ 4198620 h 4320540"/>
              <a:gd name="connsiteX50" fmla="*/ 5022378 w 7401213"/>
              <a:gd name="connsiteY50" fmla="*/ 4213860 h 4320540"/>
              <a:gd name="connsiteX51" fmla="*/ 4976658 w 7401213"/>
              <a:gd name="connsiteY51" fmla="*/ 4221480 h 4320540"/>
              <a:gd name="connsiteX52" fmla="*/ 4930938 w 7401213"/>
              <a:gd name="connsiteY52" fmla="*/ 4236720 h 4320540"/>
              <a:gd name="connsiteX53" fmla="*/ 4648998 w 7401213"/>
              <a:gd name="connsiteY53" fmla="*/ 4244340 h 4320540"/>
              <a:gd name="connsiteX54" fmla="*/ 4527078 w 7401213"/>
              <a:gd name="connsiteY54" fmla="*/ 4251960 h 4320540"/>
              <a:gd name="connsiteX55" fmla="*/ 4397538 w 7401213"/>
              <a:gd name="connsiteY55" fmla="*/ 4267200 h 4320540"/>
              <a:gd name="connsiteX56" fmla="*/ 3978438 w 7401213"/>
              <a:gd name="connsiteY56" fmla="*/ 4289107 h 4320540"/>
              <a:gd name="connsiteX57" fmla="*/ 3688878 w 7401213"/>
              <a:gd name="connsiteY57" fmla="*/ 4267200 h 4320540"/>
              <a:gd name="connsiteX58" fmla="*/ 3650778 w 7401213"/>
              <a:gd name="connsiteY58" fmla="*/ 4198620 h 4320540"/>
              <a:gd name="connsiteX59" fmla="*/ 3643158 w 7401213"/>
              <a:gd name="connsiteY59" fmla="*/ 4130040 h 4320540"/>
              <a:gd name="connsiteX60" fmla="*/ 3627918 w 7401213"/>
              <a:gd name="connsiteY60" fmla="*/ 4099560 h 4320540"/>
              <a:gd name="connsiteX61" fmla="*/ 3597438 w 7401213"/>
              <a:gd name="connsiteY61" fmla="*/ 4023360 h 4320540"/>
              <a:gd name="connsiteX62" fmla="*/ 3612678 w 7401213"/>
              <a:gd name="connsiteY62" fmla="*/ 3718560 h 4320540"/>
              <a:gd name="connsiteX63" fmla="*/ 3620298 w 7401213"/>
              <a:gd name="connsiteY63" fmla="*/ 3627120 h 4320540"/>
              <a:gd name="connsiteX64" fmla="*/ 3612678 w 7401213"/>
              <a:gd name="connsiteY64" fmla="*/ 3284220 h 4320540"/>
              <a:gd name="connsiteX65" fmla="*/ 3597438 w 7401213"/>
              <a:gd name="connsiteY65" fmla="*/ 3215640 h 4320540"/>
              <a:gd name="connsiteX66" fmla="*/ 3490758 w 7401213"/>
              <a:gd name="connsiteY66" fmla="*/ 3055620 h 4320540"/>
              <a:gd name="connsiteX67" fmla="*/ 3399318 w 7401213"/>
              <a:gd name="connsiteY67" fmla="*/ 2933700 h 4320540"/>
              <a:gd name="connsiteX68" fmla="*/ 3345978 w 7401213"/>
              <a:gd name="connsiteY68" fmla="*/ 2819400 h 4320540"/>
              <a:gd name="connsiteX69" fmla="*/ 3330738 w 7401213"/>
              <a:gd name="connsiteY69" fmla="*/ 2727960 h 4320540"/>
              <a:gd name="connsiteX70" fmla="*/ 3277398 w 7401213"/>
              <a:gd name="connsiteY70" fmla="*/ 2537460 h 4320540"/>
              <a:gd name="connsiteX71" fmla="*/ 3285018 w 7401213"/>
              <a:gd name="connsiteY71" fmla="*/ 1958340 h 4320540"/>
              <a:gd name="connsiteX72" fmla="*/ 3277398 w 7401213"/>
              <a:gd name="connsiteY72" fmla="*/ 1592580 h 4320540"/>
              <a:gd name="connsiteX73" fmla="*/ 3262158 w 7401213"/>
              <a:gd name="connsiteY73" fmla="*/ 1546860 h 4320540"/>
              <a:gd name="connsiteX74" fmla="*/ 3231678 w 7401213"/>
              <a:gd name="connsiteY74" fmla="*/ 1409700 h 4320540"/>
              <a:gd name="connsiteX75" fmla="*/ 3185958 w 7401213"/>
              <a:gd name="connsiteY75" fmla="*/ 1280160 h 4320540"/>
              <a:gd name="connsiteX76" fmla="*/ 3140238 w 7401213"/>
              <a:gd name="connsiteY76" fmla="*/ 792480 h 4320540"/>
              <a:gd name="connsiteX77" fmla="*/ 3086898 w 7401213"/>
              <a:gd name="connsiteY77" fmla="*/ 655320 h 4320540"/>
              <a:gd name="connsiteX78" fmla="*/ 3064038 w 7401213"/>
              <a:gd name="connsiteY78" fmla="*/ 548640 h 4320540"/>
              <a:gd name="connsiteX79" fmla="*/ 3003078 w 7401213"/>
              <a:gd name="connsiteY79" fmla="*/ 152400 h 4320540"/>
              <a:gd name="connsiteX80" fmla="*/ 2789718 w 7401213"/>
              <a:gd name="connsiteY80" fmla="*/ 60960 h 4320540"/>
              <a:gd name="connsiteX81" fmla="*/ 2644938 w 7401213"/>
              <a:gd name="connsiteY81" fmla="*/ 30480 h 4320540"/>
              <a:gd name="connsiteX82" fmla="*/ 2583978 w 7401213"/>
              <a:gd name="connsiteY82" fmla="*/ 38100 h 4320540"/>
              <a:gd name="connsiteX83" fmla="*/ 2538258 w 7401213"/>
              <a:gd name="connsiteY83" fmla="*/ 68580 h 4320540"/>
              <a:gd name="connsiteX84" fmla="*/ 2462058 w 7401213"/>
              <a:gd name="connsiteY84" fmla="*/ 91440 h 4320540"/>
              <a:gd name="connsiteX85" fmla="*/ 2142018 w 7401213"/>
              <a:gd name="connsiteY85" fmla="*/ 53340 h 4320540"/>
              <a:gd name="connsiteX86" fmla="*/ 1646718 w 7401213"/>
              <a:gd name="connsiteY86" fmla="*/ 45720 h 4320540"/>
              <a:gd name="connsiteX87" fmla="*/ 1585758 w 7401213"/>
              <a:gd name="connsiteY87" fmla="*/ 38100 h 4320540"/>
              <a:gd name="connsiteX88" fmla="*/ 1410498 w 7401213"/>
              <a:gd name="connsiteY88" fmla="*/ 22860 h 4320540"/>
              <a:gd name="connsiteX89" fmla="*/ 1311438 w 7401213"/>
              <a:gd name="connsiteY89" fmla="*/ 0 h 4320540"/>
              <a:gd name="connsiteX90" fmla="*/ 1098078 w 7401213"/>
              <a:gd name="connsiteY90" fmla="*/ 15240 h 4320540"/>
              <a:gd name="connsiteX91" fmla="*/ 1052358 w 7401213"/>
              <a:gd name="connsiteY91" fmla="*/ 30480 h 4320540"/>
              <a:gd name="connsiteX92" fmla="*/ 968538 w 7401213"/>
              <a:gd name="connsiteY92" fmla="*/ 60960 h 4320540"/>
              <a:gd name="connsiteX93" fmla="*/ 899958 w 7401213"/>
              <a:gd name="connsiteY93" fmla="*/ 76200 h 4320540"/>
              <a:gd name="connsiteX94" fmla="*/ 762798 w 7401213"/>
              <a:gd name="connsiteY94" fmla="*/ 106680 h 4320540"/>
              <a:gd name="connsiteX95" fmla="*/ 709458 w 7401213"/>
              <a:gd name="connsiteY95" fmla="*/ 121920 h 4320540"/>
              <a:gd name="connsiteX96" fmla="*/ 648498 w 7401213"/>
              <a:gd name="connsiteY96" fmla="*/ 137160 h 4320540"/>
              <a:gd name="connsiteX97" fmla="*/ 602778 w 7401213"/>
              <a:gd name="connsiteY97" fmla="*/ 152400 h 4320540"/>
              <a:gd name="connsiteX98" fmla="*/ 503718 w 7401213"/>
              <a:gd name="connsiteY98" fmla="*/ 205740 h 4320540"/>
              <a:gd name="connsiteX99" fmla="*/ 473238 w 7401213"/>
              <a:gd name="connsiteY99" fmla="*/ 236220 h 4320540"/>
              <a:gd name="connsiteX100" fmla="*/ 244638 w 7401213"/>
              <a:gd name="connsiteY100" fmla="*/ 411480 h 4320540"/>
              <a:gd name="connsiteX101" fmla="*/ 115098 w 7401213"/>
              <a:gd name="connsiteY101" fmla="*/ 662940 h 4320540"/>
              <a:gd name="connsiteX102" fmla="*/ 8418 w 7401213"/>
              <a:gd name="connsiteY102" fmla="*/ 1028700 h 4320540"/>
              <a:gd name="connsiteX103" fmla="*/ 798 w 7401213"/>
              <a:gd name="connsiteY103" fmla="*/ 1188720 h 4320540"/>
              <a:gd name="connsiteX104" fmla="*/ 107478 w 7401213"/>
              <a:gd name="connsiteY104" fmla="*/ 1866900 h 4320540"/>
              <a:gd name="connsiteX105" fmla="*/ 358938 w 7401213"/>
              <a:gd name="connsiteY105" fmla="*/ 2506980 h 4320540"/>
              <a:gd name="connsiteX106" fmla="*/ 587538 w 7401213"/>
              <a:gd name="connsiteY106" fmla="*/ 3078480 h 4320540"/>
              <a:gd name="connsiteX107" fmla="*/ 755178 w 7401213"/>
              <a:gd name="connsiteY107" fmla="*/ 3436620 h 4320540"/>
              <a:gd name="connsiteX108" fmla="*/ 877098 w 7401213"/>
              <a:gd name="connsiteY108" fmla="*/ 3657600 h 4320540"/>
              <a:gd name="connsiteX109" fmla="*/ 976158 w 7401213"/>
              <a:gd name="connsiteY109" fmla="*/ 3764280 h 4320540"/>
              <a:gd name="connsiteX110" fmla="*/ 1235238 w 7401213"/>
              <a:gd name="connsiteY110" fmla="*/ 3939540 h 4320540"/>
              <a:gd name="connsiteX111" fmla="*/ 1494318 w 7401213"/>
              <a:gd name="connsiteY111" fmla="*/ 3985260 h 4320540"/>
              <a:gd name="connsiteX112" fmla="*/ 1745778 w 7401213"/>
              <a:gd name="connsiteY112" fmla="*/ 4000500 h 4320540"/>
              <a:gd name="connsiteX113" fmla="*/ 1966758 w 7401213"/>
              <a:gd name="connsiteY113" fmla="*/ 4114800 h 4320540"/>
              <a:gd name="connsiteX114" fmla="*/ 2081058 w 7401213"/>
              <a:gd name="connsiteY114" fmla="*/ 4175760 h 4320540"/>
              <a:gd name="connsiteX115" fmla="*/ 2134398 w 7401213"/>
              <a:gd name="connsiteY115" fmla="*/ 4183380 h 4320540"/>
              <a:gd name="connsiteX116" fmla="*/ 2576358 w 7401213"/>
              <a:gd name="connsiteY116" fmla="*/ 4160520 h 4320540"/>
              <a:gd name="connsiteX117" fmla="*/ 3170718 w 7401213"/>
              <a:gd name="connsiteY117" fmla="*/ 4183380 h 4320540"/>
              <a:gd name="connsiteX118" fmla="*/ 3285018 w 7401213"/>
              <a:gd name="connsiteY118" fmla="*/ 4206240 h 4320540"/>
              <a:gd name="connsiteX119" fmla="*/ 3376458 w 7401213"/>
              <a:gd name="connsiteY119" fmla="*/ 4236720 h 4320540"/>
              <a:gd name="connsiteX120" fmla="*/ 3452658 w 7401213"/>
              <a:gd name="connsiteY120" fmla="*/ 4251960 h 4320540"/>
              <a:gd name="connsiteX121" fmla="*/ 3490758 w 7401213"/>
              <a:gd name="connsiteY121" fmla="*/ 4267200 h 4320540"/>
              <a:gd name="connsiteX122" fmla="*/ 3605058 w 7401213"/>
              <a:gd name="connsiteY122" fmla="*/ 4274820 h 4320540"/>
              <a:gd name="connsiteX123" fmla="*/ 3643158 w 7401213"/>
              <a:gd name="connsiteY123" fmla="*/ 4282440 h 4320540"/>
              <a:gd name="connsiteX124" fmla="*/ 3909858 w 7401213"/>
              <a:gd name="connsiteY124" fmla="*/ 4313873 h 4320540"/>
              <a:gd name="connsiteX125" fmla="*/ 3986058 w 7401213"/>
              <a:gd name="connsiteY125" fmla="*/ 4320540 h 4320540"/>
              <a:gd name="connsiteX126" fmla="*/ 4053686 w 7401213"/>
              <a:gd name="connsiteY126" fmla="*/ 4313873 h 4320540"/>
              <a:gd name="connsiteX127" fmla="*/ 4085118 w 7401213"/>
              <a:gd name="connsiteY127" fmla="*/ 4312920 h 4320540"/>
              <a:gd name="connsiteX128" fmla="*/ 4138458 w 7401213"/>
              <a:gd name="connsiteY128" fmla="*/ 4274820 h 4320540"/>
              <a:gd name="connsiteX129" fmla="*/ 4168938 w 7401213"/>
              <a:gd name="connsiteY129" fmla="*/ 4267200 h 4320540"/>
              <a:gd name="connsiteX130" fmla="*/ 4328958 w 7401213"/>
              <a:gd name="connsiteY130" fmla="*/ 4259580 h 4320540"/>
              <a:gd name="connsiteX131" fmla="*/ 4877598 w 7401213"/>
              <a:gd name="connsiteY131" fmla="*/ 4244340 h 4320540"/>
              <a:gd name="connsiteX132" fmla="*/ 4930938 w 7401213"/>
              <a:gd name="connsiteY132" fmla="*/ 4236720 h 4320540"/>
              <a:gd name="connsiteX133" fmla="*/ 4953798 w 7401213"/>
              <a:gd name="connsiteY133" fmla="*/ 4229100 h 4320540"/>
              <a:gd name="connsiteX134" fmla="*/ 5014758 w 7401213"/>
              <a:gd name="connsiteY134" fmla="*/ 4206240 h 4320540"/>
              <a:gd name="connsiteX135" fmla="*/ 5190018 w 7401213"/>
              <a:gd name="connsiteY135" fmla="*/ 4145280 h 4320540"/>
              <a:gd name="connsiteX136" fmla="*/ 5593878 w 7401213"/>
              <a:gd name="connsiteY136" fmla="*/ 4122420 h 4320540"/>
              <a:gd name="connsiteX137" fmla="*/ 5631978 w 7401213"/>
              <a:gd name="connsiteY137" fmla="*/ 4107180 h 4320540"/>
              <a:gd name="connsiteX138" fmla="*/ 5654838 w 7401213"/>
              <a:gd name="connsiteY138" fmla="*/ 4091940 h 4320540"/>
              <a:gd name="connsiteX139" fmla="*/ 5952018 w 7401213"/>
              <a:gd name="connsiteY139" fmla="*/ 3985260 h 4320540"/>
              <a:gd name="connsiteX140" fmla="*/ 6355878 w 7401213"/>
              <a:gd name="connsiteY140" fmla="*/ 3840480 h 4320540"/>
              <a:gd name="connsiteX141" fmla="*/ 6889278 w 7401213"/>
              <a:gd name="connsiteY141" fmla="*/ 3474720 h 4320540"/>
              <a:gd name="connsiteX142" fmla="*/ 7125498 w 7401213"/>
              <a:gd name="connsiteY142" fmla="*/ 3230880 h 4320540"/>
              <a:gd name="connsiteX143" fmla="*/ 7399818 w 7401213"/>
              <a:gd name="connsiteY143" fmla="*/ 2438400 h 4320540"/>
              <a:gd name="connsiteX144" fmla="*/ 7361718 w 7401213"/>
              <a:gd name="connsiteY144" fmla="*/ 1790700 h 4320540"/>
              <a:gd name="connsiteX145" fmla="*/ 7247418 w 7401213"/>
              <a:gd name="connsiteY145" fmla="*/ 1249680 h 4320540"/>
              <a:gd name="connsiteX146" fmla="*/ 7178838 w 7401213"/>
              <a:gd name="connsiteY146" fmla="*/ 899160 h 4320540"/>
              <a:gd name="connsiteX147" fmla="*/ 7163598 w 7401213"/>
              <a:gd name="connsiteY147" fmla="*/ 701040 h 4320540"/>
              <a:gd name="connsiteX148" fmla="*/ 7148358 w 7401213"/>
              <a:gd name="connsiteY148" fmla="*/ 396240 h 4320540"/>
              <a:gd name="connsiteX149" fmla="*/ 7072158 w 7401213"/>
              <a:gd name="connsiteY149" fmla="*/ 205740 h 4320540"/>
              <a:gd name="connsiteX150" fmla="*/ 7018818 w 7401213"/>
              <a:gd name="connsiteY150" fmla="*/ 99060 h 4320540"/>
              <a:gd name="connsiteX151" fmla="*/ 6767358 w 7401213"/>
              <a:gd name="connsiteY151" fmla="*/ 22860 h 4320540"/>
              <a:gd name="connsiteX152" fmla="*/ 6614958 w 7401213"/>
              <a:gd name="connsiteY152" fmla="*/ 45720 h 4320540"/>
              <a:gd name="connsiteX153" fmla="*/ 6592098 w 7401213"/>
              <a:gd name="connsiteY153" fmla="*/ 68580 h 4320540"/>
              <a:gd name="connsiteX154" fmla="*/ 6546378 w 7401213"/>
              <a:gd name="connsiteY154" fmla="*/ 83820 h 4320540"/>
              <a:gd name="connsiteX155" fmla="*/ 6447318 w 7401213"/>
              <a:gd name="connsiteY155" fmla="*/ 76200 h 4320540"/>
              <a:gd name="connsiteX156" fmla="*/ 6371118 w 7401213"/>
              <a:gd name="connsiteY156" fmla="*/ 68580 h 4320540"/>
              <a:gd name="connsiteX157" fmla="*/ 5921538 w 7401213"/>
              <a:gd name="connsiteY157" fmla="*/ 60960 h 4320540"/>
              <a:gd name="connsiteX158" fmla="*/ 5311938 w 7401213"/>
              <a:gd name="connsiteY158" fmla="*/ 38100 h 4320540"/>
              <a:gd name="connsiteX159" fmla="*/ 5266218 w 7401213"/>
              <a:gd name="connsiteY159" fmla="*/ 30480 h 4320540"/>
              <a:gd name="connsiteX160" fmla="*/ 5151918 w 7401213"/>
              <a:gd name="connsiteY160" fmla="*/ 22860 h 4320540"/>
              <a:gd name="connsiteX161" fmla="*/ 4847118 w 7401213"/>
              <a:gd name="connsiteY161" fmla="*/ 30480 h 4320540"/>
              <a:gd name="connsiteX162" fmla="*/ 4793778 w 7401213"/>
              <a:gd name="connsiteY162" fmla="*/ 38100 h 4320540"/>
              <a:gd name="connsiteX163" fmla="*/ 4732818 w 7401213"/>
              <a:gd name="connsiteY163" fmla="*/ 53340 h 4320540"/>
              <a:gd name="connsiteX164" fmla="*/ 4687098 w 7401213"/>
              <a:gd name="connsiteY164" fmla="*/ 76200 h 4320540"/>
              <a:gd name="connsiteX165" fmla="*/ 4664238 w 7401213"/>
              <a:gd name="connsiteY165" fmla="*/ 91440 h 4320540"/>
              <a:gd name="connsiteX166" fmla="*/ 4671858 w 7401213"/>
              <a:gd name="connsiteY166" fmla="*/ 76200 h 4320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7401213" h="4320540">
                <a:moveTo>
                  <a:pt x="4671858" y="76200"/>
                </a:moveTo>
                <a:lnTo>
                  <a:pt x="4671858" y="76200"/>
                </a:lnTo>
                <a:cubicBezTo>
                  <a:pt x="4669318" y="182880"/>
                  <a:pt x="4670050" y="289688"/>
                  <a:pt x="4664238" y="396240"/>
                </a:cubicBezTo>
                <a:cubicBezTo>
                  <a:pt x="4662418" y="429599"/>
                  <a:pt x="4651772" y="462007"/>
                  <a:pt x="4648998" y="495300"/>
                </a:cubicBezTo>
                <a:cubicBezTo>
                  <a:pt x="4644142" y="553573"/>
                  <a:pt x="4644915" y="612192"/>
                  <a:pt x="4641378" y="670560"/>
                </a:cubicBezTo>
                <a:cubicBezTo>
                  <a:pt x="4639106" y="708054"/>
                  <a:pt x="4631000" y="768828"/>
                  <a:pt x="4626138" y="807720"/>
                </a:cubicBezTo>
                <a:cubicBezTo>
                  <a:pt x="4633758" y="853440"/>
                  <a:pt x="4638262" y="899790"/>
                  <a:pt x="4648998" y="944880"/>
                </a:cubicBezTo>
                <a:cubicBezTo>
                  <a:pt x="4651119" y="953789"/>
                  <a:pt x="4659790" y="959734"/>
                  <a:pt x="4664238" y="967740"/>
                </a:cubicBezTo>
                <a:cubicBezTo>
                  <a:pt x="4756887" y="1134508"/>
                  <a:pt x="4687212" y="1032658"/>
                  <a:pt x="4801398" y="1181100"/>
                </a:cubicBezTo>
                <a:cubicBezTo>
                  <a:pt x="4803938" y="1188720"/>
                  <a:pt x="4808546" y="1195942"/>
                  <a:pt x="4809018" y="1203960"/>
                </a:cubicBezTo>
                <a:cubicBezTo>
                  <a:pt x="4813010" y="1271826"/>
                  <a:pt x="4804672" y="1507688"/>
                  <a:pt x="4847118" y="1592580"/>
                </a:cubicBezTo>
                <a:cubicBezTo>
                  <a:pt x="4852198" y="1602740"/>
                  <a:pt x="4857745" y="1612680"/>
                  <a:pt x="4862358" y="1623060"/>
                </a:cubicBezTo>
                <a:cubicBezTo>
                  <a:pt x="4867913" y="1635559"/>
                  <a:pt x="4870955" y="1649203"/>
                  <a:pt x="4877598" y="1661160"/>
                </a:cubicBezTo>
                <a:cubicBezTo>
                  <a:pt x="4883766" y="1672262"/>
                  <a:pt x="4893836" y="1680803"/>
                  <a:pt x="4900458" y="1691640"/>
                </a:cubicBezTo>
                <a:cubicBezTo>
                  <a:pt x="4921815" y="1726587"/>
                  <a:pt x="4961418" y="1798320"/>
                  <a:pt x="4961418" y="1798320"/>
                </a:cubicBezTo>
                <a:cubicBezTo>
                  <a:pt x="4963958" y="1808480"/>
                  <a:pt x="4963952" y="1819645"/>
                  <a:pt x="4969038" y="1828800"/>
                </a:cubicBezTo>
                <a:cubicBezTo>
                  <a:pt x="4997076" y="1879268"/>
                  <a:pt x="4995093" y="1850430"/>
                  <a:pt x="5014758" y="1889760"/>
                </a:cubicBezTo>
                <a:cubicBezTo>
                  <a:pt x="5018350" y="1896944"/>
                  <a:pt x="5018786" y="1905436"/>
                  <a:pt x="5022378" y="1912620"/>
                </a:cubicBezTo>
                <a:cubicBezTo>
                  <a:pt x="5060642" y="1989147"/>
                  <a:pt x="5054287" y="1932781"/>
                  <a:pt x="5052858" y="1965960"/>
                </a:cubicBezTo>
                <a:cubicBezTo>
                  <a:pt x="5051429" y="1999139"/>
                  <a:pt x="5014282" y="2070893"/>
                  <a:pt x="5013806" y="2111692"/>
                </a:cubicBezTo>
                <a:cubicBezTo>
                  <a:pt x="5013330" y="2152491"/>
                  <a:pt x="5039047" y="2201386"/>
                  <a:pt x="5050000" y="2210752"/>
                </a:cubicBezTo>
                <a:cubicBezTo>
                  <a:pt x="5060953" y="2220118"/>
                  <a:pt x="5066669" y="2162969"/>
                  <a:pt x="5079528" y="2167890"/>
                </a:cubicBezTo>
                <a:cubicBezTo>
                  <a:pt x="5092387" y="2172811"/>
                  <a:pt x="5110008" y="2229485"/>
                  <a:pt x="5127153" y="2240280"/>
                </a:cubicBezTo>
                <a:cubicBezTo>
                  <a:pt x="5144298" y="2251075"/>
                  <a:pt x="5151601" y="2233136"/>
                  <a:pt x="5182398" y="2232660"/>
                </a:cubicBezTo>
                <a:cubicBezTo>
                  <a:pt x="5213195" y="2232184"/>
                  <a:pt x="5269048" y="2223776"/>
                  <a:pt x="5311938" y="2237423"/>
                </a:cubicBezTo>
                <a:cubicBezTo>
                  <a:pt x="5404136" y="2266759"/>
                  <a:pt x="5279869" y="2280602"/>
                  <a:pt x="5449098" y="2293620"/>
                </a:cubicBezTo>
                <a:cubicBezTo>
                  <a:pt x="5474645" y="2300007"/>
                  <a:pt x="5492123" y="2300187"/>
                  <a:pt x="5510058" y="2324100"/>
                </a:cubicBezTo>
                <a:cubicBezTo>
                  <a:pt x="5518265" y="2335043"/>
                  <a:pt x="5518655" y="2350243"/>
                  <a:pt x="5525298" y="2362200"/>
                </a:cubicBezTo>
                <a:cubicBezTo>
                  <a:pt x="5531466" y="2373302"/>
                  <a:pt x="5540538" y="2382520"/>
                  <a:pt x="5548158" y="2392680"/>
                </a:cubicBezTo>
                <a:cubicBezTo>
                  <a:pt x="5564274" y="2457145"/>
                  <a:pt x="5542320" y="2391542"/>
                  <a:pt x="5578638" y="2446020"/>
                </a:cubicBezTo>
                <a:cubicBezTo>
                  <a:pt x="5588089" y="2460197"/>
                  <a:pt x="5593223" y="2476845"/>
                  <a:pt x="5601498" y="2491740"/>
                </a:cubicBezTo>
                <a:cubicBezTo>
                  <a:pt x="5631687" y="2546080"/>
                  <a:pt x="5603251" y="2474139"/>
                  <a:pt x="5631978" y="2560320"/>
                </a:cubicBezTo>
                <a:cubicBezTo>
                  <a:pt x="5635159" y="2582588"/>
                  <a:pt x="5653055" y="2699928"/>
                  <a:pt x="5654838" y="2735580"/>
                </a:cubicBezTo>
                <a:cubicBezTo>
                  <a:pt x="5658772" y="2814263"/>
                  <a:pt x="5656975" y="2893210"/>
                  <a:pt x="5662458" y="2971800"/>
                </a:cubicBezTo>
                <a:cubicBezTo>
                  <a:pt x="5666882" y="3035210"/>
                  <a:pt x="5700551" y="3158120"/>
                  <a:pt x="5715798" y="3208020"/>
                </a:cubicBezTo>
                <a:cubicBezTo>
                  <a:pt x="5729179" y="3251812"/>
                  <a:pt x="5752538" y="3292659"/>
                  <a:pt x="5761518" y="3337560"/>
                </a:cubicBezTo>
                <a:cubicBezTo>
                  <a:pt x="5764058" y="3350260"/>
                  <a:pt x="5767009" y="3362885"/>
                  <a:pt x="5769138" y="3375660"/>
                </a:cubicBezTo>
                <a:cubicBezTo>
                  <a:pt x="5772091" y="3393376"/>
                  <a:pt x="5773236" y="3411388"/>
                  <a:pt x="5776758" y="3429000"/>
                </a:cubicBezTo>
                <a:cubicBezTo>
                  <a:pt x="5785943" y="3474926"/>
                  <a:pt x="5807238" y="3566160"/>
                  <a:pt x="5807238" y="3566160"/>
                </a:cubicBezTo>
                <a:cubicBezTo>
                  <a:pt x="5814371" y="3694560"/>
                  <a:pt x="5826416" y="3774830"/>
                  <a:pt x="5791998" y="3909060"/>
                </a:cubicBezTo>
                <a:cubicBezTo>
                  <a:pt x="5783234" y="3943241"/>
                  <a:pt x="5749817" y="3967024"/>
                  <a:pt x="5738658" y="4000500"/>
                </a:cubicBezTo>
                <a:cubicBezTo>
                  <a:pt x="5736118" y="4008120"/>
                  <a:pt x="5735023" y="4016386"/>
                  <a:pt x="5731038" y="4023360"/>
                </a:cubicBezTo>
                <a:cubicBezTo>
                  <a:pt x="5718793" y="4044789"/>
                  <a:pt x="5666272" y="4102606"/>
                  <a:pt x="5654838" y="4107180"/>
                </a:cubicBezTo>
                <a:cubicBezTo>
                  <a:pt x="5642138" y="4112260"/>
                  <a:pt x="5628972" y="4116303"/>
                  <a:pt x="5616738" y="4122420"/>
                </a:cubicBezTo>
                <a:cubicBezTo>
                  <a:pt x="5608547" y="4126516"/>
                  <a:pt x="5602650" y="4135028"/>
                  <a:pt x="5593878" y="4137660"/>
                </a:cubicBezTo>
                <a:cubicBezTo>
                  <a:pt x="5576675" y="4142821"/>
                  <a:pt x="5558318" y="4142740"/>
                  <a:pt x="5540538" y="4145280"/>
                </a:cubicBezTo>
                <a:cubicBezTo>
                  <a:pt x="5515384" y="4153665"/>
                  <a:pt x="5479635" y="4166230"/>
                  <a:pt x="5456718" y="4168140"/>
                </a:cubicBezTo>
                <a:cubicBezTo>
                  <a:pt x="5385798" y="4174050"/>
                  <a:pt x="5314446" y="4172454"/>
                  <a:pt x="5243358" y="4175760"/>
                </a:cubicBezTo>
                <a:cubicBezTo>
                  <a:pt x="5205215" y="4177534"/>
                  <a:pt x="5167158" y="4180840"/>
                  <a:pt x="5129058" y="4183380"/>
                </a:cubicBezTo>
                <a:cubicBezTo>
                  <a:pt x="5103658" y="4188460"/>
                  <a:pt x="5077764" y="4191504"/>
                  <a:pt x="5052858" y="4198620"/>
                </a:cubicBezTo>
                <a:cubicBezTo>
                  <a:pt x="5041936" y="4201741"/>
                  <a:pt x="5033258" y="4210596"/>
                  <a:pt x="5022378" y="4213860"/>
                </a:cubicBezTo>
                <a:cubicBezTo>
                  <a:pt x="5007579" y="4218300"/>
                  <a:pt x="4991647" y="4217733"/>
                  <a:pt x="4976658" y="4221480"/>
                </a:cubicBezTo>
                <a:cubicBezTo>
                  <a:pt x="4961073" y="4225376"/>
                  <a:pt x="4946963" y="4235602"/>
                  <a:pt x="4930938" y="4236720"/>
                </a:cubicBezTo>
                <a:cubicBezTo>
                  <a:pt x="4837152" y="4243263"/>
                  <a:pt x="4742978" y="4241800"/>
                  <a:pt x="4648998" y="4244340"/>
                </a:cubicBezTo>
                <a:cubicBezTo>
                  <a:pt x="4608358" y="4246880"/>
                  <a:pt x="4567644" y="4248433"/>
                  <a:pt x="4527078" y="4251960"/>
                </a:cubicBezTo>
                <a:cubicBezTo>
                  <a:pt x="4451812" y="4258505"/>
                  <a:pt x="4488978" y="4261009"/>
                  <a:pt x="4397538" y="4267200"/>
                </a:cubicBezTo>
                <a:cubicBezTo>
                  <a:pt x="4306098" y="4273391"/>
                  <a:pt x="4118138" y="4286567"/>
                  <a:pt x="3978438" y="4289107"/>
                </a:cubicBezTo>
                <a:cubicBezTo>
                  <a:pt x="3868268" y="4298288"/>
                  <a:pt x="3743488" y="4282281"/>
                  <a:pt x="3688878" y="4267200"/>
                </a:cubicBezTo>
                <a:cubicBezTo>
                  <a:pt x="3634268" y="4252119"/>
                  <a:pt x="3654298" y="4207420"/>
                  <a:pt x="3650778" y="4198620"/>
                </a:cubicBezTo>
                <a:cubicBezTo>
                  <a:pt x="3648238" y="4175760"/>
                  <a:pt x="3648330" y="4152452"/>
                  <a:pt x="3643158" y="4130040"/>
                </a:cubicBezTo>
                <a:cubicBezTo>
                  <a:pt x="3640604" y="4118972"/>
                  <a:pt x="3631182" y="4110440"/>
                  <a:pt x="3627918" y="4099560"/>
                </a:cubicBezTo>
                <a:cubicBezTo>
                  <a:pt x="3605266" y="4024054"/>
                  <a:pt x="3640208" y="4080387"/>
                  <a:pt x="3597438" y="4023360"/>
                </a:cubicBezTo>
                <a:cubicBezTo>
                  <a:pt x="3602518" y="3921760"/>
                  <a:pt x="3606819" y="3820118"/>
                  <a:pt x="3612678" y="3718560"/>
                </a:cubicBezTo>
                <a:cubicBezTo>
                  <a:pt x="3614440" y="3688025"/>
                  <a:pt x="3620298" y="3657706"/>
                  <a:pt x="3620298" y="3627120"/>
                </a:cubicBezTo>
                <a:cubicBezTo>
                  <a:pt x="3620298" y="3512792"/>
                  <a:pt x="3619020" y="3398372"/>
                  <a:pt x="3612678" y="3284220"/>
                </a:cubicBezTo>
                <a:cubicBezTo>
                  <a:pt x="3611379" y="3260838"/>
                  <a:pt x="3608458" y="3236303"/>
                  <a:pt x="3597438" y="3215640"/>
                </a:cubicBezTo>
                <a:cubicBezTo>
                  <a:pt x="3567270" y="3159075"/>
                  <a:pt x="3527616" y="3108072"/>
                  <a:pt x="3490758" y="3055620"/>
                </a:cubicBezTo>
                <a:cubicBezTo>
                  <a:pt x="3461551" y="3014056"/>
                  <a:pt x="3419950" y="2980122"/>
                  <a:pt x="3399318" y="2933700"/>
                </a:cubicBezTo>
                <a:cubicBezTo>
                  <a:pt x="3361918" y="2849550"/>
                  <a:pt x="3380026" y="2887495"/>
                  <a:pt x="3345978" y="2819400"/>
                </a:cubicBezTo>
                <a:cubicBezTo>
                  <a:pt x="3340898" y="2788920"/>
                  <a:pt x="3337040" y="2758211"/>
                  <a:pt x="3330738" y="2727960"/>
                </a:cubicBezTo>
                <a:cubicBezTo>
                  <a:pt x="3315622" y="2655405"/>
                  <a:pt x="3299388" y="2608928"/>
                  <a:pt x="3277398" y="2537460"/>
                </a:cubicBezTo>
                <a:cubicBezTo>
                  <a:pt x="3254307" y="2260363"/>
                  <a:pt x="3279271" y="2601974"/>
                  <a:pt x="3285018" y="1958340"/>
                </a:cubicBezTo>
                <a:cubicBezTo>
                  <a:pt x="3286107" y="1836398"/>
                  <a:pt x="3284162" y="1714339"/>
                  <a:pt x="3277398" y="1592580"/>
                </a:cubicBezTo>
                <a:cubicBezTo>
                  <a:pt x="3276507" y="1576540"/>
                  <a:pt x="3266054" y="1562445"/>
                  <a:pt x="3262158" y="1546860"/>
                </a:cubicBezTo>
                <a:cubicBezTo>
                  <a:pt x="3232625" y="1428730"/>
                  <a:pt x="3292341" y="1600356"/>
                  <a:pt x="3231678" y="1409700"/>
                </a:cubicBezTo>
                <a:cubicBezTo>
                  <a:pt x="3127105" y="1081041"/>
                  <a:pt x="3254154" y="1518846"/>
                  <a:pt x="3185958" y="1280160"/>
                </a:cubicBezTo>
                <a:cubicBezTo>
                  <a:pt x="3175753" y="1127086"/>
                  <a:pt x="3163418" y="921901"/>
                  <a:pt x="3140238" y="792480"/>
                </a:cubicBezTo>
                <a:cubicBezTo>
                  <a:pt x="3131590" y="744193"/>
                  <a:pt x="3097540" y="703207"/>
                  <a:pt x="3086898" y="655320"/>
                </a:cubicBezTo>
                <a:cubicBezTo>
                  <a:pt x="3068848" y="574097"/>
                  <a:pt x="3076251" y="609703"/>
                  <a:pt x="3064038" y="548640"/>
                </a:cubicBezTo>
                <a:cubicBezTo>
                  <a:pt x="3063162" y="516243"/>
                  <a:pt x="3092651" y="221499"/>
                  <a:pt x="3003078" y="152400"/>
                </a:cubicBezTo>
                <a:cubicBezTo>
                  <a:pt x="2941813" y="105138"/>
                  <a:pt x="2862966" y="85896"/>
                  <a:pt x="2789718" y="60960"/>
                </a:cubicBezTo>
                <a:cubicBezTo>
                  <a:pt x="2743031" y="45067"/>
                  <a:pt x="2693198" y="40640"/>
                  <a:pt x="2644938" y="30480"/>
                </a:cubicBezTo>
                <a:cubicBezTo>
                  <a:pt x="2624618" y="33020"/>
                  <a:pt x="2603263" y="31212"/>
                  <a:pt x="2583978" y="38100"/>
                </a:cubicBezTo>
                <a:cubicBezTo>
                  <a:pt x="2566729" y="44260"/>
                  <a:pt x="2554641" y="60389"/>
                  <a:pt x="2538258" y="68580"/>
                </a:cubicBezTo>
                <a:cubicBezTo>
                  <a:pt x="2519706" y="77856"/>
                  <a:pt x="2483934" y="85971"/>
                  <a:pt x="2462058" y="91440"/>
                </a:cubicBezTo>
                <a:cubicBezTo>
                  <a:pt x="2369094" y="78159"/>
                  <a:pt x="2236247" y="56627"/>
                  <a:pt x="2142018" y="53340"/>
                </a:cubicBezTo>
                <a:cubicBezTo>
                  <a:pt x="1976999" y="47584"/>
                  <a:pt x="1811818" y="48260"/>
                  <a:pt x="1646718" y="45720"/>
                </a:cubicBezTo>
                <a:cubicBezTo>
                  <a:pt x="1626398" y="43180"/>
                  <a:pt x="1606141" y="40073"/>
                  <a:pt x="1585758" y="38100"/>
                </a:cubicBezTo>
                <a:cubicBezTo>
                  <a:pt x="1527390" y="32452"/>
                  <a:pt x="1468581" y="30927"/>
                  <a:pt x="1410498" y="22860"/>
                </a:cubicBezTo>
                <a:cubicBezTo>
                  <a:pt x="1376932" y="18198"/>
                  <a:pt x="1344458" y="7620"/>
                  <a:pt x="1311438" y="0"/>
                </a:cubicBezTo>
                <a:cubicBezTo>
                  <a:pt x="1240318" y="5080"/>
                  <a:pt x="1168891" y="6909"/>
                  <a:pt x="1098078" y="15240"/>
                </a:cubicBezTo>
                <a:cubicBezTo>
                  <a:pt x="1082124" y="17117"/>
                  <a:pt x="1067455" y="24990"/>
                  <a:pt x="1052358" y="30480"/>
                </a:cubicBezTo>
                <a:cubicBezTo>
                  <a:pt x="995227" y="51255"/>
                  <a:pt x="1032068" y="41901"/>
                  <a:pt x="968538" y="60960"/>
                </a:cubicBezTo>
                <a:cubicBezTo>
                  <a:pt x="943313" y="68528"/>
                  <a:pt x="926290" y="70476"/>
                  <a:pt x="899958" y="76200"/>
                </a:cubicBezTo>
                <a:cubicBezTo>
                  <a:pt x="854192" y="86149"/>
                  <a:pt x="807831" y="93813"/>
                  <a:pt x="762798" y="106680"/>
                </a:cubicBezTo>
                <a:lnTo>
                  <a:pt x="709458" y="121920"/>
                </a:lnTo>
                <a:cubicBezTo>
                  <a:pt x="689220" y="127317"/>
                  <a:pt x="668637" y="131406"/>
                  <a:pt x="648498" y="137160"/>
                </a:cubicBezTo>
                <a:cubicBezTo>
                  <a:pt x="633052" y="141573"/>
                  <a:pt x="618018" y="147320"/>
                  <a:pt x="602778" y="152400"/>
                </a:cubicBezTo>
                <a:cubicBezTo>
                  <a:pt x="500592" y="229039"/>
                  <a:pt x="685726" y="93735"/>
                  <a:pt x="503718" y="205740"/>
                </a:cubicBezTo>
                <a:cubicBezTo>
                  <a:pt x="491481" y="213270"/>
                  <a:pt x="484536" y="227343"/>
                  <a:pt x="473238" y="236220"/>
                </a:cubicBezTo>
                <a:cubicBezTo>
                  <a:pt x="378461" y="310688"/>
                  <a:pt x="348401" y="304139"/>
                  <a:pt x="244638" y="411480"/>
                </a:cubicBezTo>
                <a:cubicBezTo>
                  <a:pt x="190094" y="467905"/>
                  <a:pt x="140003" y="596007"/>
                  <a:pt x="115098" y="662940"/>
                </a:cubicBezTo>
                <a:cubicBezTo>
                  <a:pt x="53513" y="828450"/>
                  <a:pt x="50903" y="858760"/>
                  <a:pt x="8418" y="1028700"/>
                </a:cubicBezTo>
                <a:cubicBezTo>
                  <a:pt x="5878" y="1082040"/>
                  <a:pt x="-2618" y="1135429"/>
                  <a:pt x="798" y="1188720"/>
                </a:cubicBezTo>
                <a:cubicBezTo>
                  <a:pt x="18913" y="1471314"/>
                  <a:pt x="32144" y="1617108"/>
                  <a:pt x="107478" y="1866900"/>
                </a:cubicBezTo>
                <a:cubicBezTo>
                  <a:pt x="170410" y="2075568"/>
                  <a:pt x="280741" y="2313660"/>
                  <a:pt x="358938" y="2506980"/>
                </a:cubicBezTo>
                <a:cubicBezTo>
                  <a:pt x="416640" y="2649631"/>
                  <a:pt x="524184" y="2943133"/>
                  <a:pt x="587538" y="3078480"/>
                </a:cubicBezTo>
                <a:cubicBezTo>
                  <a:pt x="643418" y="3197860"/>
                  <a:pt x="696230" y="3318725"/>
                  <a:pt x="755178" y="3436620"/>
                </a:cubicBezTo>
                <a:cubicBezTo>
                  <a:pt x="792801" y="3511866"/>
                  <a:pt x="833815" y="3585461"/>
                  <a:pt x="877098" y="3657600"/>
                </a:cubicBezTo>
                <a:cubicBezTo>
                  <a:pt x="891756" y="3682030"/>
                  <a:pt x="961777" y="3752111"/>
                  <a:pt x="976158" y="3764280"/>
                </a:cubicBezTo>
                <a:cubicBezTo>
                  <a:pt x="1042801" y="3820670"/>
                  <a:pt x="1149234" y="3906094"/>
                  <a:pt x="1235238" y="3939540"/>
                </a:cubicBezTo>
                <a:cubicBezTo>
                  <a:pt x="1336874" y="3979065"/>
                  <a:pt x="1393517" y="3978826"/>
                  <a:pt x="1494318" y="3985260"/>
                </a:cubicBezTo>
                <a:lnTo>
                  <a:pt x="1745778" y="4000500"/>
                </a:lnTo>
                <a:cubicBezTo>
                  <a:pt x="1924333" y="4119537"/>
                  <a:pt x="1741825" y="4006499"/>
                  <a:pt x="1966758" y="4114800"/>
                </a:cubicBezTo>
                <a:cubicBezTo>
                  <a:pt x="2007648" y="4134488"/>
                  <a:pt x="2037177" y="4164790"/>
                  <a:pt x="2081058" y="4175760"/>
                </a:cubicBezTo>
                <a:cubicBezTo>
                  <a:pt x="2098482" y="4180116"/>
                  <a:pt x="2116618" y="4180840"/>
                  <a:pt x="2134398" y="4183380"/>
                </a:cubicBezTo>
                <a:cubicBezTo>
                  <a:pt x="2190328" y="4179990"/>
                  <a:pt x="2497933" y="4159619"/>
                  <a:pt x="2576358" y="4160520"/>
                </a:cubicBezTo>
                <a:cubicBezTo>
                  <a:pt x="2880604" y="4164017"/>
                  <a:pt x="2945528" y="4169306"/>
                  <a:pt x="3170718" y="4183380"/>
                </a:cubicBezTo>
                <a:cubicBezTo>
                  <a:pt x="3316991" y="4232138"/>
                  <a:pt x="3087744" y="4159270"/>
                  <a:pt x="3285018" y="4206240"/>
                </a:cubicBezTo>
                <a:cubicBezTo>
                  <a:pt x="3316273" y="4213682"/>
                  <a:pt x="3344953" y="4230419"/>
                  <a:pt x="3376458" y="4236720"/>
                </a:cubicBezTo>
                <a:cubicBezTo>
                  <a:pt x="3401858" y="4241800"/>
                  <a:pt x="3427630" y="4245286"/>
                  <a:pt x="3452658" y="4251960"/>
                </a:cubicBezTo>
                <a:cubicBezTo>
                  <a:pt x="3465874" y="4255484"/>
                  <a:pt x="3477231" y="4265171"/>
                  <a:pt x="3490758" y="4267200"/>
                </a:cubicBezTo>
                <a:cubicBezTo>
                  <a:pt x="3528520" y="4272864"/>
                  <a:pt x="3566958" y="4272280"/>
                  <a:pt x="3605058" y="4274820"/>
                </a:cubicBezTo>
                <a:cubicBezTo>
                  <a:pt x="3617758" y="4277360"/>
                  <a:pt x="3592358" y="4275931"/>
                  <a:pt x="3643158" y="4282440"/>
                </a:cubicBezTo>
                <a:cubicBezTo>
                  <a:pt x="3693958" y="4288949"/>
                  <a:pt x="3852708" y="4307523"/>
                  <a:pt x="3909858" y="4313873"/>
                </a:cubicBezTo>
                <a:cubicBezTo>
                  <a:pt x="3967008" y="4320223"/>
                  <a:pt x="3962087" y="4320540"/>
                  <a:pt x="3986058" y="4320540"/>
                </a:cubicBezTo>
                <a:cubicBezTo>
                  <a:pt x="4010029" y="4320540"/>
                  <a:pt x="4037176" y="4315143"/>
                  <a:pt x="4053686" y="4313873"/>
                </a:cubicBezTo>
                <a:cubicBezTo>
                  <a:pt x="4070196" y="4312603"/>
                  <a:pt x="4069878" y="4318000"/>
                  <a:pt x="4085118" y="4312920"/>
                </a:cubicBezTo>
                <a:cubicBezTo>
                  <a:pt x="4102898" y="4300220"/>
                  <a:pt x="4119276" y="4285283"/>
                  <a:pt x="4138458" y="4274820"/>
                </a:cubicBezTo>
                <a:cubicBezTo>
                  <a:pt x="4147652" y="4269805"/>
                  <a:pt x="4158499" y="4268035"/>
                  <a:pt x="4168938" y="4267200"/>
                </a:cubicBezTo>
                <a:cubicBezTo>
                  <a:pt x="4222168" y="4262942"/>
                  <a:pt x="4275585" y="4261302"/>
                  <a:pt x="4328958" y="4259580"/>
                </a:cubicBezTo>
                <a:lnTo>
                  <a:pt x="4877598" y="4244340"/>
                </a:lnTo>
                <a:cubicBezTo>
                  <a:pt x="4895378" y="4241800"/>
                  <a:pt x="4913326" y="4240242"/>
                  <a:pt x="4930938" y="4236720"/>
                </a:cubicBezTo>
                <a:cubicBezTo>
                  <a:pt x="4938814" y="4235145"/>
                  <a:pt x="4946249" y="4231845"/>
                  <a:pt x="4953798" y="4229100"/>
                </a:cubicBezTo>
                <a:cubicBezTo>
                  <a:pt x="4974193" y="4221684"/>
                  <a:pt x="4994608" y="4214300"/>
                  <a:pt x="5014758" y="4206240"/>
                </a:cubicBezTo>
                <a:cubicBezTo>
                  <a:pt x="5075432" y="4181970"/>
                  <a:pt x="5119632" y="4155335"/>
                  <a:pt x="5190018" y="4145280"/>
                </a:cubicBezTo>
                <a:cubicBezTo>
                  <a:pt x="5224538" y="4140349"/>
                  <a:pt x="5519763" y="4126126"/>
                  <a:pt x="5593878" y="4122420"/>
                </a:cubicBezTo>
                <a:cubicBezTo>
                  <a:pt x="5606578" y="4117340"/>
                  <a:pt x="5619744" y="4113297"/>
                  <a:pt x="5631978" y="4107180"/>
                </a:cubicBezTo>
                <a:cubicBezTo>
                  <a:pt x="5640169" y="4103084"/>
                  <a:pt x="5646384" y="4095462"/>
                  <a:pt x="5654838" y="4091940"/>
                </a:cubicBezTo>
                <a:cubicBezTo>
                  <a:pt x="5741190" y="4055960"/>
                  <a:pt x="5860932" y="4013453"/>
                  <a:pt x="5952018" y="3985260"/>
                </a:cubicBezTo>
                <a:cubicBezTo>
                  <a:pt x="6117172" y="3934141"/>
                  <a:pt x="6194549" y="3925390"/>
                  <a:pt x="6355878" y="3840480"/>
                </a:cubicBezTo>
                <a:cubicBezTo>
                  <a:pt x="6457911" y="3786779"/>
                  <a:pt x="6844058" y="3513126"/>
                  <a:pt x="6889278" y="3474720"/>
                </a:cubicBezTo>
                <a:cubicBezTo>
                  <a:pt x="6975532" y="3401463"/>
                  <a:pt x="7046758" y="3312160"/>
                  <a:pt x="7125498" y="3230880"/>
                </a:cubicBezTo>
                <a:cubicBezTo>
                  <a:pt x="7266276" y="2933682"/>
                  <a:pt x="7389876" y="2766485"/>
                  <a:pt x="7399818" y="2438400"/>
                </a:cubicBezTo>
                <a:cubicBezTo>
                  <a:pt x="7406369" y="2222226"/>
                  <a:pt x="7389220" y="2005217"/>
                  <a:pt x="7361718" y="1790700"/>
                </a:cubicBezTo>
                <a:cubicBezTo>
                  <a:pt x="7338279" y="1607876"/>
                  <a:pt x="7288864" y="1429280"/>
                  <a:pt x="7247418" y="1249680"/>
                </a:cubicBezTo>
                <a:cubicBezTo>
                  <a:pt x="7212753" y="1099465"/>
                  <a:pt x="7194619" y="1044342"/>
                  <a:pt x="7178838" y="899160"/>
                </a:cubicBezTo>
                <a:cubicBezTo>
                  <a:pt x="7171681" y="833313"/>
                  <a:pt x="7167605" y="767154"/>
                  <a:pt x="7163598" y="701040"/>
                </a:cubicBezTo>
                <a:cubicBezTo>
                  <a:pt x="7157444" y="599499"/>
                  <a:pt x="7161201" y="497153"/>
                  <a:pt x="7148358" y="396240"/>
                </a:cubicBezTo>
                <a:cubicBezTo>
                  <a:pt x="7138733" y="320615"/>
                  <a:pt x="7101734" y="271464"/>
                  <a:pt x="7072158" y="205740"/>
                </a:cubicBezTo>
                <a:cubicBezTo>
                  <a:pt x="7070277" y="201561"/>
                  <a:pt x="7042625" y="112516"/>
                  <a:pt x="7018818" y="99060"/>
                </a:cubicBezTo>
                <a:cubicBezTo>
                  <a:pt x="6879304" y="20204"/>
                  <a:pt x="6896346" y="32782"/>
                  <a:pt x="6767358" y="22860"/>
                </a:cubicBezTo>
                <a:cubicBezTo>
                  <a:pt x="6716558" y="30480"/>
                  <a:pt x="6664663" y="32754"/>
                  <a:pt x="6614958" y="45720"/>
                </a:cubicBezTo>
                <a:cubicBezTo>
                  <a:pt x="6604531" y="48440"/>
                  <a:pt x="6601518" y="63347"/>
                  <a:pt x="6592098" y="68580"/>
                </a:cubicBezTo>
                <a:cubicBezTo>
                  <a:pt x="6578055" y="76382"/>
                  <a:pt x="6546378" y="83820"/>
                  <a:pt x="6546378" y="83820"/>
                </a:cubicBezTo>
                <a:lnTo>
                  <a:pt x="6447318" y="76200"/>
                </a:lnTo>
                <a:cubicBezTo>
                  <a:pt x="6421887" y="73989"/>
                  <a:pt x="6396634" y="69320"/>
                  <a:pt x="6371118" y="68580"/>
                </a:cubicBezTo>
                <a:cubicBezTo>
                  <a:pt x="6221299" y="64237"/>
                  <a:pt x="6071398" y="63500"/>
                  <a:pt x="5921538" y="60960"/>
                </a:cubicBezTo>
                <a:cubicBezTo>
                  <a:pt x="5628463" y="21883"/>
                  <a:pt x="5910554" y="54962"/>
                  <a:pt x="5311938" y="38100"/>
                </a:cubicBezTo>
                <a:cubicBezTo>
                  <a:pt x="5296494" y="37665"/>
                  <a:pt x="5281599" y="31945"/>
                  <a:pt x="5266218" y="30480"/>
                </a:cubicBezTo>
                <a:cubicBezTo>
                  <a:pt x="5228205" y="26860"/>
                  <a:pt x="5190018" y="25400"/>
                  <a:pt x="5151918" y="22860"/>
                </a:cubicBezTo>
                <a:lnTo>
                  <a:pt x="4847118" y="30480"/>
                </a:lnTo>
                <a:cubicBezTo>
                  <a:pt x="4829174" y="31244"/>
                  <a:pt x="4811390" y="34578"/>
                  <a:pt x="4793778" y="38100"/>
                </a:cubicBezTo>
                <a:cubicBezTo>
                  <a:pt x="4773239" y="42208"/>
                  <a:pt x="4732818" y="53340"/>
                  <a:pt x="4732818" y="53340"/>
                </a:cubicBezTo>
                <a:cubicBezTo>
                  <a:pt x="4667304" y="97016"/>
                  <a:pt x="4750194" y="44652"/>
                  <a:pt x="4687098" y="76200"/>
                </a:cubicBezTo>
                <a:cubicBezTo>
                  <a:pt x="4678907" y="80296"/>
                  <a:pt x="4672429" y="87344"/>
                  <a:pt x="4664238" y="91440"/>
                </a:cubicBezTo>
                <a:cubicBezTo>
                  <a:pt x="4657054" y="95032"/>
                  <a:pt x="4670588" y="78740"/>
                  <a:pt x="4671858" y="76200"/>
                </a:cubicBezTo>
                <a:close/>
              </a:path>
            </a:pathLst>
          </a:custGeom>
          <a:solidFill>
            <a:srgbClr val="13132D">
              <a:alpha val="56863"/>
            </a:srgbClr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57263">
              <a:spcAft>
                <a:spcPts val="600"/>
              </a:spcAft>
              <a:buClr>
                <a:srgbClr val="5F7800"/>
              </a:buClr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5138" name="Freeform: Shape 5137">
            <a:extLst>
              <a:ext uri="{FF2B5EF4-FFF2-40B4-BE49-F238E27FC236}">
                <a16:creationId xmlns:a16="http://schemas.microsoft.com/office/drawing/2014/main" id="{81646424-A992-F192-CDB5-0D35FEB8FB68}"/>
              </a:ext>
            </a:extLst>
          </p:cNvPr>
          <p:cNvSpPr/>
          <p:nvPr/>
        </p:nvSpPr>
        <p:spPr bwMode="auto">
          <a:xfrm>
            <a:off x="2543908" y="1973913"/>
            <a:ext cx="6775947" cy="4298415"/>
          </a:xfrm>
          <a:custGeom>
            <a:avLst/>
            <a:gdLst>
              <a:gd name="connsiteX0" fmla="*/ 4302369 w 6775947"/>
              <a:gd name="connsiteY0" fmla="*/ 141991 h 4268514"/>
              <a:gd name="connsiteX1" fmla="*/ 4302369 w 6775947"/>
              <a:gd name="connsiteY1" fmla="*/ 141991 h 4268514"/>
              <a:gd name="connsiteX2" fmla="*/ 4232030 w 6775947"/>
              <a:gd name="connsiteY2" fmla="*/ 106821 h 4268514"/>
              <a:gd name="connsiteX3" fmla="*/ 4208584 w 6775947"/>
              <a:gd name="connsiteY3" fmla="*/ 89237 h 4268514"/>
              <a:gd name="connsiteX4" fmla="*/ 4149969 w 6775947"/>
              <a:gd name="connsiteY4" fmla="*/ 71652 h 4268514"/>
              <a:gd name="connsiteX5" fmla="*/ 4097215 w 6775947"/>
              <a:gd name="connsiteY5" fmla="*/ 59929 h 4268514"/>
              <a:gd name="connsiteX6" fmla="*/ 4073769 w 6775947"/>
              <a:gd name="connsiteY6" fmla="*/ 54067 h 4268514"/>
              <a:gd name="connsiteX7" fmla="*/ 3927230 w 6775947"/>
              <a:gd name="connsiteY7" fmla="*/ 42344 h 4268514"/>
              <a:gd name="connsiteX8" fmla="*/ 3745523 w 6775947"/>
              <a:gd name="connsiteY8" fmla="*/ 18898 h 4268514"/>
              <a:gd name="connsiteX9" fmla="*/ 3716215 w 6775947"/>
              <a:gd name="connsiteY9" fmla="*/ 7175 h 4268514"/>
              <a:gd name="connsiteX10" fmla="*/ 3563815 w 6775947"/>
              <a:gd name="connsiteY10" fmla="*/ 7175 h 4268514"/>
              <a:gd name="connsiteX11" fmla="*/ 3499338 w 6775947"/>
              <a:gd name="connsiteY11" fmla="*/ 24760 h 4268514"/>
              <a:gd name="connsiteX12" fmla="*/ 3458307 w 6775947"/>
              <a:gd name="connsiteY12" fmla="*/ 30621 h 4268514"/>
              <a:gd name="connsiteX13" fmla="*/ 3376246 w 6775947"/>
              <a:gd name="connsiteY13" fmla="*/ 42344 h 4268514"/>
              <a:gd name="connsiteX14" fmla="*/ 3352800 w 6775947"/>
              <a:gd name="connsiteY14" fmla="*/ 48206 h 4268514"/>
              <a:gd name="connsiteX15" fmla="*/ 3288323 w 6775947"/>
              <a:gd name="connsiteY15" fmla="*/ 77514 h 4268514"/>
              <a:gd name="connsiteX16" fmla="*/ 3194538 w 6775947"/>
              <a:gd name="connsiteY16" fmla="*/ 95098 h 4268514"/>
              <a:gd name="connsiteX17" fmla="*/ 3112477 w 6775947"/>
              <a:gd name="connsiteY17" fmla="*/ 124406 h 4268514"/>
              <a:gd name="connsiteX18" fmla="*/ 3059723 w 6775947"/>
              <a:gd name="connsiteY18" fmla="*/ 194744 h 4268514"/>
              <a:gd name="connsiteX19" fmla="*/ 2971800 w 6775947"/>
              <a:gd name="connsiteY19" fmla="*/ 335421 h 4268514"/>
              <a:gd name="connsiteX20" fmla="*/ 2960077 w 6775947"/>
              <a:gd name="connsiteY20" fmla="*/ 382314 h 4268514"/>
              <a:gd name="connsiteX21" fmla="*/ 2948354 w 6775947"/>
              <a:gd name="connsiteY21" fmla="*/ 423344 h 4268514"/>
              <a:gd name="connsiteX22" fmla="*/ 2954215 w 6775947"/>
              <a:gd name="connsiteY22" fmla="*/ 698837 h 4268514"/>
              <a:gd name="connsiteX23" fmla="*/ 2971800 w 6775947"/>
              <a:gd name="connsiteY23" fmla="*/ 892267 h 4268514"/>
              <a:gd name="connsiteX24" fmla="*/ 2989384 w 6775947"/>
              <a:gd name="connsiteY24" fmla="*/ 1015360 h 4268514"/>
              <a:gd name="connsiteX25" fmla="*/ 3018692 w 6775947"/>
              <a:gd name="connsiteY25" fmla="*/ 1115006 h 4268514"/>
              <a:gd name="connsiteX26" fmla="*/ 3036277 w 6775947"/>
              <a:gd name="connsiteY26" fmla="*/ 1191206 h 4268514"/>
              <a:gd name="connsiteX27" fmla="*/ 3042138 w 6775947"/>
              <a:gd name="connsiteY27" fmla="*/ 1255683 h 4268514"/>
              <a:gd name="connsiteX28" fmla="*/ 3071446 w 6775947"/>
              <a:gd name="connsiteY28" fmla="*/ 1314298 h 4268514"/>
              <a:gd name="connsiteX29" fmla="*/ 3171092 w 6775947"/>
              <a:gd name="connsiteY29" fmla="*/ 1537037 h 4268514"/>
              <a:gd name="connsiteX30" fmla="*/ 3200400 w 6775947"/>
              <a:gd name="connsiteY30" fmla="*/ 1589791 h 4268514"/>
              <a:gd name="connsiteX31" fmla="*/ 3229707 w 6775947"/>
              <a:gd name="connsiteY31" fmla="*/ 1636683 h 4268514"/>
              <a:gd name="connsiteX32" fmla="*/ 3276600 w 6775947"/>
              <a:gd name="connsiteY32" fmla="*/ 1724606 h 4268514"/>
              <a:gd name="connsiteX33" fmla="*/ 3341077 w 6775947"/>
              <a:gd name="connsiteY33" fmla="*/ 1830114 h 4268514"/>
              <a:gd name="connsiteX34" fmla="*/ 3446584 w 6775947"/>
              <a:gd name="connsiteY34" fmla="*/ 1935621 h 4268514"/>
              <a:gd name="connsiteX35" fmla="*/ 3511061 w 6775947"/>
              <a:gd name="connsiteY35" fmla="*/ 2011821 h 4268514"/>
              <a:gd name="connsiteX36" fmla="*/ 3616569 w 6775947"/>
              <a:gd name="connsiteY36" fmla="*/ 2093883 h 4268514"/>
              <a:gd name="connsiteX37" fmla="*/ 3675184 w 6775947"/>
              <a:gd name="connsiteY37" fmla="*/ 2134914 h 4268514"/>
              <a:gd name="connsiteX38" fmla="*/ 3774830 w 6775947"/>
              <a:gd name="connsiteY38" fmla="*/ 2211114 h 4268514"/>
              <a:gd name="connsiteX39" fmla="*/ 3833446 w 6775947"/>
              <a:gd name="connsiteY39" fmla="*/ 2222837 h 4268514"/>
              <a:gd name="connsiteX40" fmla="*/ 3903784 w 6775947"/>
              <a:gd name="connsiteY40" fmla="*/ 2240421 h 4268514"/>
              <a:gd name="connsiteX41" fmla="*/ 3944815 w 6775947"/>
              <a:gd name="connsiteY41" fmla="*/ 2246283 h 4268514"/>
              <a:gd name="connsiteX42" fmla="*/ 4050323 w 6775947"/>
              <a:gd name="connsiteY42" fmla="*/ 2263867 h 4268514"/>
              <a:gd name="connsiteX43" fmla="*/ 4073769 w 6775947"/>
              <a:gd name="connsiteY43" fmla="*/ 2269729 h 4268514"/>
              <a:gd name="connsiteX44" fmla="*/ 4155830 w 6775947"/>
              <a:gd name="connsiteY44" fmla="*/ 2275591 h 4268514"/>
              <a:gd name="connsiteX45" fmla="*/ 4255477 w 6775947"/>
              <a:gd name="connsiteY45" fmla="*/ 2334206 h 4268514"/>
              <a:gd name="connsiteX46" fmla="*/ 4284784 w 6775947"/>
              <a:gd name="connsiteY46" fmla="*/ 2345929 h 4268514"/>
              <a:gd name="connsiteX47" fmla="*/ 4378569 w 6775947"/>
              <a:gd name="connsiteY47" fmla="*/ 2351791 h 4268514"/>
              <a:gd name="connsiteX48" fmla="*/ 4448907 w 6775947"/>
              <a:gd name="connsiteY48" fmla="*/ 2357652 h 4268514"/>
              <a:gd name="connsiteX49" fmla="*/ 4548554 w 6775947"/>
              <a:gd name="connsiteY49" fmla="*/ 2351791 h 4268514"/>
              <a:gd name="connsiteX50" fmla="*/ 4618892 w 6775947"/>
              <a:gd name="connsiteY50" fmla="*/ 2345929 h 4268514"/>
              <a:gd name="connsiteX51" fmla="*/ 4665784 w 6775947"/>
              <a:gd name="connsiteY51" fmla="*/ 2322483 h 4268514"/>
              <a:gd name="connsiteX52" fmla="*/ 4724400 w 6775947"/>
              <a:gd name="connsiteY52" fmla="*/ 2310760 h 4268514"/>
              <a:gd name="connsiteX53" fmla="*/ 4759569 w 6775947"/>
              <a:gd name="connsiteY53" fmla="*/ 2263867 h 4268514"/>
              <a:gd name="connsiteX54" fmla="*/ 4747846 w 6775947"/>
              <a:gd name="connsiteY54" fmla="*/ 2146637 h 4268514"/>
              <a:gd name="connsiteX55" fmla="*/ 4706815 w 6775947"/>
              <a:gd name="connsiteY55" fmla="*/ 2052852 h 4268514"/>
              <a:gd name="connsiteX56" fmla="*/ 4695092 w 6775947"/>
              <a:gd name="connsiteY56" fmla="*/ 2005960 h 4268514"/>
              <a:gd name="connsiteX57" fmla="*/ 4683369 w 6775947"/>
              <a:gd name="connsiteY57" fmla="*/ 1970791 h 4268514"/>
              <a:gd name="connsiteX58" fmla="*/ 4665784 w 6775947"/>
              <a:gd name="connsiteY58" fmla="*/ 1865283 h 4268514"/>
              <a:gd name="connsiteX59" fmla="*/ 4636477 w 6775947"/>
              <a:gd name="connsiteY59" fmla="*/ 1736329 h 4268514"/>
              <a:gd name="connsiteX60" fmla="*/ 4613030 w 6775947"/>
              <a:gd name="connsiteY60" fmla="*/ 1454975 h 4268514"/>
              <a:gd name="connsiteX61" fmla="*/ 4601307 w 6775947"/>
              <a:gd name="connsiteY61" fmla="*/ 1408083 h 4268514"/>
              <a:gd name="connsiteX62" fmla="*/ 4583723 w 6775947"/>
              <a:gd name="connsiteY62" fmla="*/ 1372914 h 4268514"/>
              <a:gd name="connsiteX63" fmla="*/ 4577861 w 6775947"/>
              <a:gd name="connsiteY63" fmla="*/ 1355329 h 4268514"/>
              <a:gd name="connsiteX64" fmla="*/ 4566138 w 6775947"/>
              <a:gd name="connsiteY64" fmla="*/ 1284991 h 4268514"/>
              <a:gd name="connsiteX65" fmla="*/ 4548554 w 6775947"/>
              <a:gd name="connsiteY65" fmla="*/ 1202929 h 4268514"/>
              <a:gd name="connsiteX66" fmla="*/ 4542692 w 6775947"/>
              <a:gd name="connsiteY66" fmla="*/ 1150175 h 4268514"/>
              <a:gd name="connsiteX67" fmla="*/ 4478215 w 6775947"/>
              <a:gd name="connsiteY67" fmla="*/ 1079837 h 4268514"/>
              <a:gd name="connsiteX68" fmla="*/ 4460630 w 6775947"/>
              <a:gd name="connsiteY68" fmla="*/ 1062252 h 4268514"/>
              <a:gd name="connsiteX69" fmla="*/ 4437184 w 6775947"/>
              <a:gd name="connsiteY69" fmla="*/ 1021221 h 4268514"/>
              <a:gd name="connsiteX70" fmla="*/ 4419600 w 6775947"/>
              <a:gd name="connsiteY70" fmla="*/ 980191 h 4268514"/>
              <a:gd name="connsiteX71" fmla="*/ 4378569 w 6775947"/>
              <a:gd name="connsiteY71" fmla="*/ 862960 h 4268514"/>
              <a:gd name="connsiteX72" fmla="*/ 4325815 w 6775947"/>
              <a:gd name="connsiteY72" fmla="*/ 821929 h 4268514"/>
              <a:gd name="connsiteX73" fmla="*/ 4308230 w 6775947"/>
              <a:gd name="connsiteY73" fmla="*/ 804344 h 4268514"/>
              <a:gd name="connsiteX74" fmla="*/ 4296507 w 6775947"/>
              <a:gd name="connsiteY74" fmla="*/ 757452 h 4268514"/>
              <a:gd name="connsiteX75" fmla="*/ 4308230 w 6775947"/>
              <a:gd name="connsiteY75" fmla="*/ 487821 h 4268514"/>
              <a:gd name="connsiteX76" fmla="*/ 4314092 w 6775947"/>
              <a:gd name="connsiteY76" fmla="*/ 417483 h 4268514"/>
              <a:gd name="connsiteX77" fmla="*/ 4319954 w 6775947"/>
              <a:gd name="connsiteY77" fmla="*/ 394037 h 4268514"/>
              <a:gd name="connsiteX78" fmla="*/ 4337538 w 6775947"/>
              <a:gd name="connsiteY78" fmla="*/ 288529 h 4268514"/>
              <a:gd name="connsiteX79" fmla="*/ 4366846 w 6775947"/>
              <a:gd name="connsiteY79" fmla="*/ 253360 h 4268514"/>
              <a:gd name="connsiteX80" fmla="*/ 4396154 w 6775947"/>
              <a:gd name="connsiteY80" fmla="*/ 224052 h 4268514"/>
              <a:gd name="connsiteX81" fmla="*/ 4413738 w 6775947"/>
              <a:gd name="connsiteY81" fmla="*/ 194744 h 4268514"/>
              <a:gd name="connsiteX82" fmla="*/ 4495800 w 6775947"/>
              <a:gd name="connsiteY82" fmla="*/ 136129 h 4268514"/>
              <a:gd name="connsiteX83" fmla="*/ 4554415 w 6775947"/>
              <a:gd name="connsiteY83" fmla="*/ 106821 h 4268514"/>
              <a:gd name="connsiteX84" fmla="*/ 4613030 w 6775947"/>
              <a:gd name="connsiteY84" fmla="*/ 83375 h 4268514"/>
              <a:gd name="connsiteX85" fmla="*/ 4671646 w 6775947"/>
              <a:gd name="connsiteY85" fmla="*/ 77514 h 4268514"/>
              <a:gd name="connsiteX86" fmla="*/ 5246077 w 6775947"/>
              <a:gd name="connsiteY86" fmla="*/ 71652 h 4268514"/>
              <a:gd name="connsiteX87" fmla="*/ 5304692 w 6775947"/>
              <a:gd name="connsiteY87" fmla="*/ 83375 h 4268514"/>
              <a:gd name="connsiteX88" fmla="*/ 5345723 w 6775947"/>
              <a:gd name="connsiteY88" fmla="*/ 89237 h 4268514"/>
              <a:gd name="connsiteX89" fmla="*/ 5527430 w 6775947"/>
              <a:gd name="connsiteY89" fmla="*/ 95098 h 4268514"/>
              <a:gd name="connsiteX90" fmla="*/ 5545015 w 6775947"/>
              <a:gd name="connsiteY90" fmla="*/ 100960 h 4268514"/>
              <a:gd name="connsiteX91" fmla="*/ 5586046 w 6775947"/>
              <a:gd name="connsiteY91" fmla="*/ 136129 h 4268514"/>
              <a:gd name="connsiteX92" fmla="*/ 5615354 w 6775947"/>
              <a:gd name="connsiteY92" fmla="*/ 159575 h 4268514"/>
              <a:gd name="connsiteX93" fmla="*/ 5632938 w 6775947"/>
              <a:gd name="connsiteY93" fmla="*/ 165437 h 4268514"/>
              <a:gd name="connsiteX94" fmla="*/ 5656384 w 6775947"/>
              <a:gd name="connsiteY94" fmla="*/ 183021 h 4268514"/>
              <a:gd name="connsiteX95" fmla="*/ 5709138 w 6775947"/>
              <a:gd name="connsiteY95" fmla="*/ 218191 h 4268514"/>
              <a:gd name="connsiteX96" fmla="*/ 5738446 w 6775947"/>
              <a:gd name="connsiteY96" fmla="*/ 247498 h 4268514"/>
              <a:gd name="connsiteX97" fmla="*/ 5756030 w 6775947"/>
              <a:gd name="connsiteY97" fmla="*/ 282667 h 4268514"/>
              <a:gd name="connsiteX98" fmla="*/ 5791200 w 6775947"/>
              <a:gd name="connsiteY98" fmla="*/ 341283 h 4268514"/>
              <a:gd name="connsiteX99" fmla="*/ 5756030 w 6775947"/>
              <a:gd name="connsiteY99" fmla="*/ 593329 h 4268514"/>
              <a:gd name="connsiteX100" fmla="*/ 5709138 w 6775947"/>
              <a:gd name="connsiteY100" fmla="*/ 751591 h 4268514"/>
              <a:gd name="connsiteX101" fmla="*/ 5650523 w 6775947"/>
              <a:gd name="connsiteY101" fmla="*/ 880544 h 4268514"/>
              <a:gd name="connsiteX102" fmla="*/ 5597769 w 6775947"/>
              <a:gd name="connsiteY102" fmla="*/ 1009498 h 4268514"/>
              <a:gd name="connsiteX103" fmla="*/ 5591907 w 6775947"/>
              <a:gd name="connsiteY103" fmla="*/ 1038806 h 4268514"/>
              <a:gd name="connsiteX104" fmla="*/ 5586046 w 6775947"/>
              <a:gd name="connsiteY104" fmla="*/ 1056391 h 4268514"/>
              <a:gd name="connsiteX105" fmla="*/ 5556738 w 6775947"/>
              <a:gd name="connsiteY105" fmla="*/ 1173621 h 4268514"/>
              <a:gd name="connsiteX106" fmla="*/ 5515707 w 6775947"/>
              <a:gd name="connsiteY106" fmla="*/ 1279129 h 4268514"/>
              <a:gd name="connsiteX107" fmla="*/ 5480538 w 6775947"/>
              <a:gd name="connsiteY107" fmla="*/ 1396360 h 4268514"/>
              <a:gd name="connsiteX108" fmla="*/ 5468815 w 6775947"/>
              <a:gd name="connsiteY108" fmla="*/ 1425667 h 4268514"/>
              <a:gd name="connsiteX109" fmla="*/ 5439507 w 6775947"/>
              <a:gd name="connsiteY109" fmla="*/ 1478421 h 4268514"/>
              <a:gd name="connsiteX110" fmla="*/ 5421923 w 6775947"/>
              <a:gd name="connsiteY110" fmla="*/ 1531175 h 4268514"/>
              <a:gd name="connsiteX111" fmla="*/ 5392615 w 6775947"/>
              <a:gd name="connsiteY111" fmla="*/ 1607375 h 4268514"/>
              <a:gd name="connsiteX112" fmla="*/ 5369169 w 6775947"/>
              <a:gd name="connsiteY112" fmla="*/ 1677714 h 4268514"/>
              <a:gd name="connsiteX113" fmla="*/ 5351584 w 6775947"/>
              <a:gd name="connsiteY113" fmla="*/ 1835975 h 4268514"/>
              <a:gd name="connsiteX114" fmla="*/ 5339861 w 6775947"/>
              <a:gd name="connsiteY114" fmla="*/ 1865283 h 4268514"/>
              <a:gd name="connsiteX115" fmla="*/ 5334000 w 6775947"/>
              <a:gd name="connsiteY115" fmla="*/ 1888729 h 4268514"/>
              <a:gd name="connsiteX116" fmla="*/ 5316415 w 6775947"/>
              <a:gd name="connsiteY116" fmla="*/ 1970791 h 4268514"/>
              <a:gd name="connsiteX117" fmla="*/ 5292969 w 6775947"/>
              <a:gd name="connsiteY117" fmla="*/ 2005960 h 4268514"/>
              <a:gd name="connsiteX118" fmla="*/ 5269523 w 6775947"/>
              <a:gd name="connsiteY118" fmla="*/ 2052852 h 4268514"/>
              <a:gd name="connsiteX119" fmla="*/ 5257800 w 6775947"/>
              <a:gd name="connsiteY119" fmla="*/ 2076298 h 4268514"/>
              <a:gd name="connsiteX120" fmla="*/ 5240215 w 6775947"/>
              <a:gd name="connsiteY120" fmla="*/ 2099744 h 4268514"/>
              <a:gd name="connsiteX121" fmla="*/ 5234354 w 6775947"/>
              <a:gd name="connsiteY121" fmla="*/ 2129052 h 4268514"/>
              <a:gd name="connsiteX122" fmla="*/ 5222630 w 6775947"/>
              <a:gd name="connsiteY122" fmla="*/ 2140775 h 4268514"/>
              <a:gd name="connsiteX123" fmla="*/ 5210907 w 6775947"/>
              <a:gd name="connsiteY123" fmla="*/ 2164221 h 4268514"/>
              <a:gd name="connsiteX124" fmla="*/ 5193323 w 6775947"/>
              <a:gd name="connsiteY124" fmla="*/ 2187667 h 4268514"/>
              <a:gd name="connsiteX125" fmla="*/ 5175738 w 6775947"/>
              <a:gd name="connsiteY125" fmla="*/ 2263867 h 4268514"/>
              <a:gd name="connsiteX126" fmla="*/ 5193323 w 6775947"/>
              <a:gd name="connsiteY126" fmla="*/ 2328344 h 4268514"/>
              <a:gd name="connsiteX127" fmla="*/ 5210907 w 6775947"/>
              <a:gd name="connsiteY127" fmla="*/ 2357652 h 4268514"/>
              <a:gd name="connsiteX128" fmla="*/ 5228492 w 6775947"/>
              <a:gd name="connsiteY128" fmla="*/ 2363514 h 4268514"/>
              <a:gd name="connsiteX129" fmla="*/ 5281246 w 6775947"/>
              <a:gd name="connsiteY129" fmla="*/ 2427991 h 4268514"/>
              <a:gd name="connsiteX130" fmla="*/ 5287107 w 6775947"/>
              <a:gd name="connsiteY130" fmla="*/ 2556944 h 4268514"/>
              <a:gd name="connsiteX131" fmla="*/ 5298830 w 6775947"/>
              <a:gd name="connsiteY131" fmla="*/ 2615560 h 4268514"/>
              <a:gd name="connsiteX132" fmla="*/ 5310554 w 6775947"/>
              <a:gd name="connsiteY132" fmla="*/ 2721067 h 4268514"/>
              <a:gd name="connsiteX133" fmla="*/ 5316415 w 6775947"/>
              <a:gd name="connsiteY133" fmla="*/ 2885191 h 4268514"/>
              <a:gd name="connsiteX134" fmla="*/ 5357446 w 6775947"/>
              <a:gd name="connsiteY134" fmla="*/ 2978975 h 4268514"/>
              <a:gd name="connsiteX135" fmla="*/ 5363307 w 6775947"/>
              <a:gd name="connsiteY135" fmla="*/ 3014144 h 4268514"/>
              <a:gd name="connsiteX136" fmla="*/ 5380892 w 6775947"/>
              <a:gd name="connsiteY136" fmla="*/ 3037591 h 4268514"/>
              <a:gd name="connsiteX137" fmla="*/ 5386754 w 6775947"/>
              <a:gd name="connsiteY137" fmla="*/ 3084483 h 4268514"/>
              <a:gd name="connsiteX138" fmla="*/ 5404338 w 6775947"/>
              <a:gd name="connsiteY138" fmla="*/ 3131375 h 4268514"/>
              <a:gd name="connsiteX139" fmla="*/ 5404338 w 6775947"/>
              <a:gd name="connsiteY139" fmla="*/ 3324806 h 4268514"/>
              <a:gd name="connsiteX140" fmla="*/ 5398477 w 6775947"/>
              <a:gd name="connsiteY140" fmla="*/ 3823037 h 4268514"/>
              <a:gd name="connsiteX141" fmla="*/ 5380892 w 6775947"/>
              <a:gd name="connsiteY141" fmla="*/ 3881652 h 4268514"/>
              <a:gd name="connsiteX142" fmla="*/ 5369169 w 6775947"/>
              <a:gd name="connsiteY142" fmla="*/ 3916821 h 4268514"/>
              <a:gd name="connsiteX143" fmla="*/ 5339861 w 6775947"/>
              <a:gd name="connsiteY143" fmla="*/ 3946129 h 4268514"/>
              <a:gd name="connsiteX144" fmla="*/ 5322277 w 6775947"/>
              <a:gd name="connsiteY144" fmla="*/ 3981298 h 4268514"/>
              <a:gd name="connsiteX145" fmla="*/ 5257800 w 6775947"/>
              <a:gd name="connsiteY145" fmla="*/ 4057498 h 4268514"/>
              <a:gd name="connsiteX146" fmla="*/ 5228492 w 6775947"/>
              <a:gd name="connsiteY146" fmla="*/ 4080944 h 4268514"/>
              <a:gd name="connsiteX147" fmla="*/ 5146430 w 6775947"/>
              <a:gd name="connsiteY147" fmla="*/ 4121975 h 4268514"/>
              <a:gd name="connsiteX148" fmla="*/ 5117123 w 6775947"/>
              <a:gd name="connsiteY148" fmla="*/ 4139560 h 4268514"/>
              <a:gd name="connsiteX149" fmla="*/ 5087815 w 6775947"/>
              <a:gd name="connsiteY149" fmla="*/ 4145421 h 4268514"/>
              <a:gd name="connsiteX150" fmla="*/ 4988169 w 6775947"/>
              <a:gd name="connsiteY150" fmla="*/ 4163006 h 4268514"/>
              <a:gd name="connsiteX151" fmla="*/ 4753707 w 6775947"/>
              <a:gd name="connsiteY151" fmla="*/ 4151283 h 4268514"/>
              <a:gd name="connsiteX152" fmla="*/ 4695092 w 6775947"/>
              <a:gd name="connsiteY152" fmla="*/ 4139560 h 4268514"/>
              <a:gd name="connsiteX153" fmla="*/ 4589584 w 6775947"/>
              <a:gd name="connsiteY153" fmla="*/ 4151283 h 4268514"/>
              <a:gd name="connsiteX154" fmla="*/ 4560277 w 6775947"/>
              <a:gd name="connsiteY154" fmla="*/ 4163006 h 4268514"/>
              <a:gd name="connsiteX155" fmla="*/ 4484077 w 6775947"/>
              <a:gd name="connsiteY155" fmla="*/ 4180591 h 4268514"/>
              <a:gd name="connsiteX156" fmla="*/ 4443046 w 6775947"/>
              <a:gd name="connsiteY156" fmla="*/ 4198175 h 4268514"/>
              <a:gd name="connsiteX157" fmla="*/ 4413738 w 6775947"/>
              <a:gd name="connsiteY157" fmla="*/ 4204037 h 4268514"/>
              <a:gd name="connsiteX158" fmla="*/ 4355123 w 6775947"/>
              <a:gd name="connsiteY158" fmla="*/ 4215760 h 4268514"/>
              <a:gd name="connsiteX159" fmla="*/ 4273061 w 6775947"/>
              <a:gd name="connsiteY159" fmla="*/ 4209898 h 4268514"/>
              <a:gd name="connsiteX160" fmla="*/ 4185138 w 6775947"/>
              <a:gd name="connsiteY160" fmla="*/ 4198175 h 4268514"/>
              <a:gd name="connsiteX161" fmla="*/ 4155830 w 6775947"/>
              <a:gd name="connsiteY161" fmla="*/ 4209898 h 4268514"/>
              <a:gd name="connsiteX162" fmla="*/ 4138246 w 6775947"/>
              <a:gd name="connsiteY162" fmla="*/ 4215760 h 4268514"/>
              <a:gd name="connsiteX163" fmla="*/ 3991707 w 6775947"/>
              <a:gd name="connsiteY163" fmla="*/ 4227483 h 4268514"/>
              <a:gd name="connsiteX164" fmla="*/ 3933092 w 6775947"/>
              <a:gd name="connsiteY164" fmla="*/ 4250929 h 4268514"/>
              <a:gd name="connsiteX165" fmla="*/ 3915507 w 6775947"/>
              <a:gd name="connsiteY165" fmla="*/ 4262652 h 4268514"/>
              <a:gd name="connsiteX166" fmla="*/ 3704492 w 6775947"/>
              <a:gd name="connsiteY166" fmla="*/ 4268514 h 4268514"/>
              <a:gd name="connsiteX167" fmla="*/ 3552092 w 6775947"/>
              <a:gd name="connsiteY167" fmla="*/ 4233344 h 4268514"/>
              <a:gd name="connsiteX168" fmla="*/ 3452446 w 6775947"/>
              <a:gd name="connsiteY168" fmla="*/ 4227483 h 4268514"/>
              <a:gd name="connsiteX169" fmla="*/ 3264877 w 6775947"/>
              <a:gd name="connsiteY169" fmla="*/ 4192314 h 4268514"/>
              <a:gd name="connsiteX170" fmla="*/ 3253154 w 6775947"/>
              <a:gd name="connsiteY170" fmla="*/ 4069221 h 4268514"/>
              <a:gd name="connsiteX171" fmla="*/ 3276600 w 6775947"/>
              <a:gd name="connsiteY171" fmla="*/ 3828898 h 4268514"/>
              <a:gd name="connsiteX172" fmla="*/ 3264877 w 6775947"/>
              <a:gd name="connsiteY172" fmla="*/ 3664775 h 4268514"/>
              <a:gd name="connsiteX173" fmla="*/ 3259015 w 6775947"/>
              <a:gd name="connsiteY173" fmla="*/ 3623744 h 4268514"/>
              <a:gd name="connsiteX174" fmla="*/ 3247292 w 6775947"/>
              <a:gd name="connsiteY174" fmla="*/ 3600298 h 4268514"/>
              <a:gd name="connsiteX175" fmla="*/ 3229707 w 6775947"/>
              <a:gd name="connsiteY175" fmla="*/ 3535821 h 4268514"/>
              <a:gd name="connsiteX176" fmla="*/ 3194538 w 6775947"/>
              <a:gd name="connsiteY176" fmla="*/ 3459621 h 4268514"/>
              <a:gd name="connsiteX177" fmla="*/ 3153507 w 6775947"/>
              <a:gd name="connsiteY177" fmla="*/ 3354114 h 4268514"/>
              <a:gd name="connsiteX178" fmla="*/ 3135923 w 6775947"/>
              <a:gd name="connsiteY178" fmla="*/ 3231021 h 4268514"/>
              <a:gd name="connsiteX179" fmla="*/ 3118338 w 6775947"/>
              <a:gd name="connsiteY179" fmla="*/ 3184129 h 4268514"/>
              <a:gd name="connsiteX180" fmla="*/ 3094892 w 6775947"/>
              <a:gd name="connsiteY180" fmla="*/ 2633144 h 4268514"/>
              <a:gd name="connsiteX181" fmla="*/ 3048000 w 6775947"/>
              <a:gd name="connsiteY181" fmla="*/ 2498329 h 4268514"/>
              <a:gd name="connsiteX182" fmla="*/ 3012830 w 6775947"/>
              <a:gd name="connsiteY182" fmla="*/ 2386960 h 4268514"/>
              <a:gd name="connsiteX183" fmla="*/ 3006969 w 6775947"/>
              <a:gd name="connsiteY183" fmla="*/ 2299037 h 4268514"/>
              <a:gd name="connsiteX184" fmla="*/ 2995246 w 6775947"/>
              <a:gd name="connsiteY184" fmla="*/ 1988375 h 4268514"/>
              <a:gd name="connsiteX185" fmla="*/ 2965938 w 6775947"/>
              <a:gd name="connsiteY185" fmla="*/ 1818391 h 4268514"/>
              <a:gd name="connsiteX186" fmla="*/ 2960077 w 6775947"/>
              <a:gd name="connsiteY186" fmla="*/ 1689437 h 4268514"/>
              <a:gd name="connsiteX187" fmla="*/ 2936630 w 6775947"/>
              <a:gd name="connsiteY187" fmla="*/ 1583929 h 4268514"/>
              <a:gd name="connsiteX188" fmla="*/ 2924907 w 6775947"/>
              <a:gd name="connsiteY188" fmla="*/ 1542898 h 4268514"/>
              <a:gd name="connsiteX189" fmla="*/ 2901461 w 6775947"/>
              <a:gd name="connsiteY189" fmla="*/ 1425667 h 4268514"/>
              <a:gd name="connsiteX190" fmla="*/ 2872154 w 6775947"/>
              <a:gd name="connsiteY190" fmla="*/ 1302575 h 4268514"/>
              <a:gd name="connsiteX191" fmla="*/ 2848707 w 6775947"/>
              <a:gd name="connsiteY191" fmla="*/ 1191206 h 4268514"/>
              <a:gd name="connsiteX192" fmla="*/ 2836984 w 6775947"/>
              <a:gd name="connsiteY192" fmla="*/ 1056391 h 4268514"/>
              <a:gd name="connsiteX193" fmla="*/ 2819400 w 6775947"/>
              <a:gd name="connsiteY193" fmla="*/ 968467 h 4268514"/>
              <a:gd name="connsiteX194" fmla="*/ 2813538 w 6775947"/>
              <a:gd name="connsiteY194" fmla="*/ 909852 h 4268514"/>
              <a:gd name="connsiteX195" fmla="*/ 2801815 w 6775947"/>
              <a:gd name="connsiteY195" fmla="*/ 816067 h 4268514"/>
              <a:gd name="connsiteX196" fmla="*/ 2795954 w 6775947"/>
              <a:gd name="connsiteY196" fmla="*/ 476098 h 4268514"/>
              <a:gd name="connsiteX197" fmla="*/ 2784230 w 6775947"/>
              <a:gd name="connsiteY197" fmla="*/ 335421 h 4268514"/>
              <a:gd name="connsiteX198" fmla="*/ 2754923 w 6775947"/>
              <a:gd name="connsiteY198" fmla="*/ 276806 h 4268514"/>
              <a:gd name="connsiteX199" fmla="*/ 2708030 w 6775947"/>
              <a:gd name="connsiteY199" fmla="*/ 177160 h 4268514"/>
              <a:gd name="connsiteX200" fmla="*/ 2702169 w 6775947"/>
              <a:gd name="connsiteY200" fmla="*/ 159575 h 4268514"/>
              <a:gd name="connsiteX201" fmla="*/ 2678723 w 6775947"/>
              <a:gd name="connsiteY201" fmla="*/ 130267 h 4268514"/>
              <a:gd name="connsiteX202" fmla="*/ 2602523 w 6775947"/>
              <a:gd name="connsiteY202" fmla="*/ 112683 h 4268514"/>
              <a:gd name="connsiteX203" fmla="*/ 2584938 w 6775947"/>
              <a:gd name="connsiteY203" fmla="*/ 106821 h 4268514"/>
              <a:gd name="connsiteX204" fmla="*/ 2514600 w 6775947"/>
              <a:gd name="connsiteY204" fmla="*/ 100960 h 4268514"/>
              <a:gd name="connsiteX205" fmla="*/ 2467707 w 6775947"/>
              <a:gd name="connsiteY205" fmla="*/ 36483 h 4268514"/>
              <a:gd name="connsiteX206" fmla="*/ 2403230 w 6775947"/>
              <a:gd name="connsiteY206" fmla="*/ 30621 h 4268514"/>
              <a:gd name="connsiteX207" fmla="*/ 2321169 w 6775947"/>
              <a:gd name="connsiteY207" fmla="*/ 24760 h 4268514"/>
              <a:gd name="connsiteX208" fmla="*/ 1793630 w 6775947"/>
              <a:gd name="connsiteY208" fmla="*/ 30621 h 4268514"/>
              <a:gd name="connsiteX209" fmla="*/ 1752600 w 6775947"/>
              <a:gd name="connsiteY209" fmla="*/ 42344 h 4268514"/>
              <a:gd name="connsiteX210" fmla="*/ 1717430 w 6775947"/>
              <a:gd name="connsiteY210" fmla="*/ 59929 h 4268514"/>
              <a:gd name="connsiteX211" fmla="*/ 1652954 w 6775947"/>
              <a:gd name="connsiteY211" fmla="*/ 65791 h 4268514"/>
              <a:gd name="connsiteX212" fmla="*/ 1371600 w 6775947"/>
              <a:gd name="connsiteY212" fmla="*/ 54067 h 4268514"/>
              <a:gd name="connsiteX213" fmla="*/ 826477 w 6775947"/>
              <a:gd name="connsiteY213" fmla="*/ 36483 h 4268514"/>
              <a:gd name="connsiteX214" fmla="*/ 451338 w 6775947"/>
              <a:gd name="connsiteY214" fmla="*/ 42344 h 4268514"/>
              <a:gd name="connsiteX215" fmla="*/ 375138 w 6775947"/>
              <a:gd name="connsiteY215" fmla="*/ 65791 h 4268514"/>
              <a:gd name="connsiteX216" fmla="*/ 199292 w 6775947"/>
              <a:gd name="connsiteY216" fmla="*/ 159575 h 4268514"/>
              <a:gd name="connsiteX217" fmla="*/ 146538 w 6775947"/>
              <a:gd name="connsiteY217" fmla="*/ 194744 h 4268514"/>
              <a:gd name="connsiteX218" fmla="*/ 29307 w 6775947"/>
              <a:gd name="connsiteY218" fmla="*/ 528852 h 4268514"/>
              <a:gd name="connsiteX219" fmla="*/ 0 w 6775947"/>
              <a:gd name="connsiteY219" fmla="*/ 898129 h 4268514"/>
              <a:gd name="connsiteX220" fmla="*/ 23446 w 6775947"/>
              <a:gd name="connsiteY220" fmla="*/ 2041129 h 4268514"/>
              <a:gd name="connsiteX221" fmla="*/ 93784 w 6775947"/>
              <a:gd name="connsiteY221" fmla="*/ 2316621 h 4268514"/>
              <a:gd name="connsiteX222" fmla="*/ 433754 w 6775947"/>
              <a:gd name="connsiteY222" fmla="*/ 2937944 h 4268514"/>
              <a:gd name="connsiteX223" fmla="*/ 662354 w 6775947"/>
              <a:gd name="connsiteY223" fmla="*/ 3231021 h 4268514"/>
              <a:gd name="connsiteX224" fmla="*/ 785446 w 6775947"/>
              <a:gd name="connsiteY224" fmla="*/ 3395144 h 4268514"/>
              <a:gd name="connsiteX225" fmla="*/ 1066800 w 6775947"/>
              <a:gd name="connsiteY225" fmla="*/ 3746837 h 4268514"/>
              <a:gd name="connsiteX226" fmla="*/ 1436077 w 6775947"/>
              <a:gd name="connsiteY226" fmla="*/ 4004744 h 4268514"/>
              <a:gd name="connsiteX227" fmla="*/ 1735015 w 6775947"/>
              <a:gd name="connsiteY227" fmla="*/ 4139560 h 4268514"/>
              <a:gd name="connsiteX228" fmla="*/ 1817077 w 6775947"/>
              <a:gd name="connsiteY228" fmla="*/ 4174729 h 4268514"/>
              <a:gd name="connsiteX229" fmla="*/ 1893277 w 6775947"/>
              <a:gd name="connsiteY229" fmla="*/ 4209898 h 4268514"/>
              <a:gd name="connsiteX230" fmla="*/ 2039815 w 6775947"/>
              <a:gd name="connsiteY230" fmla="*/ 4221621 h 4268514"/>
              <a:gd name="connsiteX231" fmla="*/ 2250830 w 6775947"/>
              <a:gd name="connsiteY231" fmla="*/ 4198175 h 4268514"/>
              <a:gd name="connsiteX232" fmla="*/ 2286000 w 6775947"/>
              <a:gd name="connsiteY232" fmla="*/ 4192314 h 4268514"/>
              <a:gd name="connsiteX233" fmla="*/ 2450123 w 6775947"/>
              <a:gd name="connsiteY233" fmla="*/ 4198175 h 4268514"/>
              <a:gd name="connsiteX234" fmla="*/ 2567354 w 6775947"/>
              <a:gd name="connsiteY234" fmla="*/ 4209898 h 4268514"/>
              <a:gd name="connsiteX235" fmla="*/ 2608384 w 6775947"/>
              <a:gd name="connsiteY235" fmla="*/ 4215760 h 4268514"/>
              <a:gd name="connsiteX236" fmla="*/ 2813538 w 6775947"/>
              <a:gd name="connsiteY236" fmla="*/ 4221621 h 4268514"/>
              <a:gd name="connsiteX237" fmla="*/ 2924907 w 6775947"/>
              <a:gd name="connsiteY237" fmla="*/ 4233344 h 4268514"/>
              <a:gd name="connsiteX238" fmla="*/ 2960077 w 6775947"/>
              <a:gd name="connsiteY238" fmla="*/ 4239206 h 4268514"/>
              <a:gd name="connsiteX239" fmla="*/ 3006969 w 6775947"/>
              <a:gd name="connsiteY239" fmla="*/ 4245067 h 4268514"/>
              <a:gd name="connsiteX240" fmla="*/ 3106615 w 6775947"/>
              <a:gd name="connsiteY240" fmla="*/ 4262652 h 4268514"/>
              <a:gd name="connsiteX241" fmla="*/ 3130061 w 6775947"/>
              <a:gd name="connsiteY241" fmla="*/ 4268514 h 4268514"/>
              <a:gd name="connsiteX242" fmla="*/ 3294184 w 6775947"/>
              <a:gd name="connsiteY242" fmla="*/ 4262652 h 4268514"/>
              <a:gd name="connsiteX243" fmla="*/ 3323492 w 6775947"/>
              <a:gd name="connsiteY243" fmla="*/ 4256791 h 4268514"/>
              <a:gd name="connsiteX244" fmla="*/ 3364523 w 6775947"/>
              <a:gd name="connsiteY244" fmla="*/ 4250929 h 4268514"/>
              <a:gd name="connsiteX245" fmla="*/ 4525107 w 6775947"/>
              <a:gd name="connsiteY245" fmla="*/ 4256791 h 4268514"/>
              <a:gd name="connsiteX246" fmla="*/ 4759569 w 6775947"/>
              <a:gd name="connsiteY246" fmla="*/ 4209898 h 4268514"/>
              <a:gd name="connsiteX247" fmla="*/ 5175738 w 6775947"/>
              <a:gd name="connsiteY247" fmla="*/ 4186452 h 4268514"/>
              <a:gd name="connsiteX248" fmla="*/ 5216769 w 6775947"/>
              <a:gd name="connsiteY248" fmla="*/ 4157144 h 4268514"/>
              <a:gd name="connsiteX249" fmla="*/ 5234354 w 6775947"/>
              <a:gd name="connsiteY249" fmla="*/ 4133698 h 4268514"/>
              <a:gd name="connsiteX250" fmla="*/ 5251938 w 6775947"/>
              <a:gd name="connsiteY250" fmla="*/ 4116114 h 4268514"/>
              <a:gd name="connsiteX251" fmla="*/ 5275384 w 6775947"/>
              <a:gd name="connsiteY251" fmla="*/ 4086806 h 4268514"/>
              <a:gd name="connsiteX252" fmla="*/ 5404338 w 6775947"/>
              <a:gd name="connsiteY252" fmla="*/ 3998883 h 4268514"/>
              <a:gd name="connsiteX253" fmla="*/ 5498123 w 6775947"/>
              <a:gd name="connsiteY253" fmla="*/ 3910960 h 4268514"/>
              <a:gd name="connsiteX254" fmla="*/ 5550877 w 6775947"/>
              <a:gd name="connsiteY254" fmla="*/ 3875791 h 4268514"/>
              <a:gd name="connsiteX255" fmla="*/ 5715000 w 6775947"/>
              <a:gd name="connsiteY255" fmla="*/ 3699944 h 4268514"/>
              <a:gd name="connsiteX256" fmla="*/ 5802923 w 6775947"/>
              <a:gd name="connsiteY256" fmla="*/ 3594437 h 4268514"/>
              <a:gd name="connsiteX257" fmla="*/ 5838092 w 6775947"/>
              <a:gd name="connsiteY257" fmla="*/ 3524098 h 4268514"/>
              <a:gd name="connsiteX258" fmla="*/ 5879123 w 6775947"/>
              <a:gd name="connsiteY258" fmla="*/ 3453760 h 4268514"/>
              <a:gd name="connsiteX259" fmla="*/ 5908430 w 6775947"/>
              <a:gd name="connsiteY259" fmla="*/ 3424452 h 4268514"/>
              <a:gd name="connsiteX260" fmla="*/ 5926015 w 6775947"/>
              <a:gd name="connsiteY260" fmla="*/ 3389283 h 4268514"/>
              <a:gd name="connsiteX261" fmla="*/ 6119446 w 6775947"/>
              <a:gd name="connsiteY261" fmla="*/ 3195852 h 4268514"/>
              <a:gd name="connsiteX262" fmla="*/ 6236677 w 6775947"/>
              <a:gd name="connsiteY262" fmla="*/ 3072760 h 4268514"/>
              <a:gd name="connsiteX263" fmla="*/ 6318738 w 6775947"/>
              <a:gd name="connsiteY263" fmla="*/ 2937944 h 4268514"/>
              <a:gd name="connsiteX264" fmla="*/ 6330461 w 6775947"/>
              <a:gd name="connsiteY264" fmla="*/ 2879329 h 4268514"/>
              <a:gd name="connsiteX265" fmla="*/ 6453554 w 6775947"/>
              <a:gd name="connsiteY265" fmla="*/ 2551083 h 4268514"/>
              <a:gd name="connsiteX266" fmla="*/ 6547338 w 6775947"/>
              <a:gd name="connsiteY266" fmla="*/ 2375237 h 4268514"/>
              <a:gd name="connsiteX267" fmla="*/ 6629400 w 6775947"/>
              <a:gd name="connsiteY267" fmla="*/ 2240421 h 4268514"/>
              <a:gd name="connsiteX268" fmla="*/ 6646984 w 6775947"/>
              <a:gd name="connsiteY268" fmla="*/ 2205252 h 4268514"/>
              <a:gd name="connsiteX269" fmla="*/ 6705600 w 6775947"/>
              <a:gd name="connsiteY269" fmla="*/ 2152498 h 4268514"/>
              <a:gd name="connsiteX270" fmla="*/ 6723184 w 6775947"/>
              <a:gd name="connsiteY270" fmla="*/ 2099744 h 4268514"/>
              <a:gd name="connsiteX271" fmla="*/ 6764215 w 6775947"/>
              <a:gd name="connsiteY271" fmla="*/ 1859421 h 4268514"/>
              <a:gd name="connsiteX272" fmla="*/ 6764215 w 6775947"/>
              <a:gd name="connsiteY272" fmla="*/ 804344 h 4268514"/>
              <a:gd name="connsiteX273" fmla="*/ 6740769 w 6775947"/>
              <a:gd name="connsiteY273" fmla="*/ 218191 h 4268514"/>
              <a:gd name="connsiteX274" fmla="*/ 6729046 w 6775947"/>
              <a:gd name="connsiteY274" fmla="*/ 147852 h 4268514"/>
              <a:gd name="connsiteX275" fmla="*/ 6723184 w 6775947"/>
              <a:gd name="connsiteY275" fmla="*/ 124406 h 4268514"/>
              <a:gd name="connsiteX276" fmla="*/ 6670430 w 6775947"/>
              <a:gd name="connsiteY276" fmla="*/ 77514 h 4268514"/>
              <a:gd name="connsiteX277" fmla="*/ 6559061 w 6775947"/>
              <a:gd name="connsiteY277" fmla="*/ 48206 h 4268514"/>
              <a:gd name="connsiteX278" fmla="*/ 6506307 w 6775947"/>
              <a:gd name="connsiteY278" fmla="*/ 18898 h 4268514"/>
              <a:gd name="connsiteX279" fmla="*/ 6477000 w 6775947"/>
              <a:gd name="connsiteY279" fmla="*/ 7175 h 4268514"/>
              <a:gd name="connsiteX280" fmla="*/ 6371492 w 6775947"/>
              <a:gd name="connsiteY280" fmla="*/ 36483 h 4268514"/>
              <a:gd name="connsiteX281" fmla="*/ 5597769 w 6775947"/>
              <a:gd name="connsiteY281" fmla="*/ 7175 h 4268514"/>
              <a:gd name="connsiteX282" fmla="*/ 5533292 w 6775947"/>
              <a:gd name="connsiteY282" fmla="*/ 1314 h 4268514"/>
              <a:gd name="connsiteX283" fmla="*/ 5175738 w 6775947"/>
              <a:gd name="connsiteY283" fmla="*/ 7175 h 4268514"/>
              <a:gd name="connsiteX284" fmla="*/ 5064369 w 6775947"/>
              <a:gd name="connsiteY284" fmla="*/ 18898 h 4268514"/>
              <a:gd name="connsiteX285" fmla="*/ 4360984 w 6775947"/>
              <a:gd name="connsiteY285" fmla="*/ 30621 h 4268514"/>
              <a:gd name="connsiteX286" fmla="*/ 4314092 w 6775947"/>
              <a:gd name="connsiteY286" fmla="*/ 83375 h 4268514"/>
              <a:gd name="connsiteX287" fmla="*/ 4302369 w 6775947"/>
              <a:gd name="connsiteY287" fmla="*/ 141991 h 4268514"/>
              <a:gd name="connsiteX0" fmla="*/ 4302369 w 6775947"/>
              <a:gd name="connsiteY0" fmla="*/ 141991 h 4268514"/>
              <a:gd name="connsiteX1" fmla="*/ 4302369 w 6775947"/>
              <a:gd name="connsiteY1" fmla="*/ 141991 h 4268514"/>
              <a:gd name="connsiteX2" fmla="*/ 4232030 w 6775947"/>
              <a:gd name="connsiteY2" fmla="*/ 106821 h 4268514"/>
              <a:gd name="connsiteX3" fmla="*/ 4208584 w 6775947"/>
              <a:gd name="connsiteY3" fmla="*/ 89237 h 4268514"/>
              <a:gd name="connsiteX4" fmla="*/ 4149969 w 6775947"/>
              <a:gd name="connsiteY4" fmla="*/ 71652 h 4268514"/>
              <a:gd name="connsiteX5" fmla="*/ 4097215 w 6775947"/>
              <a:gd name="connsiteY5" fmla="*/ 59929 h 4268514"/>
              <a:gd name="connsiteX6" fmla="*/ 4073769 w 6775947"/>
              <a:gd name="connsiteY6" fmla="*/ 54067 h 4268514"/>
              <a:gd name="connsiteX7" fmla="*/ 3927230 w 6775947"/>
              <a:gd name="connsiteY7" fmla="*/ 42344 h 4268514"/>
              <a:gd name="connsiteX8" fmla="*/ 3745523 w 6775947"/>
              <a:gd name="connsiteY8" fmla="*/ 18898 h 4268514"/>
              <a:gd name="connsiteX9" fmla="*/ 3716215 w 6775947"/>
              <a:gd name="connsiteY9" fmla="*/ 7175 h 4268514"/>
              <a:gd name="connsiteX10" fmla="*/ 3563815 w 6775947"/>
              <a:gd name="connsiteY10" fmla="*/ 7175 h 4268514"/>
              <a:gd name="connsiteX11" fmla="*/ 3499338 w 6775947"/>
              <a:gd name="connsiteY11" fmla="*/ 24760 h 4268514"/>
              <a:gd name="connsiteX12" fmla="*/ 3458307 w 6775947"/>
              <a:gd name="connsiteY12" fmla="*/ 30621 h 4268514"/>
              <a:gd name="connsiteX13" fmla="*/ 3376246 w 6775947"/>
              <a:gd name="connsiteY13" fmla="*/ 42344 h 4268514"/>
              <a:gd name="connsiteX14" fmla="*/ 3352800 w 6775947"/>
              <a:gd name="connsiteY14" fmla="*/ 48206 h 4268514"/>
              <a:gd name="connsiteX15" fmla="*/ 3288323 w 6775947"/>
              <a:gd name="connsiteY15" fmla="*/ 77514 h 4268514"/>
              <a:gd name="connsiteX16" fmla="*/ 3194538 w 6775947"/>
              <a:gd name="connsiteY16" fmla="*/ 95098 h 4268514"/>
              <a:gd name="connsiteX17" fmla="*/ 3112477 w 6775947"/>
              <a:gd name="connsiteY17" fmla="*/ 124406 h 4268514"/>
              <a:gd name="connsiteX18" fmla="*/ 3059723 w 6775947"/>
              <a:gd name="connsiteY18" fmla="*/ 194744 h 4268514"/>
              <a:gd name="connsiteX19" fmla="*/ 2971800 w 6775947"/>
              <a:gd name="connsiteY19" fmla="*/ 335421 h 4268514"/>
              <a:gd name="connsiteX20" fmla="*/ 2960077 w 6775947"/>
              <a:gd name="connsiteY20" fmla="*/ 382314 h 4268514"/>
              <a:gd name="connsiteX21" fmla="*/ 2948354 w 6775947"/>
              <a:gd name="connsiteY21" fmla="*/ 423344 h 4268514"/>
              <a:gd name="connsiteX22" fmla="*/ 2954215 w 6775947"/>
              <a:gd name="connsiteY22" fmla="*/ 698837 h 4268514"/>
              <a:gd name="connsiteX23" fmla="*/ 2971800 w 6775947"/>
              <a:gd name="connsiteY23" fmla="*/ 892267 h 4268514"/>
              <a:gd name="connsiteX24" fmla="*/ 2989384 w 6775947"/>
              <a:gd name="connsiteY24" fmla="*/ 1015360 h 4268514"/>
              <a:gd name="connsiteX25" fmla="*/ 3018692 w 6775947"/>
              <a:gd name="connsiteY25" fmla="*/ 1115006 h 4268514"/>
              <a:gd name="connsiteX26" fmla="*/ 3036277 w 6775947"/>
              <a:gd name="connsiteY26" fmla="*/ 1191206 h 4268514"/>
              <a:gd name="connsiteX27" fmla="*/ 3042138 w 6775947"/>
              <a:gd name="connsiteY27" fmla="*/ 1255683 h 4268514"/>
              <a:gd name="connsiteX28" fmla="*/ 3071446 w 6775947"/>
              <a:gd name="connsiteY28" fmla="*/ 1314298 h 4268514"/>
              <a:gd name="connsiteX29" fmla="*/ 3171092 w 6775947"/>
              <a:gd name="connsiteY29" fmla="*/ 1537037 h 4268514"/>
              <a:gd name="connsiteX30" fmla="*/ 3200400 w 6775947"/>
              <a:gd name="connsiteY30" fmla="*/ 1589791 h 4268514"/>
              <a:gd name="connsiteX31" fmla="*/ 3229707 w 6775947"/>
              <a:gd name="connsiteY31" fmla="*/ 1636683 h 4268514"/>
              <a:gd name="connsiteX32" fmla="*/ 3276600 w 6775947"/>
              <a:gd name="connsiteY32" fmla="*/ 1724606 h 4268514"/>
              <a:gd name="connsiteX33" fmla="*/ 3341077 w 6775947"/>
              <a:gd name="connsiteY33" fmla="*/ 1830114 h 4268514"/>
              <a:gd name="connsiteX34" fmla="*/ 3446584 w 6775947"/>
              <a:gd name="connsiteY34" fmla="*/ 1935621 h 4268514"/>
              <a:gd name="connsiteX35" fmla="*/ 3511061 w 6775947"/>
              <a:gd name="connsiteY35" fmla="*/ 2011821 h 4268514"/>
              <a:gd name="connsiteX36" fmla="*/ 3616569 w 6775947"/>
              <a:gd name="connsiteY36" fmla="*/ 2093883 h 4268514"/>
              <a:gd name="connsiteX37" fmla="*/ 3675184 w 6775947"/>
              <a:gd name="connsiteY37" fmla="*/ 2134914 h 4268514"/>
              <a:gd name="connsiteX38" fmla="*/ 3774830 w 6775947"/>
              <a:gd name="connsiteY38" fmla="*/ 2211114 h 4268514"/>
              <a:gd name="connsiteX39" fmla="*/ 3833446 w 6775947"/>
              <a:gd name="connsiteY39" fmla="*/ 2222837 h 4268514"/>
              <a:gd name="connsiteX40" fmla="*/ 3903784 w 6775947"/>
              <a:gd name="connsiteY40" fmla="*/ 2240421 h 4268514"/>
              <a:gd name="connsiteX41" fmla="*/ 3944815 w 6775947"/>
              <a:gd name="connsiteY41" fmla="*/ 2246283 h 4268514"/>
              <a:gd name="connsiteX42" fmla="*/ 4050323 w 6775947"/>
              <a:gd name="connsiteY42" fmla="*/ 2263867 h 4268514"/>
              <a:gd name="connsiteX43" fmla="*/ 4073769 w 6775947"/>
              <a:gd name="connsiteY43" fmla="*/ 2269729 h 4268514"/>
              <a:gd name="connsiteX44" fmla="*/ 4155830 w 6775947"/>
              <a:gd name="connsiteY44" fmla="*/ 2275591 h 4268514"/>
              <a:gd name="connsiteX45" fmla="*/ 4255477 w 6775947"/>
              <a:gd name="connsiteY45" fmla="*/ 2334206 h 4268514"/>
              <a:gd name="connsiteX46" fmla="*/ 4284784 w 6775947"/>
              <a:gd name="connsiteY46" fmla="*/ 2345929 h 4268514"/>
              <a:gd name="connsiteX47" fmla="*/ 4378569 w 6775947"/>
              <a:gd name="connsiteY47" fmla="*/ 2351791 h 4268514"/>
              <a:gd name="connsiteX48" fmla="*/ 4448907 w 6775947"/>
              <a:gd name="connsiteY48" fmla="*/ 2357652 h 4268514"/>
              <a:gd name="connsiteX49" fmla="*/ 4548554 w 6775947"/>
              <a:gd name="connsiteY49" fmla="*/ 2351791 h 4268514"/>
              <a:gd name="connsiteX50" fmla="*/ 4618892 w 6775947"/>
              <a:gd name="connsiteY50" fmla="*/ 2345929 h 4268514"/>
              <a:gd name="connsiteX51" fmla="*/ 4665784 w 6775947"/>
              <a:gd name="connsiteY51" fmla="*/ 2322483 h 4268514"/>
              <a:gd name="connsiteX52" fmla="*/ 4677507 w 6775947"/>
              <a:gd name="connsiteY52" fmla="*/ 2269729 h 4268514"/>
              <a:gd name="connsiteX53" fmla="*/ 4759569 w 6775947"/>
              <a:gd name="connsiteY53" fmla="*/ 2263867 h 4268514"/>
              <a:gd name="connsiteX54" fmla="*/ 4747846 w 6775947"/>
              <a:gd name="connsiteY54" fmla="*/ 2146637 h 4268514"/>
              <a:gd name="connsiteX55" fmla="*/ 4706815 w 6775947"/>
              <a:gd name="connsiteY55" fmla="*/ 2052852 h 4268514"/>
              <a:gd name="connsiteX56" fmla="*/ 4695092 w 6775947"/>
              <a:gd name="connsiteY56" fmla="*/ 2005960 h 4268514"/>
              <a:gd name="connsiteX57" fmla="*/ 4683369 w 6775947"/>
              <a:gd name="connsiteY57" fmla="*/ 1970791 h 4268514"/>
              <a:gd name="connsiteX58" fmla="*/ 4665784 w 6775947"/>
              <a:gd name="connsiteY58" fmla="*/ 1865283 h 4268514"/>
              <a:gd name="connsiteX59" fmla="*/ 4636477 w 6775947"/>
              <a:gd name="connsiteY59" fmla="*/ 1736329 h 4268514"/>
              <a:gd name="connsiteX60" fmla="*/ 4613030 w 6775947"/>
              <a:gd name="connsiteY60" fmla="*/ 1454975 h 4268514"/>
              <a:gd name="connsiteX61" fmla="*/ 4601307 w 6775947"/>
              <a:gd name="connsiteY61" fmla="*/ 1408083 h 4268514"/>
              <a:gd name="connsiteX62" fmla="*/ 4583723 w 6775947"/>
              <a:gd name="connsiteY62" fmla="*/ 1372914 h 4268514"/>
              <a:gd name="connsiteX63" fmla="*/ 4577861 w 6775947"/>
              <a:gd name="connsiteY63" fmla="*/ 1355329 h 4268514"/>
              <a:gd name="connsiteX64" fmla="*/ 4566138 w 6775947"/>
              <a:gd name="connsiteY64" fmla="*/ 1284991 h 4268514"/>
              <a:gd name="connsiteX65" fmla="*/ 4548554 w 6775947"/>
              <a:gd name="connsiteY65" fmla="*/ 1202929 h 4268514"/>
              <a:gd name="connsiteX66" fmla="*/ 4542692 w 6775947"/>
              <a:gd name="connsiteY66" fmla="*/ 1150175 h 4268514"/>
              <a:gd name="connsiteX67" fmla="*/ 4478215 w 6775947"/>
              <a:gd name="connsiteY67" fmla="*/ 1079837 h 4268514"/>
              <a:gd name="connsiteX68" fmla="*/ 4460630 w 6775947"/>
              <a:gd name="connsiteY68" fmla="*/ 1062252 h 4268514"/>
              <a:gd name="connsiteX69" fmla="*/ 4437184 w 6775947"/>
              <a:gd name="connsiteY69" fmla="*/ 1021221 h 4268514"/>
              <a:gd name="connsiteX70" fmla="*/ 4419600 w 6775947"/>
              <a:gd name="connsiteY70" fmla="*/ 980191 h 4268514"/>
              <a:gd name="connsiteX71" fmla="*/ 4378569 w 6775947"/>
              <a:gd name="connsiteY71" fmla="*/ 862960 h 4268514"/>
              <a:gd name="connsiteX72" fmla="*/ 4325815 w 6775947"/>
              <a:gd name="connsiteY72" fmla="*/ 821929 h 4268514"/>
              <a:gd name="connsiteX73" fmla="*/ 4308230 w 6775947"/>
              <a:gd name="connsiteY73" fmla="*/ 804344 h 4268514"/>
              <a:gd name="connsiteX74" fmla="*/ 4296507 w 6775947"/>
              <a:gd name="connsiteY74" fmla="*/ 757452 h 4268514"/>
              <a:gd name="connsiteX75" fmla="*/ 4308230 w 6775947"/>
              <a:gd name="connsiteY75" fmla="*/ 487821 h 4268514"/>
              <a:gd name="connsiteX76" fmla="*/ 4314092 w 6775947"/>
              <a:gd name="connsiteY76" fmla="*/ 417483 h 4268514"/>
              <a:gd name="connsiteX77" fmla="*/ 4319954 w 6775947"/>
              <a:gd name="connsiteY77" fmla="*/ 394037 h 4268514"/>
              <a:gd name="connsiteX78" fmla="*/ 4337538 w 6775947"/>
              <a:gd name="connsiteY78" fmla="*/ 288529 h 4268514"/>
              <a:gd name="connsiteX79" fmla="*/ 4366846 w 6775947"/>
              <a:gd name="connsiteY79" fmla="*/ 253360 h 4268514"/>
              <a:gd name="connsiteX80" fmla="*/ 4396154 w 6775947"/>
              <a:gd name="connsiteY80" fmla="*/ 224052 h 4268514"/>
              <a:gd name="connsiteX81" fmla="*/ 4413738 w 6775947"/>
              <a:gd name="connsiteY81" fmla="*/ 194744 h 4268514"/>
              <a:gd name="connsiteX82" fmla="*/ 4495800 w 6775947"/>
              <a:gd name="connsiteY82" fmla="*/ 136129 h 4268514"/>
              <a:gd name="connsiteX83" fmla="*/ 4554415 w 6775947"/>
              <a:gd name="connsiteY83" fmla="*/ 106821 h 4268514"/>
              <a:gd name="connsiteX84" fmla="*/ 4613030 w 6775947"/>
              <a:gd name="connsiteY84" fmla="*/ 83375 h 4268514"/>
              <a:gd name="connsiteX85" fmla="*/ 4671646 w 6775947"/>
              <a:gd name="connsiteY85" fmla="*/ 77514 h 4268514"/>
              <a:gd name="connsiteX86" fmla="*/ 5246077 w 6775947"/>
              <a:gd name="connsiteY86" fmla="*/ 71652 h 4268514"/>
              <a:gd name="connsiteX87" fmla="*/ 5304692 w 6775947"/>
              <a:gd name="connsiteY87" fmla="*/ 83375 h 4268514"/>
              <a:gd name="connsiteX88" fmla="*/ 5345723 w 6775947"/>
              <a:gd name="connsiteY88" fmla="*/ 89237 h 4268514"/>
              <a:gd name="connsiteX89" fmla="*/ 5527430 w 6775947"/>
              <a:gd name="connsiteY89" fmla="*/ 95098 h 4268514"/>
              <a:gd name="connsiteX90" fmla="*/ 5545015 w 6775947"/>
              <a:gd name="connsiteY90" fmla="*/ 100960 h 4268514"/>
              <a:gd name="connsiteX91" fmla="*/ 5586046 w 6775947"/>
              <a:gd name="connsiteY91" fmla="*/ 136129 h 4268514"/>
              <a:gd name="connsiteX92" fmla="*/ 5615354 w 6775947"/>
              <a:gd name="connsiteY92" fmla="*/ 159575 h 4268514"/>
              <a:gd name="connsiteX93" fmla="*/ 5632938 w 6775947"/>
              <a:gd name="connsiteY93" fmla="*/ 165437 h 4268514"/>
              <a:gd name="connsiteX94" fmla="*/ 5656384 w 6775947"/>
              <a:gd name="connsiteY94" fmla="*/ 183021 h 4268514"/>
              <a:gd name="connsiteX95" fmla="*/ 5709138 w 6775947"/>
              <a:gd name="connsiteY95" fmla="*/ 218191 h 4268514"/>
              <a:gd name="connsiteX96" fmla="*/ 5738446 w 6775947"/>
              <a:gd name="connsiteY96" fmla="*/ 247498 h 4268514"/>
              <a:gd name="connsiteX97" fmla="*/ 5756030 w 6775947"/>
              <a:gd name="connsiteY97" fmla="*/ 282667 h 4268514"/>
              <a:gd name="connsiteX98" fmla="*/ 5791200 w 6775947"/>
              <a:gd name="connsiteY98" fmla="*/ 341283 h 4268514"/>
              <a:gd name="connsiteX99" fmla="*/ 5756030 w 6775947"/>
              <a:gd name="connsiteY99" fmla="*/ 593329 h 4268514"/>
              <a:gd name="connsiteX100" fmla="*/ 5709138 w 6775947"/>
              <a:gd name="connsiteY100" fmla="*/ 751591 h 4268514"/>
              <a:gd name="connsiteX101" fmla="*/ 5650523 w 6775947"/>
              <a:gd name="connsiteY101" fmla="*/ 880544 h 4268514"/>
              <a:gd name="connsiteX102" fmla="*/ 5597769 w 6775947"/>
              <a:gd name="connsiteY102" fmla="*/ 1009498 h 4268514"/>
              <a:gd name="connsiteX103" fmla="*/ 5591907 w 6775947"/>
              <a:gd name="connsiteY103" fmla="*/ 1038806 h 4268514"/>
              <a:gd name="connsiteX104" fmla="*/ 5586046 w 6775947"/>
              <a:gd name="connsiteY104" fmla="*/ 1056391 h 4268514"/>
              <a:gd name="connsiteX105" fmla="*/ 5556738 w 6775947"/>
              <a:gd name="connsiteY105" fmla="*/ 1173621 h 4268514"/>
              <a:gd name="connsiteX106" fmla="*/ 5515707 w 6775947"/>
              <a:gd name="connsiteY106" fmla="*/ 1279129 h 4268514"/>
              <a:gd name="connsiteX107" fmla="*/ 5480538 w 6775947"/>
              <a:gd name="connsiteY107" fmla="*/ 1396360 h 4268514"/>
              <a:gd name="connsiteX108" fmla="*/ 5468815 w 6775947"/>
              <a:gd name="connsiteY108" fmla="*/ 1425667 h 4268514"/>
              <a:gd name="connsiteX109" fmla="*/ 5439507 w 6775947"/>
              <a:gd name="connsiteY109" fmla="*/ 1478421 h 4268514"/>
              <a:gd name="connsiteX110" fmla="*/ 5421923 w 6775947"/>
              <a:gd name="connsiteY110" fmla="*/ 1531175 h 4268514"/>
              <a:gd name="connsiteX111" fmla="*/ 5392615 w 6775947"/>
              <a:gd name="connsiteY111" fmla="*/ 1607375 h 4268514"/>
              <a:gd name="connsiteX112" fmla="*/ 5369169 w 6775947"/>
              <a:gd name="connsiteY112" fmla="*/ 1677714 h 4268514"/>
              <a:gd name="connsiteX113" fmla="*/ 5351584 w 6775947"/>
              <a:gd name="connsiteY113" fmla="*/ 1835975 h 4268514"/>
              <a:gd name="connsiteX114" fmla="*/ 5339861 w 6775947"/>
              <a:gd name="connsiteY114" fmla="*/ 1865283 h 4268514"/>
              <a:gd name="connsiteX115" fmla="*/ 5334000 w 6775947"/>
              <a:gd name="connsiteY115" fmla="*/ 1888729 h 4268514"/>
              <a:gd name="connsiteX116" fmla="*/ 5316415 w 6775947"/>
              <a:gd name="connsiteY116" fmla="*/ 1970791 h 4268514"/>
              <a:gd name="connsiteX117" fmla="*/ 5292969 w 6775947"/>
              <a:gd name="connsiteY117" fmla="*/ 2005960 h 4268514"/>
              <a:gd name="connsiteX118" fmla="*/ 5269523 w 6775947"/>
              <a:gd name="connsiteY118" fmla="*/ 2052852 h 4268514"/>
              <a:gd name="connsiteX119" fmla="*/ 5257800 w 6775947"/>
              <a:gd name="connsiteY119" fmla="*/ 2076298 h 4268514"/>
              <a:gd name="connsiteX120" fmla="*/ 5240215 w 6775947"/>
              <a:gd name="connsiteY120" fmla="*/ 2099744 h 4268514"/>
              <a:gd name="connsiteX121" fmla="*/ 5234354 w 6775947"/>
              <a:gd name="connsiteY121" fmla="*/ 2129052 h 4268514"/>
              <a:gd name="connsiteX122" fmla="*/ 5222630 w 6775947"/>
              <a:gd name="connsiteY122" fmla="*/ 2140775 h 4268514"/>
              <a:gd name="connsiteX123" fmla="*/ 5210907 w 6775947"/>
              <a:gd name="connsiteY123" fmla="*/ 2164221 h 4268514"/>
              <a:gd name="connsiteX124" fmla="*/ 5193323 w 6775947"/>
              <a:gd name="connsiteY124" fmla="*/ 2187667 h 4268514"/>
              <a:gd name="connsiteX125" fmla="*/ 5175738 w 6775947"/>
              <a:gd name="connsiteY125" fmla="*/ 2263867 h 4268514"/>
              <a:gd name="connsiteX126" fmla="*/ 5193323 w 6775947"/>
              <a:gd name="connsiteY126" fmla="*/ 2328344 h 4268514"/>
              <a:gd name="connsiteX127" fmla="*/ 5210907 w 6775947"/>
              <a:gd name="connsiteY127" fmla="*/ 2357652 h 4268514"/>
              <a:gd name="connsiteX128" fmla="*/ 5228492 w 6775947"/>
              <a:gd name="connsiteY128" fmla="*/ 2363514 h 4268514"/>
              <a:gd name="connsiteX129" fmla="*/ 5281246 w 6775947"/>
              <a:gd name="connsiteY129" fmla="*/ 2427991 h 4268514"/>
              <a:gd name="connsiteX130" fmla="*/ 5287107 w 6775947"/>
              <a:gd name="connsiteY130" fmla="*/ 2556944 h 4268514"/>
              <a:gd name="connsiteX131" fmla="*/ 5298830 w 6775947"/>
              <a:gd name="connsiteY131" fmla="*/ 2615560 h 4268514"/>
              <a:gd name="connsiteX132" fmla="*/ 5310554 w 6775947"/>
              <a:gd name="connsiteY132" fmla="*/ 2721067 h 4268514"/>
              <a:gd name="connsiteX133" fmla="*/ 5316415 w 6775947"/>
              <a:gd name="connsiteY133" fmla="*/ 2885191 h 4268514"/>
              <a:gd name="connsiteX134" fmla="*/ 5357446 w 6775947"/>
              <a:gd name="connsiteY134" fmla="*/ 2978975 h 4268514"/>
              <a:gd name="connsiteX135" fmla="*/ 5363307 w 6775947"/>
              <a:gd name="connsiteY135" fmla="*/ 3014144 h 4268514"/>
              <a:gd name="connsiteX136" fmla="*/ 5380892 w 6775947"/>
              <a:gd name="connsiteY136" fmla="*/ 3037591 h 4268514"/>
              <a:gd name="connsiteX137" fmla="*/ 5386754 w 6775947"/>
              <a:gd name="connsiteY137" fmla="*/ 3084483 h 4268514"/>
              <a:gd name="connsiteX138" fmla="*/ 5404338 w 6775947"/>
              <a:gd name="connsiteY138" fmla="*/ 3131375 h 4268514"/>
              <a:gd name="connsiteX139" fmla="*/ 5404338 w 6775947"/>
              <a:gd name="connsiteY139" fmla="*/ 3324806 h 4268514"/>
              <a:gd name="connsiteX140" fmla="*/ 5398477 w 6775947"/>
              <a:gd name="connsiteY140" fmla="*/ 3823037 h 4268514"/>
              <a:gd name="connsiteX141" fmla="*/ 5380892 w 6775947"/>
              <a:gd name="connsiteY141" fmla="*/ 3881652 h 4268514"/>
              <a:gd name="connsiteX142" fmla="*/ 5369169 w 6775947"/>
              <a:gd name="connsiteY142" fmla="*/ 3916821 h 4268514"/>
              <a:gd name="connsiteX143" fmla="*/ 5339861 w 6775947"/>
              <a:gd name="connsiteY143" fmla="*/ 3946129 h 4268514"/>
              <a:gd name="connsiteX144" fmla="*/ 5322277 w 6775947"/>
              <a:gd name="connsiteY144" fmla="*/ 3981298 h 4268514"/>
              <a:gd name="connsiteX145" fmla="*/ 5257800 w 6775947"/>
              <a:gd name="connsiteY145" fmla="*/ 4057498 h 4268514"/>
              <a:gd name="connsiteX146" fmla="*/ 5228492 w 6775947"/>
              <a:gd name="connsiteY146" fmla="*/ 4080944 h 4268514"/>
              <a:gd name="connsiteX147" fmla="*/ 5146430 w 6775947"/>
              <a:gd name="connsiteY147" fmla="*/ 4121975 h 4268514"/>
              <a:gd name="connsiteX148" fmla="*/ 5117123 w 6775947"/>
              <a:gd name="connsiteY148" fmla="*/ 4139560 h 4268514"/>
              <a:gd name="connsiteX149" fmla="*/ 5087815 w 6775947"/>
              <a:gd name="connsiteY149" fmla="*/ 4145421 h 4268514"/>
              <a:gd name="connsiteX150" fmla="*/ 4988169 w 6775947"/>
              <a:gd name="connsiteY150" fmla="*/ 4163006 h 4268514"/>
              <a:gd name="connsiteX151" fmla="*/ 4753707 w 6775947"/>
              <a:gd name="connsiteY151" fmla="*/ 4151283 h 4268514"/>
              <a:gd name="connsiteX152" fmla="*/ 4695092 w 6775947"/>
              <a:gd name="connsiteY152" fmla="*/ 4139560 h 4268514"/>
              <a:gd name="connsiteX153" fmla="*/ 4589584 w 6775947"/>
              <a:gd name="connsiteY153" fmla="*/ 4151283 h 4268514"/>
              <a:gd name="connsiteX154" fmla="*/ 4560277 w 6775947"/>
              <a:gd name="connsiteY154" fmla="*/ 4163006 h 4268514"/>
              <a:gd name="connsiteX155" fmla="*/ 4484077 w 6775947"/>
              <a:gd name="connsiteY155" fmla="*/ 4180591 h 4268514"/>
              <a:gd name="connsiteX156" fmla="*/ 4443046 w 6775947"/>
              <a:gd name="connsiteY156" fmla="*/ 4198175 h 4268514"/>
              <a:gd name="connsiteX157" fmla="*/ 4413738 w 6775947"/>
              <a:gd name="connsiteY157" fmla="*/ 4204037 h 4268514"/>
              <a:gd name="connsiteX158" fmla="*/ 4355123 w 6775947"/>
              <a:gd name="connsiteY158" fmla="*/ 4215760 h 4268514"/>
              <a:gd name="connsiteX159" fmla="*/ 4273061 w 6775947"/>
              <a:gd name="connsiteY159" fmla="*/ 4209898 h 4268514"/>
              <a:gd name="connsiteX160" fmla="*/ 4185138 w 6775947"/>
              <a:gd name="connsiteY160" fmla="*/ 4198175 h 4268514"/>
              <a:gd name="connsiteX161" fmla="*/ 4155830 w 6775947"/>
              <a:gd name="connsiteY161" fmla="*/ 4209898 h 4268514"/>
              <a:gd name="connsiteX162" fmla="*/ 4138246 w 6775947"/>
              <a:gd name="connsiteY162" fmla="*/ 4215760 h 4268514"/>
              <a:gd name="connsiteX163" fmla="*/ 3991707 w 6775947"/>
              <a:gd name="connsiteY163" fmla="*/ 4227483 h 4268514"/>
              <a:gd name="connsiteX164" fmla="*/ 3933092 w 6775947"/>
              <a:gd name="connsiteY164" fmla="*/ 4250929 h 4268514"/>
              <a:gd name="connsiteX165" fmla="*/ 3915507 w 6775947"/>
              <a:gd name="connsiteY165" fmla="*/ 4262652 h 4268514"/>
              <a:gd name="connsiteX166" fmla="*/ 3704492 w 6775947"/>
              <a:gd name="connsiteY166" fmla="*/ 4268514 h 4268514"/>
              <a:gd name="connsiteX167" fmla="*/ 3552092 w 6775947"/>
              <a:gd name="connsiteY167" fmla="*/ 4233344 h 4268514"/>
              <a:gd name="connsiteX168" fmla="*/ 3452446 w 6775947"/>
              <a:gd name="connsiteY168" fmla="*/ 4227483 h 4268514"/>
              <a:gd name="connsiteX169" fmla="*/ 3264877 w 6775947"/>
              <a:gd name="connsiteY169" fmla="*/ 4192314 h 4268514"/>
              <a:gd name="connsiteX170" fmla="*/ 3253154 w 6775947"/>
              <a:gd name="connsiteY170" fmla="*/ 4069221 h 4268514"/>
              <a:gd name="connsiteX171" fmla="*/ 3276600 w 6775947"/>
              <a:gd name="connsiteY171" fmla="*/ 3828898 h 4268514"/>
              <a:gd name="connsiteX172" fmla="*/ 3264877 w 6775947"/>
              <a:gd name="connsiteY172" fmla="*/ 3664775 h 4268514"/>
              <a:gd name="connsiteX173" fmla="*/ 3259015 w 6775947"/>
              <a:gd name="connsiteY173" fmla="*/ 3623744 h 4268514"/>
              <a:gd name="connsiteX174" fmla="*/ 3247292 w 6775947"/>
              <a:gd name="connsiteY174" fmla="*/ 3600298 h 4268514"/>
              <a:gd name="connsiteX175" fmla="*/ 3229707 w 6775947"/>
              <a:gd name="connsiteY175" fmla="*/ 3535821 h 4268514"/>
              <a:gd name="connsiteX176" fmla="*/ 3194538 w 6775947"/>
              <a:gd name="connsiteY176" fmla="*/ 3459621 h 4268514"/>
              <a:gd name="connsiteX177" fmla="*/ 3153507 w 6775947"/>
              <a:gd name="connsiteY177" fmla="*/ 3354114 h 4268514"/>
              <a:gd name="connsiteX178" fmla="*/ 3135923 w 6775947"/>
              <a:gd name="connsiteY178" fmla="*/ 3231021 h 4268514"/>
              <a:gd name="connsiteX179" fmla="*/ 3118338 w 6775947"/>
              <a:gd name="connsiteY179" fmla="*/ 3184129 h 4268514"/>
              <a:gd name="connsiteX180" fmla="*/ 3094892 w 6775947"/>
              <a:gd name="connsiteY180" fmla="*/ 2633144 h 4268514"/>
              <a:gd name="connsiteX181" fmla="*/ 3048000 w 6775947"/>
              <a:gd name="connsiteY181" fmla="*/ 2498329 h 4268514"/>
              <a:gd name="connsiteX182" fmla="*/ 3012830 w 6775947"/>
              <a:gd name="connsiteY182" fmla="*/ 2386960 h 4268514"/>
              <a:gd name="connsiteX183" fmla="*/ 3006969 w 6775947"/>
              <a:gd name="connsiteY183" fmla="*/ 2299037 h 4268514"/>
              <a:gd name="connsiteX184" fmla="*/ 2995246 w 6775947"/>
              <a:gd name="connsiteY184" fmla="*/ 1988375 h 4268514"/>
              <a:gd name="connsiteX185" fmla="*/ 2965938 w 6775947"/>
              <a:gd name="connsiteY185" fmla="*/ 1818391 h 4268514"/>
              <a:gd name="connsiteX186" fmla="*/ 2960077 w 6775947"/>
              <a:gd name="connsiteY186" fmla="*/ 1689437 h 4268514"/>
              <a:gd name="connsiteX187" fmla="*/ 2936630 w 6775947"/>
              <a:gd name="connsiteY187" fmla="*/ 1583929 h 4268514"/>
              <a:gd name="connsiteX188" fmla="*/ 2924907 w 6775947"/>
              <a:gd name="connsiteY188" fmla="*/ 1542898 h 4268514"/>
              <a:gd name="connsiteX189" fmla="*/ 2901461 w 6775947"/>
              <a:gd name="connsiteY189" fmla="*/ 1425667 h 4268514"/>
              <a:gd name="connsiteX190" fmla="*/ 2872154 w 6775947"/>
              <a:gd name="connsiteY190" fmla="*/ 1302575 h 4268514"/>
              <a:gd name="connsiteX191" fmla="*/ 2848707 w 6775947"/>
              <a:gd name="connsiteY191" fmla="*/ 1191206 h 4268514"/>
              <a:gd name="connsiteX192" fmla="*/ 2836984 w 6775947"/>
              <a:gd name="connsiteY192" fmla="*/ 1056391 h 4268514"/>
              <a:gd name="connsiteX193" fmla="*/ 2819400 w 6775947"/>
              <a:gd name="connsiteY193" fmla="*/ 968467 h 4268514"/>
              <a:gd name="connsiteX194" fmla="*/ 2813538 w 6775947"/>
              <a:gd name="connsiteY194" fmla="*/ 909852 h 4268514"/>
              <a:gd name="connsiteX195" fmla="*/ 2801815 w 6775947"/>
              <a:gd name="connsiteY195" fmla="*/ 816067 h 4268514"/>
              <a:gd name="connsiteX196" fmla="*/ 2795954 w 6775947"/>
              <a:gd name="connsiteY196" fmla="*/ 476098 h 4268514"/>
              <a:gd name="connsiteX197" fmla="*/ 2784230 w 6775947"/>
              <a:gd name="connsiteY197" fmla="*/ 335421 h 4268514"/>
              <a:gd name="connsiteX198" fmla="*/ 2754923 w 6775947"/>
              <a:gd name="connsiteY198" fmla="*/ 276806 h 4268514"/>
              <a:gd name="connsiteX199" fmla="*/ 2708030 w 6775947"/>
              <a:gd name="connsiteY199" fmla="*/ 177160 h 4268514"/>
              <a:gd name="connsiteX200" fmla="*/ 2702169 w 6775947"/>
              <a:gd name="connsiteY200" fmla="*/ 159575 h 4268514"/>
              <a:gd name="connsiteX201" fmla="*/ 2678723 w 6775947"/>
              <a:gd name="connsiteY201" fmla="*/ 130267 h 4268514"/>
              <a:gd name="connsiteX202" fmla="*/ 2602523 w 6775947"/>
              <a:gd name="connsiteY202" fmla="*/ 112683 h 4268514"/>
              <a:gd name="connsiteX203" fmla="*/ 2584938 w 6775947"/>
              <a:gd name="connsiteY203" fmla="*/ 106821 h 4268514"/>
              <a:gd name="connsiteX204" fmla="*/ 2514600 w 6775947"/>
              <a:gd name="connsiteY204" fmla="*/ 100960 h 4268514"/>
              <a:gd name="connsiteX205" fmla="*/ 2467707 w 6775947"/>
              <a:gd name="connsiteY205" fmla="*/ 36483 h 4268514"/>
              <a:gd name="connsiteX206" fmla="*/ 2403230 w 6775947"/>
              <a:gd name="connsiteY206" fmla="*/ 30621 h 4268514"/>
              <a:gd name="connsiteX207" fmla="*/ 2321169 w 6775947"/>
              <a:gd name="connsiteY207" fmla="*/ 24760 h 4268514"/>
              <a:gd name="connsiteX208" fmla="*/ 1793630 w 6775947"/>
              <a:gd name="connsiteY208" fmla="*/ 30621 h 4268514"/>
              <a:gd name="connsiteX209" fmla="*/ 1752600 w 6775947"/>
              <a:gd name="connsiteY209" fmla="*/ 42344 h 4268514"/>
              <a:gd name="connsiteX210" fmla="*/ 1717430 w 6775947"/>
              <a:gd name="connsiteY210" fmla="*/ 59929 h 4268514"/>
              <a:gd name="connsiteX211" fmla="*/ 1652954 w 6775947"/>
              <a:gd name="connsiteY211" fmla="*/ 65791 h 4268514"/>
              <a:gd name="connsiteX212" fmla="*/ 1371600 w 6775947"/>
              <a:gd name="connsiteY212" fmla="*/ 54067 h 4268514"/>
              <a:gd name="connsiteX213" fmla="*/ 826477 w 6775947"/>
              <a:gd name="connsiteY213" fmla="*/ 36483 h 4268514"/>
              <a:gd name="connsiteX214" fmla="*/ 451338 w 6775947"/>
              <a:gd name="connsiteY214" fmla="*/ 42344 h 4268514"/>
              <a:gd name="connsiteX215" fmla="*/ 375138 w 6775947"/>
              <a:gd name="connsiteY215" fmla="*/ 65791 h 4268514"/>
              <a:gd name="connsiteX216" fmla="*/ 199292 w 6775947"/>
              <a:gd name="connsiteY216" fmla="*/ 159575 h 4268514"/>
              <a:gd name="connsiteX217" fmla="*/ 146538 w 6775947"/>
              <a:gd name="connsiteY217" fmla="*/ 194744 h 4268514"/>
              <a:gd name="connsiteX218" fmla="*/ 29307 w 6775947"/>
              <a:gd name="connsiteY218" fmla="*/ 528852 h 4268514"/>
              <a:gd name="connsiteX219" fmla="*/ 0 w 6775947"/>
              <a:gd name="connsiteY219" fmla="*/ 898129 h 4268514"/>
              <a:gd name="connsiteX220" fmla="*/ 23446 w 6775947"/>
              <a:gd name="connsiteY220" fmla="*/ 2041129 h 4268514"/>
              <a:gd name="connsiteX221" fmla="*/ 93784 w 6775947"/>
              <a:gd name="connsiteY221" fmla="*/ 2316621 h 4268514"/>
              <a:gd name="connsiteX222" fmla="*/ 433754 w 6775947"/>
              <a:gd name="connsiteY222" fmla="*/ 2937944 h 4268514"/>
              <a:gd name="connsiteX223" fmla="*/ 662354 w 6775947"/>
              <a:gd name="connsiteY223" fmla="*/ 3231021 h 4268514"/>
              <a:gd name="connsiteX224" fmla="*/ 785446 w 6775947"/>
              <a:gd name="connsiteY224" fmla="*/ 3395144 h 4268514"/>
              <a:gd name="connsiteX225" fmla="*/ 1066800 w 6775947"/>
              <a:gd name="connsiteY225" fmla="*/ 3746837 h 4268514"/>
              <a:gd name="connsiteX226" fmla="*/ 1436077 w 6775947"/>
              <a:gd name="connsiteY226" fmla="*/ 4004744 h 4268514"/>
              <a:gd name="connsiteX227" fmla="*/ 1735015 w 6775947"/>
              <a:gd name="connsiteY227" fmla="*/ 4139560 h 4268514"/>
              <a:gd name="connsiteX228" fmla="*/ 1817077 w 6775947"/>
              <a:gd name="connsiteY228" fmla="*/ 4174729 h 4268514"/>
              <a:gd name="connsiteX229" fmla="*/ 1893277 w 6775947"/>
              <a:gd name="connsiteY229" fmla="*/ 4209898 h 4268514"/>
              <a:gd name="connsiteX230" fmla="*/ 2039815 w 6775947"/>
              <a:gd name="connsiteY230" fmla="*/ 4221621 h 4268514"/>
              <a:gd name="connsiteX231" fmla="*/ 2250830 w 6775947"/>
              <a:gd name="connsiteY231" fmla="*/ 4198175 h 4268514"/>
              <a:gd name="connsiteX232" fmla="*/ 2286000 w 6775947"/>
              <a:gd name="connsiteY232" fmla="*/ 4192314 h 4268514"/>
              <a:gd name="connsiteX233" fmla="*/ 2450123 w 6775947"/>
              <a:gd name="connsiteY233" fmla="*/ 4198175 h 4268514"/>
              <a:gd name="connsiteX234" fmla="*/ 2567354 w 6775947"/>
              <a:gd name="connsiteY234" fmla="*/ 4209898 h 4268514"/>
              <a:gd name="connsiteX235" fmla="*/ 2608384 w 6775947"/>
              <a:gd name="connsiteY235" fmla="*/ 4215760 h 4268514"/>
              <a:gd name="connsiteX236" fmla="*/ 2813538 w 6775947"/>
              <a:gd name="connsiteY236" fmla="*/ 4221621 h 4268514"/>
              <a:gd name="connsiteX237" fmla="*/ 2924907 w 6775947"/>
              <a:gd name="connsiteY237" fmla="*/ 4233344 h 4268514"/>
              <a:gd name="connsiteX238" fmla="*/ 2960077 w 6775947"/>
              <a:gd name="connsiteY238" fmla="*/ 4239206 h 4268514"/>
              <a:gd name="connsiteX239" fmla="*/ 3006969 w 6775947"/>
              <a:gd name="connsiteY239" fmla="*/ 4245067 h 4268514"/>
              <a:gd name="connsiteX240" fmla="*/ 3106615 w 6775947"/>
              <a:gd name="connsiteY240" fmla="*/ 4262652 h 4268514"/>
              <a:gd name="connsiteX241" fmla="*/ 3130061 w 6775947"/>
              <a:gd name="connsiteY241" fmla="*/ 4268514 h 4268514"/>
              <a:gd name="connsiteX242" fmla="*/ 3294184 w 6775947"/>
              <a:gd name="connsiteY242" fmla="*/ 4262652 h 4268514"/>
              <a:gd name="connsiteX243" fmla="*/ 3323492 w 6775947"/>
              <a:gd name="connsiteY243" fmla="*/ 4256791 h 4268514"/>
              <a:gd name="connsiteX244" fmla="*/ 3364523 w 6775947"/>
              <a:gd name="connsiteY244" fmla="*/ 4250929 h 4268514"/>
              <a:gd name="connsiteX245" fmla="*/ 4525107 w 6775947"/>
              <a:gd name="connsiteY245" fmla="*/ 4256791 h 4268514"/>
              <a:gd name="connsiteX246" fmla="*/ 4759569 w 6775947"/>
              <a:gd name="connsiteY246" fmla="*/ 4209898 h 4268514"/>
              <a:gd name="connsiteX247" fmla="*/ 5175738 w 6775947"/>
              <a:gd name="connsiteY247" fmla="*/ 4186452 h 4268514"/>
              <a:gd name="connsiteX248" fmla="*/ 5216769 w 6775947"/>
              <a:gd name="connsiteY248" fmla="*/ 4157144 h 4268514"/>
              <a:gd name="connsiteX249" fmla="*/ 5234354 w 6775947"/>
              <a:gd name="connsiteY249" fmla="*/ 4133698 h 4268514"/>
              <a:gd name="connsiteX250" fmla="*/ 5251938 w 6775947"/>
              <a:gd name="connsiteY250" fmla="*/ 4116114 h 4268514"/>
              <a:gd name="connsiteX251" fmla="*/ 5275384 w 6775947"/>
              <a:gd name="connsiteY251" fmla="*/ 4086806 h 4268514"/>
              <a:gd name="connsiteX252" fmla="*/ 5404338 w 6775947"/>
              <a:gd name="connsiteY252" fmla="*/ 3998883 h 4268514"/>
              <a:gd name="connsiteX253" fmla="*/ 5498123 w 6775947"/>
              <a:gd name="connsiteY253" fmla="*/ 3910960 h 4268514"/>
              <a:gd name="connsiteX254" fmla="*/ 5550877 w 6775947"/>
              <a:gd name="connsiteY254" fmla="*/ 3875791 h 4268514"/>
              <a:gd name="connsiteX255" fmla="*/ 5715000 w 6775947"/>
              <a:gd name="connsiteY255" fmla="*/ 3699944 h 4268514"/>
              <a:gd name="connsiteX256" fmla="*/ 5802923 w 6775947"/>
              <a:gd name="connsiteY256" fmla="*/ 3594437 h 4268514"/>
              <a:gd name="connsiteX257" fmla="*/ 5838092 w 6775947"/>
              <a:gd name="connsiteY257" fmla="*/ 3524098 h 4268514"/>
              <a:gd name="connsiteX258" fmla="*/ 5879123 w 6775947"/>
              <a:gd name="connsiteY258" fmla="*/ 3453760 h 4268514"/>
              <a:gd name="connsiteX259" fmla="*/ 5908430 w 6775947"/>
              <a:gd name="connsiteY259" fmla="*/ 3424452 h 4268514"/>
              <a:gd name="connsiteX260" fmla="*/ 5926015 w 6775947"/>
              <a:gd name="connsiteY260" fmla="*/ 3389283 h 4268514"/>
              <a:gd name="connsiteX261" fmla="*/ 6119446 w 6775947"/>
              <a:gd name="connsiteY261" fmla="*/ 3195852 h 4268514"/>
              <a:gd name="connsiteX262" fmla="*/ 6236677 w 6775947"/>
              <a:gd name="connsiteY262" fmla="*/ 3072760 h 4268514"/>
              <a:gd name="connsiteX263" fmla="*/ 6318738 w 6775947"/>
              <a:gd name="connsiteY263" fmla="*/ 2937944 h 4268514"/>
              <a:gd name="connsiteX264" fmla="*/ 6330461 w 6775947"/>
              <a:gd name="connsiteY264" fmla="*/ 2879329 h 4268514"/>
              <a:gd name="connsiteX265" fmla="*/ 6453554 w 6775947"/>
              <a:gd name="connsiteY265" fmla="*/ 2551083 h 4268514"/>
              <a:gd name="connsiteX266" fmla="*/ 6547338 w 6775947"/>
              <a:gd name="connsiteY266" fmla="*/ 2375237 h 4268514"/>
              <a:gd name="connsiteX267" fmla="*/ 6629400 w 6775947"/>
              <a:gd name="connsiteY267" fmla="*/ 2240421 h 4268514"/>
              <a:gd name="connsiteX268" fmla="*/ 6646984 w 6775947"/>
              <a:gd name="connsiteY268" fmla="*/ 2205252 h 4268514"/>
              <a:gd name="connsiteX269" fmla="*/ 6705600 w 6775947"/>
              <a:gd name="connsiteY269" fmla="*/ 2152498 h 4268514"/>
              <a:gd name="connsiteX270" fmla="*/ 6723184 w 6775947"/>
              <a:gd name="connsiteY270" fmla="*/ 2099744 h 4268514"/>
              <a:gd name="connsiteX271" fmla="*/ 6764215 w 6775947"/>
              <a:gd name="connsiteY271" fmla="*/ 1859421 h 4268514"/>
              <a:gd name="connsiteX272" fmla="*/ 6764215 w 6775947"/>
              <a:gd name="connsiteY272" fmla="*/ 804344 h 4268514"/>
              <a:gd name="connsiteX273" fmla="*/ 6740769 w 6775947"/>
              <a:gd name="connsiteY273" fmla="*/ 218191 h 4268514"/>
              <a:gd name="connsiteX274" fmla="*/ 6729046 w 6775947"/>
              <a:gd name="connsiteY274" fmla="*/ 147852 h 4268514"/>
              <a:gd name="connsiteX275" fmla="*/ 6723184 w 6775947"/>
              <a:gd name="connsiteY275" fmla="*/ 124406 h 4268514"/>
              <a:gd name="connsiteX276" fmla="*/ 6670430 w 6775947"/>
              <a:gd name="connsiteY276" fmla="*/ 77514 h 4268514"/>
              <a:gd name="connsiteX277" fmla="*/ 6559061 w 6775947"/>
              <a:gd name="connsiteY277" fmla="*/ 48206 h 4268514"/>
              <a:gd name="connsiteX278" fmla="*/ 6506307 w 6775947"/>
              <a:gd name="connsiteY278" fmla="*/ 18898 h 4268514"/>
              <a:gd name="connsiteX279" fmla="*/ 6477000 w 6775947"/>
              <a:gd name="connsiteY279" fmla="*/ 7175 h 4268514"/>
              <a:gd name="connsiteX280" fmla="*/ 6371492 w 6775947"/>
              <a:gd name="connsiteY280" fmla="*/ 36483 h 4268514"/>
              <a:gd name="connsiteX281" fmla="*/ 5597769 w 6775947"/>
              <a:gd name="connsiteY281" fmla="*/ 7175 h 4268514"/>
              <a:gd name="connsiteX282" fmla="*/ 5533292 w 6775947"/>
              <a:gd name="connsiteY282" fmla="*/ 1314 h 4268514"/>
              <a:gd name="connsiteX283" fmla="*/ 5175738 w 6775947"/>
              <a:gd name="connsiteY283" fmla="*/ 7175 h 4268514"/>
              <a:gd name="connsiteX284" fmla="*/ 5064369 w 6775947"/>
              <a:gd name="connsiteY284" fmla="*/ 18898 h 4268514"/>
              <a:gd name="connsiteX285" fmla="*/ 4360984 w 6775947"/>
              <a:gd name="connsiteY285" fmla="*/ 30621 h 4268514"/>
              <a:gd name="connsiteX286" fmla="*/ 4314092 w 6775947"/>
              <a:gd name="connsiteY286" fmla="*/ 83375 h 4268514"/>
              <a:gd name="connsiteX287" fmla="*/ 4302369 w 6775947"/>
              <a:gd name="connsiteY287" fmla="*/ 141991 h 4268514"/>
              <a:gd name="connsiteX0" fmla="*/ 4302369 w 6775947"/>
              <a:gd name="connsiteY0" fmla="*/ 141991 h 4268514"/>
              <a:gd name="connsiteX1" fmla="*/ 4302369 w 6775947"/>
              <a:gd name="connsiteY1" fmla="*/ 141991 h 4268514"/>
              <a:gd name="connsiteX2" fmla="*/ 4232030 w 6775947"/>
              <a:gd name="connsiteY2" fmla="*/ 106821 h 4268514"/>
              <a:gd name="connsiteX3" fmla="*/ 4208584 w 6775947"/>
              <a:gd name="connsiteY3" fmla="*/ 89237 h 4268514"/>
              <a:gd name="connsiteX4" fmla="*/ 4149969 w 6775947"/>
              <a:gd name="connsiteY4" fmla="*/ 71652 h 4268514"/>
              <a:gd name="connsiteX5" fmla="*/ 4097215 w 6775947"/>
              <a:gd name="connsiteY5" fmla="*/ 59929 h 4268514"/>
              <a:gd name="connsiteX6" fmla="*/ 4073769 w 6775947"/>
              <a:gd name="connsiteY6" fmla="*/ 54067 h 4268514"/>
              <a:gd name="connsiteX7" fmla="*/ 3927230 w 6775947"/>
              <a:gd name="connsiteY7" fmla="*/ 42344 h 4268514"/>
              <a:gd name="connsiteX8" fmla="*/ 3745523 w 6775947"/>
              <a:gd name="connsiteY8" fmla="*/ 18898 h 4268514"/>
              <a:gd name="connsiteX9" fmla="*/ 3716215 w 6775947"/>
              <a:gd name="connsiteY9" fmla="*/ 7175 h 4268514"/>
              <a:gd name="connsiteX10" fmla="*/ 3563815 w 6775947"/>
              <a:gd name="connsiteY10" fmla="*/ 7175 h 4268514"/>
              <a:gd name="connsiteX11" fmla="*/ 3499338 w 6775947"/>
              <a:gd name="connsiteY11" fmla="*/ 24760 h 4268514"/>
              <a:gd name="connsiteX12" fmla="*/ 3458307 w 6775947"/>
              <a:gd name="connsiteY12" fmla="*/ 30621 h 4268514"/>
              <a:gd name="connsiteX13" fmla="*/ 3376246 w 6775947"/>
              <a:gd name="connsiteY13" fmla="*/ 42344 h 4268514"/>
              <a:gd name="connsiteX14" fmla="*/ 3352800 w 6775947"/>
              <a:gd name="connsiteY14" fmla="*/ 48206 h 4268514"/>
              <a:gd name="connsiteX15" fmla="*/ 3288323 w 6775947"/>
              <a:gd name="connsiteY15" fmla="*/ 77514 h 4268514"/>
              <a:gd name="connsiteX16" fmla="*/ 3194538 w 6775947"/>
              <a:gd name="connsiteY16" fmla="*/ 95098 h 4268514"/>
              <a:gd name="connsiteX17" fmla="*/ 3112477 w 6775947"/>
              <a:gd name="connsiteY17" fmla="*/ 124406 h 4268514"/>
              <a:gd name="connsiteX18" fmla="*/ 3059723 w 6775947"/>
              <a:gd name="connsiteY18" fmla="*/ 194744 h 4268514"/>
              <a:gd name="connsiteX19" fmla="*/ 2971800 w 6775947"/>
              <a:gd name="connsiteY19" fmla="*/ 335421 h 4268514"/>
              <a:gd name="connsiteX20" fmla="*/ 2960077 w 6775947"/>
              <a:gd name="connsiteY20" fmla="*/ 382314 h 4268514"/>
              <a:gd name="connsiteX21" fmla="*/ 2948354 w 6775947"/>
              <a:gd name="connsiteY21" fmla="*/ 423344 h 4268514"/>
              <a:gd name="connsiteX22" fmla="*/ 2954215 w 6775947"/>
              <a:gd name="connsiteY22" fmla="*/ 698837 h 4268514"/>
              <a:gd name="connsiteX23" fmla="*/ 2971800 w 6775947"/>
              <a:gd name="connsiteY23" fmla="*/ 892267 h 4268514"/>
              <a:gd name="connsiteX24" fmla="*/ 2989384 w 6775947"/>
              <a:gd name="connsiteY24" fmla="*/ 1015360 h 4268514"/>
              <a:gd name="connsiteX25" fmla="*/ 3018692 w 6775947"/>
              <a:gd name="connsiteY25" fmla="*/ 1115006 h 4268514"/>
              <a:gd name="connsiteX26" fmla="*/ 3036277 w 6775947"/>
              <a:gd name="connsiteY26" fmla="*/ 1191206 h 4268514"/>
              <a:gd name="connsiteX27" fmla="*/ 3042138 w 6775947"/>
              <a:gd name="connsiteY27" fmla="*/ 1255683 h 4268514"/>
              <a:gd name="connsiteX28" fmla="*/ 3071446 w 6775947"/>
              <a:gd name="connsiteY28" fmla="*/ 1314298 h 4268514"/>
              <a:gd name="connsiteX29" fmla="*/ 3171092 w 6775947"/>
              <a:gd name="connsiteY29" fmla="*/ 1537037 h 4268514"/>
              <a:gd name="connsiteX30" fmla="*/ 3200400 w 6775947"/>
              <a:gd name="connsiteY30" fmla="*/ 1589791 h 4268514"/>
              <a:gd name="connsiteX31" fmla="*/ 3229707 w 6775947"/>
              <a:gd name="connsiteY31" fmla="*/ 1636683 h 4268514"/>
              <a:gd name="connsiteX32" fmla="*/ 3276600 w 6775947"/>
              <a:gd name="connsiteY32" fmla="*/ 1724606 h 4268514"/>
              <a:gd name="connsiteX33" fmla="*/ 3341077 w 6775947"/>
              <a:gd name="connsiteY33" fmla="*/ 1830114 h 4268514"/>
              <a:gd name="connsiteX34" fmla="*/ 3446584 w 6775947"/>
              <a:gd name="connsiteY34" fmla="*/ 1935621 h 4268514"/>
              <a:gd name="connsiteX35" fmla="*/ 3511061 w 6775947"/>
              <a:gd name="connsiteY35" fmla="*/ 2011821 h 4268514"/>
              <a:gd name="connsiteX36" fmla="*/ 3616569 w 6775947"/>
              <a:gd name="connsiteY36" fmla="*/ 2093883 h 4268514"/>
              <a:gd name="connsiteX37" fmla="*/ 3675184 w 6775947"/>
              <a:gd name="connsiteY37" fmla="*/ 2134914 h 4268514"/>
              <a:gd name="connsiteX38" fmla="*/ 3774830 w 6775947"/>
              <a:gd name="connsiteY38" fmla="*/ 2211114 h 4268514"/>
              <a:gd name="connsiteX39" fmla="*/ 3833446 w 6775947"/>
              <a:gd name="connsiteY39" fmla="*/ 2222837 h 4268514"/>
              <a:gd name="connsiteX40" fmla="*/ 3903784 w 6775947"/>
              <a:gd name="connsiteY40" fmla="*/ 2240421 h 4268514"/>
              <a:gd name="connsiteX41" fmla="*/ 3944815 w 6775947"/>
              <a:gd name="connsiteY41" fmla="*/ 2246283 h 4268514"/>
              <a:gd name="connsiteX42" fmla="*/ 4050323 w 6775947"/>
              <a:gd name="connsiteY42" fmla="*/ 2263867 h 4268514"/>
              <a:gd name="connsiteX43" fmla="*/ 4073769 w 6775947"/>
              <a:gd name="connsiteY43" fmla="*/ 2269729 h 4268514"/>
              <a:gd name="connsiteX44" fmla="*/ 4155830 w 6775947"/>
              <a:gd name="connsiteY44" fmla="*/ 2275591 h 4268514"/>
              <a:gd name="connsiteX45" fmla="*/ 4255477 w 6775947"/>
              <a:gd name="connsiteY45" fmla="*/ 2334206 h 4268514"/>
              <a:gd name="connsiteX46" fmla="*/ 4284784 w 6775947"/>
              <a:gd name="connsiteY46" fmla="*/ 2345929 h 4268514"/>
              <a:gd name="connsiteX47" fmla="*/ 4378569 w 6775947"/>
              <a:gd name="connsiteY47" fmla="*/ 2351791 h 4268514"/>
              <a:gd name="connsiteX48" fmla="*/ 4448907 w 6775947"/>
              <a:gd name="connsiteY48" fmla="*/ 2357652 h 4268514"/>
              <a:gd name="connsiteX49" fmla="*/ 4548554 w 6775947"/>
              <a:gd name="connsiteY49" fmla="*/ 2351791 h 4268514"/>
              <a:gd name="connsiteX50" fmla="*/ 4618892 w 6775947"/>
              <a:gd name="connsiteY50" fmla="*/ 2345929 h 4268514"/>
              <a:gd name="connsiteX51" fmla="*/ 4665784 w 6775947"/>
              <a:gd name="connsiteY51" fmla="*/ 2322483 h 4268514"/>
              <a:gd name="connsiteX52" fmla="*/ 4677507 w 6775947"/>
              <a:gd name="connsiteY52" fmla="*/ 2269729 h 4268514"/>
              <a:gd name="connsiteX53" fmla="*/ 4624754 w 6775947"/>
              <a:gd name="connsiteY53" fmla="*/ 2193529 h 4268514"/>
              <a:gd name="connsiteX54" fmla="*/ 4747846 w 6775947"/>
              <a:gd name="connsiteY54" fmla="*/ 2146637 h 4268514"/>
              <a:gd name="connsiteX55" fmla="*/ 4706815 w 6775947"/>
              <a:gd name="connsiteY55" fmla="*/ 2052852 h 4268514"/>
              <a:gd name="connsiteX56" fmla="*/ 4695092 w 6775947"/>
              <a:gd name="connsiteY56" fmla="*/ 2005960 h 4268514"/>
              <a:gd name="connsiteX57" fmla="*/ 4683369 w 6775947"/>
              <a:gd name="connsiteY57" fmla="*/ 1970791 h 4268514"/>
              <a:gd name="connsiteX58" fmla="*/ 4665784 w 6775947"/>
              <a:gd name="connsiteY58" fmla="*/ 1865283 h 4268514"/>
              <a:gd name="connsiteX59" fmla="*/ 4636477 w 6775947"/>
              <a:gd name="connsiteY59" fmla="*/ 1736329 h 4268514"/>
              <a:gd name="connsiteX60" fmla="*/ 4613030 w 6775947"/>
              <a:gd name="connsiteY60" fmla="*/ 1454975 h 4268514"/>
              <a:gd name="connsiteX61" fmla="*/ 4601307 w 6775947"/>
              <a:gd name="connsiteY61" fmla="*/ 1408083 h 4268514"/>
              <a:gd name="connsiteX62" fmla="*/ 4583723 w 6775947"/>
              <a:gd name="connsiteY62" fmla="*/ 1372914 h 4268514"/>
              <a:gd name="connsiteX63" fmla="*/ 4577861 w 6775947"/>
              <a:gd name="connsiteY63" fmla="*/ 1355329 h 4268514"/>
              <a:gd name="connsiteX64" fmla="*/ 4566138 w 6775947"/>
              <a:gd name="connsiteY64" fmla="*/ 1284991 h 4268514"/>
              <a:gd name="connsiteX65" fmla="*/ 4548554 w 6775947"/>
              <a:gd name="connsiteY65" fmla="*/ 1202929 h 4268514"/>
              <a:gd name="connsiteX66" fmla="*/ 4542692 w 6775947"/>
              <a:gd name="connsiteY66" fmla="*/ 1150175 h 4268514"/>
              <a:gd name="connsiteX67" fmla="*/ 4478215 w 6775947"/>
              <a:gd name="connsiteY67" fmla="*/ 1079837 h 4268514"/>
              <a:gd name="connsiteX68" fmla="*/ 4460630 w 6775947"/>
              <a:gd name="connsiteY68" fmla="*/ 1062252 h 4268514"/>
              <a:gd name="connsiteX69" fmla="*/ 4437184 w 6775947"/>
              <a:gd name="connsiteY69" fmla="*/ 1021221 h 4268514"/>
              <a:gd name="connsiteX70" fmla="*/ 4419600 w 6775947"/>
              <a:gd name="connsiteY70" fmla="*/ 980191 h 4268514"/>
              <a:gd name="connsiteX71" fmla="*/ 4378569 w 6775947"/>
              <a:gd name="connsiteY71" fmla="*/ 862960 h 4268514"/>
              <a:gd name="connsiteX72" fmla="*/ 4325815 w 6775947"/>
              <a:gd name="connsiteY72" fmla="*/ 821929 h 4268514"/>
              <a:gd name="connsiteX73" fmla="*/ 4308230 w 6775947"/>
              <a:gd name="connsiteY73" fmla="*/ 804344 h 4268514"/>
              <a:gd name="connsiteX74" fmla="*/ 4296507 w 6775947"/>
              <a:gd name="connsiteY74" fmla="*/ 757452 h 4268514"/>
              <a:gd name="connsiteX75" fmla="*/ 4308230 w 6775947"/>
              <a:gd name="connsiteY75" fmla="*/ 487821 h 4268514"/>
              <a:gd name="connsiteX76" fmla="*/ 4314092 w 6775947"/>
              <a:gd name="connsiteY76" fmla="*/ 417483 h 4268514"/>
              <a:gd name="connsiteX77" fmla="*/ 4319954 w 6775947"/>
              <a:gd name="connsiteY77" fmla="*/ 394037 h 4268514"/>
              <a:gd name="connsiteX78" fmla="*/ 4337538 w 6775947"/>
              <a:gd name="connsiteY78" fmla="*/ 288529 h 4268514"/>
              <a:gd name="connsiteX79" fmla="*/ 4366846 w 6775947"/>
              <a:gd name="connsiteY79" fmla="*/ 253360 h 4268514"/>
              <a:gd name="connsiteX80" fmla="*/ 4396154 w 6775947"/>
              <a:gd name="connsiteY80" fmla="*/ 224052 h 4268514"/>
              <a:gd name="connsiteX81" fmla="*/ 4413738 w 6775947"/>
              <a:gd name="connsiteY81" fmla="*/ 194744 h 4268514"/>
              <a:gd name="connsiteX82" fmla="*/ 4495800 w 6775947"/>
              <a:gd name="connsiteY82" fmla="*/ 136129 h 4268514"/>
              <a:gd name="connsiteX83" fmla="*/ 4554415 w 6775947"/>
              <a:gd name="connsiteY83" fmla="*/ 106821 h 4268514"/>
              <a:gd name="connsiteX84" fmla="*/ 4613030 w 6775947"/>
              <a:gd name="connsiteY84" fmla="*/ 83375 h 4268514"/>
              <a:gd name="connsiteX85" fmla="*/ 4671646 w 6775947"/>
              <a:gd name="connsiteY85" fmla="*/ 77514 h 4268514"/>
              <a:gd name="connsiteX86" fmla="*/ 5246077 w 6775947"/>
              <a:gd name="connsiteY86" fmla="*/ 71652 h 4268514"/>
              <a:gd name="connsiteX87" fmla="*/ 5304692 w 6775947"/>
              <a:gd name="connsiteY87" fmla="*/ 83375 h 4268514"/>
              <a:gd name="connsiteX88" fmla="*/ 5345723 w 6775947"/>
              <a:gd name="connsiteY88" fmla="*/ 89237 h 4268514"/>
              <a:gd name="connsiteX89" fmla="*/ 5527430 w 6775947"/>
              <a:gd name="connsiteY89" fmla="*/ 95098 h 4268514"/>
              <a:gd name="connsiteX90" fmla="*/ 5545015 w 6775947"/>
              <a:gd name="connsiteY90" fmla="*/ 100960 h 4268514"/>
              <a:gd name="connsiteX91" fmla="*/ 5586046 w 6775947"/>
              <a:gd name="connsiteY91" fmla="*/ 136129 h 4268514"/>
              <a:gd name="connsiteX92" fmla="*/ 5615354 w 6775947"/>
              <a:gd name="connsiteY92" fmla="*/ 159575 h 4268514"/>
              <a:gd name="connsiteX93" fmla="*/ 5632938 w 6775947"/>
              <a:gd name="connsiteY93" fmla="*/ 165437 h 4268514"/>
              <a:gd name="connsiteX94" fmla="*/ 5656384 w 6775947"/>
              <a:gd name="connsiteY94" fmla="*/ 183021 h 4268514"/>
              <a:gd name="connsiteX95" fmla="*/ 5709138 w 6775947"/>
              <a:gd name="connsiteY95" fmla="*/ 218191 h 4268514"/>
              <a:gd name="connsiteX96" fmla="*/ 5738446 w 6775947"/>
              <a:gd name="connsiteY96" fmla="*/ 247498 h 4268514"/>
              <a:gd name="connsiteX97" fmla="*/ 5756030 w 6775947"/>
              <a:gd name="connsiteY97" fmla="*/ 282667 h 4268514"/>
              <a:gd name="connsiteX98" fmla="*/ 5791200 w 6775947"/>
              <a:gd name="connsiteY98" fmla="*/ 341283 h 4268514"/>
              <a:gd name="connsiteX99" fmla="*/ 5756030 w 6775947"/>
              <a:gd name="connsiteY99" fmla="*/ 593329 h 4268514"/>
              <a:gd name="connsiteX100" fmla="*/ 5709138 w 6775947"/>
              <a:gd name="connsiteY100" fmla="*/ 751591 h 4268514"/>
              <a:gd name="connsiteX101" fmla="*/ 5650523 w 6775947"/>
              <a:gd name="connsiteY101" fmla="*/ 880544 h 4268514"/>
              <a:gd name="connsiteX102" fmla="*/ 5597769 w 6775947"/>
              <a:gd name="connsiteY102" fmla="*/ 1009498 h 4268514"/>
              <a:gd name="connsiteX103" fmla="*/ 5591907 w 6775947"/>
              <a:gd name="connsiteY103" fmla="*/ 1038806 h 4268514"/>
              <a:gd name="connsiteX104" fmla="*/ 5586046 w 6775947"/>
              <a:gd name="connsiteY104" fmla="*/ 1056391 h 4268514"/>
              <a:gd name="connsiteX105" fmla="*/ 5556738 w 6775947"/>
              <a:gd name="connsiteY105" fmla="*/ 1173621 h 4268514"/>
              <a:gd name="connsiteX106" fmla="*/ 5515707 w 6775947"/>
              <a:gd name="connsiteY106" fmla="*/ 1279129 h 4268514"/>
              <a:gd name="connsiteX107" fmla="*/ 5480538 w 6775947"/>
              <a:gd name="connsiteY107" fmla="*/ 1396360 h 4268514"/>
              <a:gd name="connsiteX108" fmla="*/ 5468815 w 6775947"/>
              <a:gd name="connsiteY108" fmla="*/ 1425667 h 4268514"/>
              <a:gd name="connsiteX109" fmla="*/ 5439507 w 6775947"/>
              <a:gd name="connsiteY109" fmla="*/ 1478421 h 4268514"/>
              <a:gd name="connsiteX110" fmla="*/ 5421923 w 6775947"/>
              <a:gd name="connsiteY110" fmla="*/ 1531175 h 4268514"/>
              <a:gd name="connsiteX111" fmla="*/ 5392615 w 6775947"/>
              <a:gd name="connsiteY111" fmla="*/ 1607375 h 4268514"/>
              <a:gd name="connsiteX112" fmla="*/ 5369169 w 6775947"/>
              <a:gd name="connsiteY112" fmla="*/ 1677714 h 4268514"/>
              <a:gd name="connsiteX113" fmla="*/ 5351584 w 6775947"/>
              <a:gd name="connsiteY113" fmla="*/ 1835975 h 4268514"/>
              <a:gd name="connsiteX114" fmla="*/ 5339861 w 6775947"/>
              <a:gd name="connsiteY114" fmla="*/ 1865283 h 4268514"/>
              <a:gd name="connsiteX115" fmla="*/ 5334000 w 6775947"/>
              <a:gd name="connsiteY115" fmla="*/ 1888729 h 4268514"/>
              <a:gd name="connsiteX116" fmla="*/ 5316415 w 6775947"/>
              <a:gd name="connsiteY116" fmla="*/ 1970791 h 4268514"/>
              <a:gd name="connsiteX117" fmla="*/ 5292969 w 6775947"/>
              <a:gd name="connsiteY117" fmla="*/ 2005960 h 4268514"/>
              <a:gd name="connsiteX118" fmla="*/ 5269523 w 6775947"/>
              <a:gd name="connsiteY118" fmla="*/ 2052852 h 4268514"/>
              <a:gd name="connsiteX119" fmla="*/ 5257800 w 6775947"/>
              <a:gd name="connsiteY119" fmla="*/ 2076298 h 4268514"/>
              <a:gd name="connsiteX120" fmla="*/ 5240215 w 6775947"/>
              <a:gd name="connsiteY120" fmla="*/ 2099744 h 4268514"/>
              <a:gd name="connsiteX121" fmla="*/ 5234354 w 6775947"/>
              <a:gd name="connsiteY121" fmla="*/ 2129052 h 4268514"/>
              <a:gd name="connsiteX122" fmla="*/ 5222630 w 6775947"/>
              <a:gd name="connsiteY122" fmla="*/ 2140775 h 4268514"/>
              <a:gd name="connsiteX123" fmla="*/ 5210907 w 6775947"/>
              <a:gd name="connsiteY123" fmla="*/ 2164221 h 4268514"/>
              <a:gd name="connsiteX124" fmla="*/ 5193323 w 6775947"/>
              <a:gd name="connsiteY124" fmla="*/ 2187667 h 4268514"/>
              <a:gd name="connsiteX125" fmla="*/ 5175738 w 6775947"/>
              <a:gd name="connsiteY125" fmla="*/ 2263867 h 4268514"/>
              <a:gd name="connsiteX126" fmla="*/ 5193323 w 6775947"/>
              <a:gd name="connsiteY126" fmla="*/ 2328344 h 4268514"/>
              <a:gd name="connsiteX127" fmla="*/ 5210907 w 6775947"/>
              <a:gd name="connsiteY127" fmla="*/ 2357652 h 4268514"/>
              <a:gd name="connsiteX128" fmla="*/ 5228492 w 6775947"/>
              <a:gd name="connsiteY128" fmla="*/ 2363514 h 4268514"/>
              <a:gd name="connsiteX129" fmla="*/ 5281246 w 6775947"/>
              <a:gd name="connsiteY129" fmla="*/ 2427991 h 4268514"/>
              <a:gd name="connsiteX130" fmla="*/ 5287107 w 6775947"/>
              <a:gd name="connsiteY130" fmla="*/ 2556944 h 4268514"/>
              <a:gd name="connsiteX131" fmla="*/ 5298830 w 6775947"/>
              <a:gd name="connsiteY131" fmla="*/ 2615560 h 4268514"/>
              <a:gd name="connsiteX132" fmla="*/ 5310554 w 6775947"/>
              <a:gd name="connsiteY132" fmla="*/ 2721067 h 4268514"/>
              <a:gd name="connsiteX133" fmla="*/ 5316415 w 6775947"/>
              <a:gd name="connsiteY133" fmla="*/ 2885191 h 4268514"/>
              <a:gd name="connsiteX134" fmla="*/ 5357446 w 6775947"/>
              <a:gd name="connsiteY134" fmla="*/ 2978975 h 4268514"/>
              <a:gd name="connsiteX135" fmla="*/ 5363307 w 6775947"/>
              <a:gd name="connsiteY135" fmla="*/ 3014144 h 4268514"/>
              <a:gd name="connsiteX136" fmla="*/ 5380892 w 6775947"/>
              <a:gd name="connsiteY136" fmla="*/ 3037591 h 4268514"/>
              <a:gd name="connsiteX137" fmla="*/ 5386754 w 6775947"/>
              <a:gd name="connsiteY137" fmla="*/ 3084483 h 4268514"/>
              <a:gd name="connsiteX138" fmla="*/ 5404338 w 6775947"/>
              <a:gd name="connsiteY138" fmla="*/ 3131375 h 4268514"/>
              <a:gd name="connsiteX139" fmla="*/ 5404338 w 6775947"/>
              <a:gd name="connsiteY139" fmla="*/ 3324806 h 4268514"/>
              <a:gd name="connsiteX140" fmla="*/ 5398477 w 6775947"/>
              <a:gd name="connsiteY140" fmla="*/ 3823037 h 4268514"/>
              <a:gd name="connsiteX141" fmla="*/ 5380892 w 6775947"/>
              <a:gd name="connsiteY141" fmla="*/ 3881652 h 4268514"/>
              <a:gd name="connsiteX142" fmla="*/ 5369169 w 6775947"/>
              <a:gd name="connsiteY142" fmla="*/ 3916821 h 4268514"/>
              <a:gd name="connsiteX143" fmla="*/ 5339861 w 6775947"/>
              <a:gd name="connsiteY143" fmla="*/ 3946129 h 4268514"/>
              <a:gd name="connsiteX144" fmla="*/ 5322277 w 6775947"/>
              <a:gd name="connsiteY144" fmla="*/ 3981298 h 4268514"/>
              <a:gd name="connsiteX145" fmla="*/ 5257800 w 6775947"/>
              <a:gd name="connsiteY145" fmla="*/ 4057498 h 4268514"/>
              <a:gd name="connsiteX146" fmla="*/ 5228492 w 6775947"/>
              <a:gd name="connsiteY146" fmla="*/ 4080944 h 4268514"/>
              <a:gd name="connsiteX147" fmla="*/ 5146430 w 6775947"/>
              <a:gd name="connsiteY147" fmla="*/ 4121975 h 4268514"/>
              <a:gd name="connsiteX148" fmla="*/ 5117123 w 6775947"/>
              <a:gd name="connsiteY148" fmla="*/ 4139560 h 4268514"/>
              <a:gd name="connsiteX149" fmla="*/ 5087815 w 6775947"/>
              <a:gd name="connsiteY149" fmla="*/ 4145421 h 4268514"/>
              <a:gd name="connsiteX150" fmla="*/ 4988169 w 6775947"/>
              <a:gd name="connsiteY150" fmla="*/ 4163006 h 4268514"/>
              <a:gd name="connsiteX151" fmla="*/ 4753707 w 6775947"/>
              <a:gd name="connsiteY151" fmla="*/ 4151283 h 4268514"/>
              <a:gd name="connsiteX152" fmla="*/ 4695092 w 6775947"/>
              <a:gd name="connsiteY152" fmla="*/ 4139560 h 4268514"/>
              <a:gd name="connsiteX153" fmla="*/ 4589584 w 6775947"/>
              <a:gd name="connsiteY153" fmla="*/ 4151283 h 4268514"/>
              <a:gd name="connsiteX154" fmla="*/ 4560277 w 6775947"/>
              <a:gd name="connsiteY154" fmla="*/ 4163006 h 4268514"/>
              <a:gd name="connsiteX155" fmla="*/ 4484077 w 6775947"/>
              <a:gd name="connsiteY155" fmla="*/ 4180591 h 4268514"/>
              <a:gd name="connsiteX156" fmla="*/ 4443046 w 6775947"/>
              <a:gd name="connsiteY156" fmla="*/ 4198175 h 4268514"/>
              <a:gd name="connsiteX157" fmla="*/ 4413738 w 6775947"/>
              <a:gd name="connsiteY157" fmla="*/ 4204037 h 4268514"/>
              <a:gd name="connsiteX158" fmla="*/ 4355123 w 6775947"/>
              <a:gd name="connsiteY158" fmla="*/ 4215760 h 4268514"/>
              <a:gd name="connsiteX159" fmla="*/ 4273061 w 6775947"/>
              <a:gd name="connsiteY159" fmla="*/ 4209898 h 4268514"/>
              <a:gd name="connsiteX160" fmla="*/ 4185138 w 6775947"/>
              <a:gd name="connsiteY160" fmla="*/ 4198175 h 4268514"/>
              <a:gd name="connsiteX161" fmla="*/ 4155830 w 6775947"/>
              <a:gd name="connsiteY161" fmla="*/ 4209898 h 4268514"/>
              <a:gd name="connsiteX162" fmla="*/ 4138246 w 6775947"/>
              <a:gd name="connsiteY162" fmla="*/ 4215760 h 4268514"/>
              <a:gd name="connsiteX163" fmla="*/ 3991707 w 6775947"/>
              <a:gd name="connsiteY163" fmla="*/ 4227483 h 4268514"/>
              <a:gd name="connsiteX164" fmla="*/ 3933092 w 6775947"/>
              <a:gd name="connsiteY164" fmla="*/ 4250929 h 4268514"/>
              <a:gd name="connsiteX165" fmla="*/ 3915507 w 6775947"/>
              <a:gd name="connsiteY165" fmla="*/ 4262652 h 4268514"/>
              <a:gd name="connsiteX166" fmla="*/ 3704492 w 6775947"/>
              <a:gd name="connsiteY166" fmla="*/ 4268514 h 4268514"/>
              <a:gd name="connsiteX167" fmla="*/ 3552092 w 6775947"/>
              <a:gd name="connsiteY167" fmla="*/ 4233344 h 4268514"/>
              <a:gd name="connsiteX168" fmla="*/ 3452446 w 6775947"/>
              <a:gd name="connsiteY168" fmla="*/ 4227483 h 4268514"/>
              <a:gd name="connsiteX169" fmla="*/ 3264877 w 6775947"/>
              <a:gd name="connsiteY169" fmla="*/ 4192314 h 4268514"/>
              <a:gd name="connsiteX170" fmla="*/ 3253154 w 6775947"/>
              <a:gd name="connsiteY170" fmla="*/ 4069221 h 4268514"/>
              <a:gd name="connsiteX171" fmla="*/ 3276600 w 6775947"/>
              <a:gd name="connsiteY171" fmla="*/ 3828898 h 4268514"/>
              <a:gd name="connsiteX172" fmla="*/ 3264877 w 6775947"/>
              <a:gd name="connsiteY172" fmla="*/ 3664775 h 4268514"/>
              <a:gd name="connsiteX173" fmla="*/ 3259015 w 6775947"/>
              <a:gd name="connsiteY173" fmla="*/ 3623744 h 4268514"/>
              <a:gd name="connsiteX174" fmla="*/ 3247292 w 6775947"/>
              <a:gd name="connsiteY174" fmla="*/ 3600298 h 4268514"/>
              <a:gd name="connsiteX175" fmla="*/ 3229707 w 6775947"/>
              <a:gd name="connsiteY175" fmla="*/ 3535821 h 4268514"/>
              <a:gd name="connsiteX176" fmla="*/ 3194538 w 6775947"/>
              <a:gd name="connsiteY176" fmla="*/ 3459621 h 4268514"/>
              <a:gd name="connsiteX177" fmla="*/ 3153507 w 6775947"/>
              <a:gd name="connsiteY177" fmla="*/ 3354114 h 4268514"/>
              <a:gd name="connsiteX178" fmla="*/ 3135923 w 6775947"/>
              <a:gd name="connsiteY178" fmla="*/ 3231021 h 4268514"/>
              <a:gd name="connsiteX179" fmla="*/ 3118338 w 6775947"/>
              <a:gd name="connsiteY179" fmla="*/ 3184129 h 4268514"/>
              <a:gd name="connsiteX180" fmla="*/ 3094892 w 6775947"/>
              <a:gd name="connsiteY180" fmla="*/ 2633144 h 4268514"/>
              <a:gd name="connsiteX181" fmla="*/ 3048000 w 6775947"/>
              <a:gd name="connsiteY181" fmla="*/ 2498329 h 4268514"/>
              <a:gd name="connsiteX182" fmla="*/ 3012830 w 6775947"/>
              <a:gd name="connsiteY182" fmla="*/ 2386960 h 4268514"/>
              <a:gd name="connsiteX183" fmla="*/ 3006969 w 6775947"/>
              <a:gd name="connsiteY183" fmla="*/ 2299037 h 4268514"/>
              <a:gd name="connsiteX184" fmla="*/ 2995246 w 6775947"/>
              <a:gd name="connsiteY184" fmla="*/ 1988375 h 4268514"/>
              <a:gd name="connsiteX185" fmla="*/ 2965938 w 6775947"/>
              <a:gd name="connsiteY185" fmla="*/ 1818391 h 4268514"/>
              <a:gd name="connsiteX186" fmla="*/ 2960077 w 6775947"/>
              <a:gd name="connsiteY186" fmla="*/ 1689437 h 4268514"/>
              <a:gd name="connsiteX187" fmla="*/ 2936630 w 6775947"/>
              <a:gd name="connsiteY187" fmla="*/ 1583929 h 4268514"/>
              <a:gd name="connsiteX188" fmla="*/ 2924907 w 6775947"/>
              <a:gd name="connsiteY188" fmla="*/ 1542898 h 4268514"/>
              <a:gd name="connsiteX189" fmla="*/ 2901461 w 6775947"/>
              <a:gd name="connsiteY189" fmla="*/ 1425667 h 4268514"/>
              <a:gd name="connsiteX190" fmla="*/ 2872154 w 6775947"/>
              <a:gd name="connsiteY190" fmla="*/ 1302575 h 4268514"/>
              <a:gd name="connsiteX191" fmla="*/ 2848707 w 6775947"/>
              <a:gd name="connsiteY191" fmla="*/ 1191206 h 4268514"/>
              <a:gd name="connsiteX192" fmla="*/ 2836984 w 6775947"/>
              <a:gd name="connsiteY192" fmla="*/ 1056391 h 4268514"/>
              <a:gd name="connsiteX193" fmla="*/ 2819400 w 6775947"/>
              <a:gd name="connsiteY193" fmla="*/ 968467 h 4268514"/>
              <a:gd name="connsiteX194" fmla="*/ 2813538 w 6775947"/>
              <a:gd name="connsiteY194" fmla="*/ 909852 h 4268514"/>
              <a:gd name="connsiteX195" fmla="*/ 2801815 w 6775947"/>
              <a:gd name="connsiteY195" fmla="*/ 816067 h 4268514"/>
              <a:gd name="connsiteX196" fmla="*/ 2795954 w 6775947"/>
              <a:gd name="connsiteY196" fmla="*/ 476098 h 4268514"/>
              <a:gd name="connsiteX197" fmla="*/ 2784230 w 6775947"/>
              <a:gd name="connsiteY197" fmla="*/ 335421 h 4268514"/>
              <a:gd name="connsiteX198" fmla="*/ 2754923 w 6775947"/>
              <a:gd name="connsiteY198" fmla="*/ 276806 h 4268514"/>
              <a:gd name="connsiteX199" fmla="*/ 2708030 w 6775947"/>
              <a:gd name="connsiteY199" fmla="*/ 177160 h 4268514"/>
              <a:gd name="connsiteX200" fmla="*/ 2702169 w 6775947"/>
              <a:gd name="connsiteY200" fmla="*/ 159575 h 4268514"/>
              <a:gd name="connsiteX201" fmla="*/ 2678723 w 6775947"/>
              <a:gd name="connsiteY201" fmla="*/ 130267 h 4268514"/>
              <a:gd name="connsiteX202" fmla="*/ 2602523 w 6775947"/>
              <a:gd name="connsiteY202" fmla="*/ 112683 h 4268514"/>
              <a:gd name="connsiteX203" fmla="*/ 2584938 w 6775947"/>
              <a:gd name="connsiteY203" fmla="*/ 106821 h 4268514"/>
              <a:gd name="connsiteX204" fmla="*/ 2514600 w 6775947"/>
              <a:gd name="connsiteY204" fmla="*/ 100960 h 4268514"/>
              <a:gd name="connsiteX205" fmla="*/ 2467707 w 6775947"/>
              <a:gd name="connsiteY205" fmla="*/ 36483 h 4268514"/>
              <a:gd name="connsiteX206" fmla="*/ 2403230 w 6775947"/>
              <a:gd name="connsiteY206" fmla="*/ 30621 h 4268514"/>
              <a:gd name="connsiteX207" fmla="*/ 2321169 w 6775947"/>
              <a:gd name="connsiteY207" fmla="*/ 24760 h 4268514"/>
              <a:gd name="connsiteX208" fmla="*/ 1793630 w 6775947"/>
              <a:gd name="connsiteY208" fmla="*/ 30621 h 4268514"/>
              <a:gd name="connsiteX209" fmla="*/ 1752600 w 6775947"/>
              <a:gd name="connsiteY209" fmla="*/ 42344 h 4268514"/>
              <a:gd name="connsiteX210" fmla="*/ 1717430 w 6775947"/>
              <a:gd name="connsiteY210" fmla="*/ 59929 h 4268514"/>
              <a:gd name="connsiteX211" fmla="*/ 1652954 w 6775947"/>
              <a:gd name="connsiteY211" fmla="*/ 65791 h 4268514"/>
              <a:gd name="connsiteX212" fmla="*/ 1371600 w 6775947"/>
              <a:gd name="connsiteY212" fmla="*/ 54067 h 4268514"/>
              <a:gd name="connsiteX213" fmla="*/ 826477 w 6775947"/>
              <a:gd name="connsiteY213" fmla="*/ 36483 h 4268514"/>
              <a:gd name="connsiteX214" fmla="*/ 451338 w 6775947"/>
              <a:gd name="connsiteY214" fmla="*/ 42344 h 4268514"/>
              <a:gd name="connsiteX215" fmla="*/ 375138 w 6775947"/>
              <a:gd name="connsiteY215" fmla="*/ 65791 h 4268514"/>
              <a:gd name="connsiteX216" fmla="*/ 199292 w 6775947"/>
              <a:gd name="connsiteY216" fmla="*/ 159575 h 4268514"/>
              <a:gd name="connsiteX217" fmla="*/ 146538 w 6775947"/>
              <a:gd name="connsiteY217" fmla="*/ 194744 h 4268514"/>
              <a:gd name="connsiteX218" fmla="*/ 29307 w 6775947"/>
              <a:gd name="connsiteY218" fmla="*/ 528852 h 4268514"/>
              <a:gd name="connsiteX219" fmla="*/ 0 w 6775947"/>
              <a:gd name="connsiteY219" fmla="*/ 898129 h 4268514"/>
              <a:gd name="connsiteX220" fmla="*/ 23446 w 6775947"/>
              <a:gd name="connsiteY220" fmla="*/ 2041129 h 4268514"/>
              <a:gd name="connsiteX221" fmla="*/ 93784 w 6775947"/>
              <a:gd name="connsiteY221" fmla="*/ 2316621 h 4268514"/>
              <a:gd name="connsiteX222" fmla="*/ 433754 w 6775947"/>
              <a:gd name="connsiteY222" fmla="*/ 2937944 h 4268514"/>
              <a:gd name="connsiteX223" fmla="*/ 662354 w 6775947"/>
              <a:gd name="connsiteY223" fmla="*/ 3231021 h 4268514"/>
              <a:gd name="connsiteX224" fmla="*/ 785446 w 6775947"/>
              <a:gd name="connsiteY224" fmla="*/ 3395144 h 4268514"/>
              <a:gd name="connsiteX225" fmla="*/ 1066800 w 6775947"/>
              <a:gd name="connsiteY225" fmla="*/ 3746837 h 4268514"/>
              <a:gd name="connsiteX226" fmla="*/ 1436077 w 6775947"/>
              <a:gd name="connsiteY226" fmla="*/ 4004744 h 4268514"/>
              <a:gd name="connsiteX227" fmla="*/ 1735015 w 6775947"/>
              <a:gd name="connsiteY227" fmla="*/ 4139560 h 4268514"/>
              <a:gd name="connsiteX228" fmla="*/ 1817077 w 6775947"/>
              <a:gd name="connsiteY228" fmla="*/ 4174729 h 4268514"/>
              <a:gd name="connsiteX229" fmla="*/ 1893277 w 6775947"/>
              <a:gd name="connsiteY229" fmla="*/ 4209898 h 4268514"/>
              <a:gd name="connsiteX230" fmla="*/ 2039815 w 6775947"/>
              <a:gd name="connsiteY230" fmla="*/ 4221621 h 4268514"/>
              <a:gd name="connsiteX231" fmla="*/ 2250830 w 6775947"/>
              <a:gd name="connsiteY231" fmla="*/ 4198175 h 4268514"/>
              <a:gd name="connsiteX232" fmla="*/ 2286000 w 6775947"/>
              <a:gd name="connsiteY232" fmla="*/ 4192314 h 4268514"/>
              <a:gd name="connsiteX233" fmla="*/ 2450123 w 6775947"/>
              <a:gd name="connsiteY233" fmla="*/ 4198175 h 4268514"/>
              <a:gd name="connsiteX234" fmla="*/ 2567354 w 6775947"/>
              <a:gd name="connsiteY234" fmla="*/ 4209898 h 4268514"/>
              <a:gd name="connsiteX235" fmla="*/ 2608384 w 6775947"/>
              <a:gd name="connsiteY235" fmla="*/ 4215760 h 4268514"/>
              <a:gd name="connsiteX236" fmla="*/ 2813538 w 6775947"/>
              <a:gd name="connsiteY236" fmla="*/ 4221621 h 4268514"/>
              <a:gd name="connsiteX237" fmla="*/ 2924907 w 6775947"/>
              <a:gd name="connsiteY237" fmla="*/ 4233344 h 4268514"/>
              <a:gd name="connsiteX238" fmla="*/ 2960077 w 6775947"/>
              <a:gd name="connsiteY238" fmla="*/ 4239206 h 4268514"/>
              <a:gd name="connsiteX239" fmla="*/ 3006969 w 6775947"/>
              <a:gd name="connsiteY239" fmla="*/ 4245067 h 4268514"/>
              <a:gd name="connsiteX240" fmla="*/ 3106615 w 6775947"/>
              <a:gd name="connsiteY240" fmla="*/ 4262652 h 4268514"/>
              <a:gd name="connsiteX241" fmla="*/ 3130061 w 6775947"/>
              <a:gd name="connsiteY241" fmla="*/ 4268514 h 4268514"/>
              <a:gd name="connsiteX242" fmla="*/ 3294184 w 6775947"/>
              <a:gd name="connsiteY242" fmla="*/ 4262652 h 4268514"/>
              <a:gd name="connsiteX243" fmla="*/ 3323492 w 6775947"/>
              <a:gd name="connsiteY243" fmla="*/ 4256791 h 4268514"/>
              <a:gd name="connsiteX244" fmla="*/ 3364523 w 6775947"/>
              <a:gd name="connsiteY244" fmla="*/ 4250929 h 4268514"/>
              <a:gd name="connsiteX245" fmla="*/ 4525107 w 6775947"/>
              <a:gd name="connsiteY245" fmla="*/ 4256791 h 4268514"/>
              <a:gd name="connsiteX246" fmla="*/ 4759569 w 6775947"/>
              <a:gd name="connsiteY246" fmla="*/ 4209898 h 4268514"/>
              <a:gd name="connsiteX247" fmla="*/ 5175738 w 6775947"/>
              <a:gd name="connsiteY247" fmla="*/ 4186452 h 4268514"/>
              <a:gd name="connsiteX248" fmla="*/ 5216769 w 6775947"/>
              <a:gd name="connsiteY248" fmla="*/ 4157144 h 4268514"/>
              <a:gd name="connsiteX249" fmla="*/ 5234354 w 6775947"/>
              <a:gd name="connsiteY249" fmla="*/ 4133698 h 4268514"/>
              <a:gd name="connsiteX250" fmla="*/ 5251938 w 6775947"/>
              <a:gd name="connsiteY250" fmla="*/ 4116114 h 4268514"/>
              <a:gd name="connsiteX251" fmla="*/ 5275384 w 6775947"/>
              <a:gd name="connsiteY251" fmla="*/ 4086806 h 4268514"/>
              <a:gd name="connsiteX252" fmla="*/ 5404338 w 6775947"/>
              <a:gd name="connsiteY252" fmla="*/ 3998883 h 4268514"/>
              <a:gd name="connsiteX253" fmla="*/ 5498123 w 6775947"/>
              <a:gd name="connsiteY253" fmla="*/ 3910960 h 4268514"/>
              <a:gd name="connsiteX254" fmla="*/ 5550877 w 6775947"/>
              <a:gd name="connsiteY254" fmla="*/ 3875791 h 4268514"/>
              <a:gd name="connsiteX255" fmla="*/ 5715000 w 6775947"/>
              <a:gd name="connsiteY255" fmla="*/ 3699944 h 4268514"/>
              <a:gd name="connsiteX256" fmla="*/ 5802923 w 6775947"/>
              <a:gd name="connsiteY256" fmla="*/ 3594437 h 4268514"/>
              <a:gd name="connsiteX257" fmla="*/ 5838092 w 6775947"/>
              <a:gd name="connsiteY257" fmla="*/ 3524098 h 4268514"/>
              <a:gd name="connsiteX258" fmla="*/ 5879123 w 6775947"/>
              <a:gd name="connsiteY258" fmla="*/ 3453760 h 4268514"/>
              <a:gd name="connsiteX259" fmla="*/ 5908430 w 6775947"/>
              <a:gd name="connsiteY259" fmla="*/ 3424452 h 4268514"/>
              <a:gd name="connsiteX260" fmla="*/ 5926015 w 6775947"/>
              <a:gd name="connsiteY260" fmla="*/ 3389283 h 4268514"/>
              <a:gd name="connsiteX261" fmla="*/ 6119446 w 6775947"/>
              <a:gd name="connsiteY261" fmla="*/ 3195852 h 4268514"/>
              <a:gd name="connsiteX262" fmla="*/ 6236677 w 6775947"/>
              <a:gd name="connsiteY262" fmla="*/ 3072760 h 4268514"/>
              <a:gd name="connsiteX263" fmla="*/ 6318738 w 6775947"/>
              <a:gd name="connsiteY263" fmla="*/ 2937944 h 4268514"/>
              <a:gd name="connsiteX264" fmla="*/ 6330461 w 6775947"/>
              <a:gd name="connsiteY264" fmla="*/ 2879329 h 4268514"/>
              <a:gd name="connsiteX265" fmla="*/ 6453554 w 6775947"/>
              <a:gd name="connsiteY265" fmla="*/ 2551083 h 4268514"/>
              <a:gd name="connsiteX266" fmla="*/ 6547338 w 6775947"/>
              <a:gd name="connsiteY266" fmla="*/ 2375237 h 4268514"/>
              <a:gd name="connsiteX267" fmla="*/ 6629400 w 6775947"/>
              <a:gd name="connsiteY267" fmla="*/ 2240421 h 4268514"/>
              <a:gd name="connsiteX268" fmla="*/ 6646984 w 6775947"/>
              <a:gd name="connsiteY268" fmla="*/ 2205252 h 4268514"/>
              <a:gd name="connsiteX269" fmla="*/ 6705600 w 6775947"/>
              <a:gd name="connsiteY269" fmla="*/ 2152498 h 4268514"/>
              <a:gd name="connsiteX270" fmla="*/ 6723184 w 6775947"/>
              <a:gd name="connsiteY270" fmla="*/ 2099744 h 4268514"/>
              <a:gd name="connsiteX271" fmla="*/ 6764215 w 6775947"/>
              <a:gd name="connsiteY271" fmla="*/ 1859421 h 4268514"/>
              <a:gd name="connsiteX272" fmla="*/ 6764215 w 6775947"/>
              <a:gd name="connsiteY272" fmla="*/ 804344 h 4268514"/>
              <a:gd name="connsiteX273" fmla="*/ 6740769 w 6775947"/>
              <a:gd name="connsiteY273" fmla="*/ 218191 h 4268514"/>
              <a:gd name="connsiteX274" fmla="*/ 6729046 w 6775947"/>
              <a:gd name="connsiteY274" fmla="*/ 147852 h 4268514"/>
              <a:gd name="connsiteX275" fmla="*/ 6723184 w 6775947"/>
              <a:gd name="connsiteY275" fmla="*/ 124406 h 4268514"/>
              <a:gd name="connsiteX276" fmla="*/ 6670430 w 6775947"/>
              <a:gd name="connsiteY276" fmla="*/ 77514 h 4268514"/>
              <a:gd name="connsiteX277" fmla="*/ 6559061 w 6775947"/>
              <a:gd name="connsiteY277" fmla="*/ 48206 h 4268514"/>
              <a:gd name="connsiteX278" fmla="*/ 6506307 w 6775947"/>
              <a:gd name="connsiteY278" fmla="*/ 18898 h 4268514"/>
              <a:gd name="connsiteX279" fmla="*/ 6477000 w 6775947"/>
              <a:gd name="connsiteY279" fmla="*/ 7175 h 4268514"/>
              <a:gd name="connsiteX280" fmla="*/ 6371492 w 6775947"/>
              <a:gd name="connsiteY280" fmla="*/ 36483 h 4268514"/>
              <a:gd name="connsiteX281" fmla="*/ 5597769 w 6775947"/>
              <a:gd name="connsiteY281" fmla="*/ 7175 h 4268514"/>
              <a:gd name="connsiteX282" fmla="*/ 5533292 w 6775947"/>
              <a:gd name="connsiteY282" fmla="*/ 1314 h 4268514"/>
              <a:gd name="connsiteX283" fmla="*/ 5175738 w 6775947"/>
              <a:gd name="connsiteY283" fmla="*/ 7175 h 4268514"/>
              <a:gd name="connsiteX284" fmla="*/ 5064369 w 6775947"/>
              <a:gd name="connsiteY284" fmla="*/ 18898 h 4268514"/>
              <a:gd name="connsiteX285" fmla="*/ 4360984 w 6775947"/>
              <a:gd name="connsiteY285" fmla="*/ 30621 h 4268514"/>
              <a:gd name="connsiteX286" fmla="*/ 4314092 w 6775947"/>
              <a:gd name="connsiteY286" fmla="*/ 83375 h 4268514"/>
              <a:gd name="connsiteX287" fmla="*/ 4302369 w 6775947"/>
              <a:gd name="connsiteY287" fmla="*/ 141991 h 4268514"/>
              <a:gd name="connsiteX0" fmla="*/ 4302369 w 6775947"/>
              <a:gd name="connsiteY0" fmla="*/ 141991 h 4268514"/>
              <a:gd name="connsiteX1" fmla="*/ 4302369 w 6775947"/>
              <a:gd name="connsiteY1" fmla="*/ 141991 h 4268514"/>
              <a:gd name="connsiteX2" fmla="*/ 4232030 w 6775947"/>
              <a:gd name="connsiteY2" fmla="*/ 106821 h 4268514"/>
              <a:gd name="connsiteX3" fmla="*/ 4208584 w 6775947"/>
              <a:gd name="connsiteY3" fmla="*/ 89237 h 4268514"/>
              <a:gd name="connsiteX4" fmla="*/ 4149969 w 6775947"/>
              <a:gd name="connsiteY4" fmla="*/ 71652 h 4268514"/>
              <a:gd name="connsiteX5" fmla="*/ 4097215 w 6775947"/>
              <a:gd name="connsiteY5" fmla="*/ 59929 h 4268514"/>
              <a:gd name="connsiteX6" fmla="*/ 4073769 w 6775947"/>
              <a:gd name="connsiteY6" fmla="*/ 54067 h 4268514"/>
              <a:gd name="connsiteX7" fmla="*/ 3927230 w 6775947"/>
              <a:gd name="connsiteY7" fmla="*/ 42344 h 4268514"/>
              <a:gd name="connsiteX8" fmla="*/ 3745523 w 6775947"/>
              <a:gd name="connsiteY8" fmla="*/ 18898 h 4268514"/>
              <a:gd name="connsiteX9" fmla="*/ 3716215 w 6775947"/>
              <a:gd name="connsiteY9" fmla="*/ 7175 h 4268514"/>
              <a:gd name="connsiteX10" fmla="*/ 3563815 w 6775947"/>
              <a:gd name="connsiteY10" fmla="*/ 7175 h 4268514"/>
              <a:gd name="connsiteX11" fmla="*/ 3499338 w 6775947"/>
              <a:gd name="connsiteY11" fmla="*/ 24760 h 4268514"/>
              <a:gd name="connsiteX12" fmla="*/ 3458307 w 6775947"/>
              <a:gd name="connsiteY12" fmla="*/ 30621 h 4268514"/>
              <a:gd name="connsiteX13" fmla="*/ 3376246 w 6775947"/>
              <a:gd name="connsiteY13" fmla="*/ 42344 h 4268514"/>
              <a:gd name="connsiteX14" fmla="*/ 3352800 w 6775947"/>
              <a:gd name="connsiteY14" fmla="*/ 48206 h 4268514"/>
              <a:gd name="connsiteX15" fmla="*/ 3288323 w 6775947"/>
              <a:gd name="connsiteY15" fmla="*/ 77514 h 4268514"/>
              <a:gd name="connsiteX16" fmla="*/ 3194538 w 6775947"/>
              <a:gd name="connsiteY16" fmla="*/ 95098 h 4268514"/>
              <a:gd name="connsiteX17" fmla="*/ 3112477 w 6775947"/>
              <a:gd name="connsiteY17" fmla="*/ 124406 h 4268514"/>
              <a:gd name="connsiteX18" fmla="*/ 3059723 w 6775947"/>
              <a:gd name="connsiteY18" fmla="*/ 194744 h 4268514"/>
              <a:gd name="connsiteX19" fmla="*/ 2971800 w 6775947"/>
              <a:gd name="connsiteY19" fmla="*/ 335421 h 4268514"/>
              <a:gd name="connsiteX20" fmla="*/ 2960077 w 6775947"/>
              <a:gd name="connsiteY20" fmla="*/ 382314 h 4268514"/>
              <a:gd name="connsiteX21" fmla="*/ 2948354 w 6775947"/>
              <a:gd name="connsiteY21" fmla="*/ 423344 h 4268514"/>
              <a:gd name="connsiteX22" fmla="*/ 2954215 w 6775947"/>
              <a:gd name="connsiteY22" fmla="*/ 698837 h 4268514"/>
              <a:gd name="connsiteX23" fmla="*/ 2971800 w 6775947"/>
              <a:gd name="connsiteY23" fmla="*/ 892267 h 4268514"/>
              <a:gd name="connsiteX24" fmla="*/ 2989384 w 6775947"/>
              <a:gd name="connsiteY24" fmla="*/ 1015360 h 4268514"/>
              <a:gd name="connsiteX25" fmla="*/ 3018692 w 6775947"/>
              <a:gd name="connsiteY25" fmla="*/ 1115006 h 4268514"/>
              <a:gd name="connsiteX26" fmla="*/ 3036277 w 6775947"/>
              <a:gd name="connsiteY26" fmla="*/ 1191206 h 4268514"/>
              <a:gd name="connsiteX27" fmla="*/ 3042138 w 6775947"/>
              <a:gd name="connsiteY27" fmla="*/ 1255683 h 4268514"/>
              <a:gd name="connsiteX28" fmla="*/ 3071446 w 6775947"/>
              <a:gd name="connsiteY28" fmla="*/ 1314298 h 4268514"/>
              <a:gd name="connsiteX29" fmla="*/ 3171092 w 6775947"/>
              <a:gd name="connsiteY29" fmla="*/ 1537037 h 4268514"/>
              <a:gd name="connsiteX30" fmla="*/ 3200400 w 6775947"/>
              <a:gd name="connsiteY30" fmla="*/ 1589791 h 4268514"/>
              <a:gd name="connsiteX31" fmla="*/ 3229707 w 6775947"/>
              <a:gd name="connsiteY31" fmla="*/ 1636683 h 4268514"/>
              <a:gd name="connsiteX32" fmla="*/ 3276600 w 6775947"/>
              <a:gd name="connsiteY32" fmla="*/ 1724606 h 4268514"/>
              <a:gd name="connsiteX33" fmla="*/ 3341077 w 6775947"/>
              <a:gd name="connsiteY33" fmla="*/ 1830114 h 4268514"/>
              <a:gd name="connsiteX34" fmla="*/ 3446584 w 6775947"/>
              <a:gd name="connsiteY34" fmla="*/ 1935621 h 4268514"/>
              <a:gd name="connsiteX35" fmla="*/ 3511061 w 6775947"/>
              <a:gd name="connsiteY35" fmla="*/ 2011821 h 4268514"/>
              <a:gd name="connsiteX36" fmla="*/ 3616569 w 6775947"/>
              <a:gd name="connsiteY36" fmla="*/ 2093883 h 4268514"/>
              <a:gd name="connsiteX37" fmla="*/ 3675184 w 6775947"/>
              <a:gd name="connsiteY37" fmla="*/ 2134914 h 4268514"/>
              <a:gd name="connsiteX38" fmla="*/ 3774830 w 6775947"/>
              <a:gd name="connsiteY38" fmla="*/ 2211114 h 4268514"/>
              <a:gd name="connsiteX39" fmla="*/ 3833446 w 6775947"/>
              <a:gd name="connsiteY39" fmla="*/ 2222837 h 4268514"/>
              <a:gd name="connsiteX40" fmla="*/ 3903784 w 6775947"/>
              <a:gd name="connsiteY40" fmla="*/ 2240421 h 4268514"/>
              <a:gd name="connsiteX41" fmla="*/ 3944815 w 6775947"/>
              <a:gd name="connsiteY41" fmla="*/ 2246283 h 4268514"/>
              <a:gd name="connsiteX42" fmla="*/ 4050323 w 6775947"/>
              <a:gd name="connsiteY42" fmla="*/ 2263867 h 4268514"/>
              <a:gd name="connsiteX43" fmla="*/ 4073769 w 6775947"/>
              <a:gd name="connsiteY43" fmla="*/ 2269729 h 4268514"/>
              <a:gd name="connsiteX44" fmla="*/ 4155830 w 6775947"/>
              <a:gd name="connsiteY44" fmla="*/ 2275591 h 4268514"/>
              <a:gd name="connsiteX45" fmla="*/ 4255477 w 6775947"/>
              <a:gd name="connsiteY45" fmla="*/ 2334206 h 4268514"/>
              <a:gd name="connsiteX46" fmla="*/ 4284784 w 6775947"/>
              <a:gd name="connsiteY46" fmla="*/ 2345929 h 4268514"/>
              <a:gd name="connsiteX47" fmla="*/ 4378569 w 6775947"/>
              <a:gd name="connsiteY47" fmla="*/ 2351791 h 4268514"/>
              <a:gd name="connsiteX48" fmla="*/ 4448907 w 6775947"/>
              <a:gd name="connsiteY48" fmla="*/ 2357652 h 4268514"/>
              <a:gd name="connsiteX49" fmla="*/ 4548554 w 6775947"/>
              <a:gd name="connsiteY49" fmla="*/ 2351791 h 4268514"/>
              <a:gd name="connsiteX50" fmla="*/ 4618892 w 6775947"/>
              <a:gd name="connsiteY50" fmla="*/ 2345929 h 4268514"/>
              <a:gd name="connsiteX51" fmla="*/ 4583722 w 6775947"/>
              <a:gd name="connsiteY51" fmla="*/ 2351791 h 4268514"/>
              <a:gd name="connsiteX52" fmla="*/ 4677507 w 6775947"/>
              <a:gd name="connsiteY52" fmla="*/ 2269729 h 4268514"/>
              <a:gd name="connsiteX53" fmla="*/ 4624754 w 6775947"/>
              <a:gd name="connsiteY53" fmla="*/ 2193529 h 4268514"/>
              <a:gd name="connsiteX54" fmla="*/ 4747846 w 6775947"/>
              <a:gd name="connsiteY54" fmla="*/ 2146637 h 4268514"/>
              <a:gd name="connsiteX55" fmla="*/ 4706815 w 6775947"/>
              <a:gd name="connsiteY55" fmla="*/ 2052852 h 4268514"/>
              <a:gd name="connsiteX56" fmla="*/ 4695092 w 6775947"/>
              <a:gd name="connsiteY56" fmla="*/ 2005960 h 4268514"/>
              <a:gd name="connsiteX57" fmla="*/ 4683369 w 6775947"/>
              <a:gd name="connsiteY57" fmla="*/ 1970791 h 4268514"/>
              <a:gd name="connsiteX58" fmla="*/ 4665784 w 6775947"/>
              <a:gd name="connsiteY58" fmla="*/ 1865283 h 4268514"/>
              <a:gd name="connsiteX59" fmla="*/ 4636477 w 6775947"/>
              <a:gd name="connsiteY59" fmla="*/ 1736329 h 4268514"/>
              <a:gd name="connsiteX60" fmla="*/ 4613030 w 6775947"/>
              <a:gd name="connsiteY60" fmla="*/ 1454975 h 4268514"/>
              <a:gd name="connsiteX61" fmla="*/ 4601307 w 6775947"/>
              <a:gd name="connsiteY61" fmla="*/ 1408083 h 4268514"/>
              <a:gd name="connsiteX62" fmla="*/ 4583723 w 6775947"/>
              <a:gd name="connsiteY62" fmla="*/ 1372914 h 4268514"/>
              <a:gd name="connsiteX63" fmla="*/ 4577861 w 6775947"/>
              <a:gd name="connsiteY63" fmla="*/ 1355329 h 4268514"/>
              <a:gd name="connsiteX64" fmla="*/ 4566138 w 6775947"/>
              <a:gd name="connsiteY64" fmla="*/ 1284991 h 4268514"/>
              <a:gd name="connsiteX65" fmla="*/ 4548554 w 6775947"/>
              <a:gd name="connsiteY65" fmla="*/ 1202929 h 4268514"/>
              <a:gd name="connsiteX66" fmla="*/ 4542692 w 6775947"/>
              <a:gd name="connsiteY66" fmla="*/ 1150175 h 4268514"/>
              <a:gd name="connsiteX67" fmla="*/ 4478215 w 6775947"/>
              <a:gd name="connsiteY67" fmla="*/ 1079837 h 4268514"/>
              <a:gd name="connsiteX68" fmla="*/ 4460630 w 6775947"/>
              <a:gd name="connsiteY68" fmla="*/ 1062252 h 4268514"/>
              <a:gd name="connsiteX69" fmla="*/ 4437184 w 6775947"/>
              <a:gd name="connsiteY69" fmla="*/ 1021221 h 4268514"/>
              <a:gd name="connsiteX70" fmla="*/ 4419600 w 6775947"/>
              <a:gd name="connsiteY70" fmla="*/ 980191 h 4268514"/>
              <a:gd name="connsiteX71" fmla="*/ 4378569 w 6775947"/>
              <a:gd name="connsiteY71" fmla="*/ 862960 h 4268514"/>
              <a:gd name="connsiteX72" fmla="*/ 4325815 w 6775947"/>
              <a:gd name="connsiteY72" fmla="*/ 821929 h 4268514"/>
              <a:gd name="connsiteX73" fmla="*/ 4308230 w 6775947"/>
              <a:gd name="connsiteY73" fmla="*/ 804344 h 4268514"/>
              <a:gd name="connsiteX74" fmla="*/ 4296507 w 6775947"/>
              <a:gd name="connsiteY74" fmla="*/ 757452 h 4268514"/>
              <a:gd name="connsiteX75" fmla="*/ 4308230 w 6775947"/>
              <a:gd name="connsiteY75" fmla="*/ 487821 h 4268514"/>
              <a:gd name="connsiteX76" fmla="*/ 4314092 w 6775947"/>
              <a:gd name="connsiteY76" fmla="*/ 417483 h 4268514"/>
              <a:gd name="connsiteX77" fmla="*/ 4319954 w 6775947"/>
              <a:gd name="connsiteY77" fmla="*/ 394037 h 4268514"/>
              <a:gd name="connsiteX78" fmla="*/ 4337538 w 6775947"/>
              <a:gd name="connsiteY78" fmla="*/ 288529 h 4268514"/>
              <a:gd name="connsiteX79" fmla="*/ 4366846 w 6775947"/>
              <a:gd name="connsiteY79" fmla="*/ 253360 h 4268514"/>
              <a:gd name="connsiteX80" fmla="*/ 4396154 w 6775947"/>
              <a:gd name="connsiteY80" fmla="*/ 224052 h 4268514"/>
              <a:gd name="connsiteX81" fmla="*/ 4413738 w 6775947"/>
              <a:gd name="connsiteY81" fmla="*/ 194744 h 4268514"/>
              <a:gd name="connsiteX82" fmla="*/ 4495800 w 6775947"/>
              <a:gd name="connsiteY82" fmla="*/ 136129 h 4268514"/>
              <a:gd name="connsiteX83" fmla="*/ 4554415 w 6775947"/>
              <a:gd name="connsiteY83" fmla="*/ 106821 h 4268514"/>
              <a:gd name="connsiteX84" fmla="*/ 4613030 w 6775947"/>
              <a:gd name="connsiteY84" fmla="*/ 83375 h 4268514"/>
              <a:gd name="connsiteX85" fmla="*/ 4671646 w 6775947"/>
              <a:gd name="connsiteY85" fmla="*/ 77514 h 4268514"/>
              <a:gd name="connsiteX86" fmla="*/ 5246077 w 6775947"/>
              <a:gd name="connsiteY86" fmla="*/ 71652 h 4268514"/>
              <a:gd name="connsiteX87" fmla="*/ 5304692 w 6775947"/>
              <a:gd name="connsiteY87" fmla="*/ 83375 h 4268514"/>
              <a:gd name="connsiteX88" fmla="*/ 5345723 w 6775947"/>
              <a:gd name="connsiteY88" fmla="*/ 89237 h 4268514"/>
              <a:gd name="connsiteX89" fmla="*/ 5527430 w 6775947"/>
              <a:gd name="connsiteY89" fmla="*/ 95098 h 4268514"/>
              <a:gd name="connsiteX90" fmla="*/ 5545015 w 6775947"/>
              <a:gd name="connsiteY90" fmla="*/ 100960 h 4268514"/>
              <a:gd name="connsiteX91" fmla="*/ 5586046 w 6775947"/>
              <a:gd name="connsiteY91" fmla="*/ 136129 h 4268514"/>
              <a:gd name="connsiteX92" fmla="*/ 5615354 w 6775947"/>
              <a:gd name="connsiteY92" fmla="*/ 159575 h 4268514"/>
              <a:gd name="connsiteX93" fmla="*/ 5632938 w 6775947"/>
              <a:gd name="connsiteY93" fmla="*/ 165437 h 4268514"/>
              <a:gd name="connsiteX94" fmla="*/ 5656384 w 6775947"/>
              <a:gd name="connsiteY94" fmla="*/ 183021 h 4268514"/>
              <a:gd name="connsiteX95" fmla="*/ 5709138 w 6775947"/>
              <a:gd name="connsiteY95" fmla="*/ 218191 h 4268514"/>
              <a:gd name="connsiteX96" fmla="*/ 5738446 w 6775947"/>
              <a:gd name="connsiteY96" fmla="*/ 247498 h 4268514"/>
              <a:gd name="connsiteX97" fmla="*/ 5756030 w 6775947"/>
              <a:gd name="connsiteY97" fmla="*/ 282667 h 4268514"/>
              <a:gd name="connsiteX98" fmla="*/ 5791200 w 6775947"/>
              <a:gd name="connsiteY98" fmla="*/ 341283 h 4268514"/>
              <a:gd name="connsiteX99" fmla="*/ 5756030 w 6775947"/>
              <a:gd name="connsiteY99" fmla="*/ 593329 h 4268514"/>
              <a:gd name="connsiteX100" fmla="*/ 5709138 w 6775947"/>
              <a:gd name="connsiteY100" fmla="*/ 751591 h 4268514"/>
              <a:gd name="connsiteX101" fmla="*/ 5650523 w 6775947"/>
              <a:gd name="connsiteY101" fmla="*/ 880544 h 4268514"/>
              <a:gd name="connsiteX102" fmla="*/ 5597769 w 6775947"/>
              <a:gd name="connsiteY102" fmla="*/ 1009498 h 4268514"/>
              <a:gd name="connsiteX103" fmla="*/ 5591907 w 6775947"/>
              <a:gd name="connsiteY103" fmla="*/ 1038806 h 4268514"/>
              <a:gd name="connsiteX104" fmla="*/ 5586046 w 6775947"/>
              <a:gd name="connsiteY104" fmla="*/ 1056391 h 4268514"/>
              <a:gd name="connsiteX105" fmla="*/ 5556738 w 6775947"/>
              <a:gd name="connsiteY105" fmla="*/ 1173621 h 4268514"/>
              <a:gd name="connsiteX106" fmla="*/ 5515707 w 6775947"/>
              <a:gd name="connsiteY106" fmla="*/ 1279129 h 4268514"/>
              <a:gd name="connsiteX107" fmla="*/ 5480538 w 6775947"/>
              <a:gd name="connsiteY107" fmla="*/ 1396360 h 4268514"/>
              <a:gd name="connsiteX108" fmla="*/ 5468815 w 6775947"/>
              <a:gd name="connsiteY108" fmla="*/ 1425667 h 4268514"/>
              <a:gd name="connsiteX109" fmla="*/ 5439507 w 6775947"/>
              <a:gd name="connsiteY109" fmla="*/ 1478421 h 4268514"/>
              <a:gd name="connsiteX110" fmla="*/ 5421923 w 6775947"/>
              <a:gd name="connsiteY110" fmla="*/ 1531175 h 4268514"/>
              <a:gd name="connsiteX111" fmla="*/ 5392615 w 6775947"/>
              <a:gd name="connsiteY111" fmla="*/ 1607375 h 4268514"/>
              <a:gd name="connsiteX112" fmla="*/ 5369169 w 6775947"/>
              <a:gd name="connsiteY112" fmla="*/ 1677714 h 4268514"/>
              <a:gd name="connsiteX113" fmla="*/ 5351584 w 6775947"/>
              <a:gd name="connsiteY113" fmla="*/ 1835975 h 4268514"/>
              <a:gd name="connsiteX114" fmla="*/ 5339861 w 6775947"/>
              <a:gd name="connsiteY114" fmla="*/ 1865283 h 4268514"/>
              <a:gd name="connsiteX115" fmla="*/ 5334000 w 6775947"/>
              <a:gd name="connsiteY115" fmla="*/ 1888729 h 4268514"/>
              <a:gd name="connsiteX116" fmla="*/ 5316415 w 6775947"/>
              <a:gd name="connsiteY116" fmla="*/ 1970791 h 4268514"/>
              <a:gd name="connsiteX117" fmla="*/ 5292969 w 6775947"/>
              <a:gd name="connsiteY117" fmla="*/ 2005960 h 4268514"/>
              <a:gd name="connsiteX118" fmla="*/ 5269523 w 6775947"/>
              <a:gd name="connsiteY118" fmla="*/ 2052852 h 4268514"/>
              <a:gd name="connsiteX119" fmla="*/ 5257800 w 6775947"/>
              <a:gd name="connsiteY119" fmla="*/ 2076298 h 4268514"/>
              <a:gd name="connsiteX120" fmla="*/ 5240215 w 6775947"/>
              <a:gd name="connsiteY120" fmla="*/ 2099744 h 4268514"/>
              <a:gd name="connsiteX121" fmla="*/ 5234354 w 6775947"/>
              <a:gd name="connsiteY121" fmla="*/ 2129052 h 4268514"/>
              <a:gd name="connsiteX122" fmla="*/ 5222630 w 6775947"/>
              <a:gd name="connsiteY122" fmla="*/ 2140775 h 4268514"/>
              <a:gd name="connsiteX123" fmla="*/ 5210907 w 6775947"/>
              <a:gd name="connsiteY123" fmla="*/ 2164221 h 4268514"/>
              <a:gd name="connsiteX124" fmla="*/ 5193323 w 6775947"/>
              <a:gd name="connsiteY124" fmla="*/ 2187667 h 4268514"/>
              <a:gd name="connsiteX125" fmla="*/ 5175738 w 6775947"/>
              <a:gd name="connsiteY125" fmla="*/ 2263867 h 4268514"/>
              <a:gd name="connsiteX126" fmla="*/ 5193323 w 6775947"/>
              <a:gd name="connsiteY126" fmla="*/ 2328344 h 4268514"/>
              <a:gd name="connsiteX127" fmla="*/ 5210907 w 6775947"/>
              <a:gd name="connsiteY127" fmla="*/ 2357652 h 4268514"/>
              <a:gd name="connsiteX128" fmla="*/ 5228492 w 6775947"/>
              <a:gd name="connsiteY128" fmla="*/ 2363514 h 4268514"/>
              <a:gd name="connsiteX129" fmla="*/ 5281246 w 6775947"/>
              <a:gd name="connsiteY129" fmla="*/ 2427991 h 4268514"/>
              <a:gd name="connsiteX130" fmla="*/ 5287107 w 6775947"/>
              <a:gd name="connsiteY130" fmla="*/ 2556944 h 4268514"/>
              <a:gd name="connsiteX131" fmla="*/ 5298830 w 6775947"/>
              <a:gd name="connsiteY131" fmla="*/ 2615560 h 4268514"/>
              <a:gd name="connsiteX132" fmla="*/ 5310554 w 6775947"/>
              <a:gd name="connsiteY132" fmla="*/ 2721067 h 4268514"/>
              <a:gd name="connsiteX133" fmla="*/ 5316415 w 6775947"/>
              <a:gd name="connsiteY133" fmla="*/ 2885191 h 4268514"/>
              <a:gd name="connsiteX134" fmla="*/ 5357446 w 6775947"/>
              <a:gd name="connsiteY134" fmla="*/ 2978975 h 4268514"/>
              <a:gd name="connsiteX135" fmla="*/ 5363307 w 6775947"/>
              <a:gd name="connsiteY135" fmla="*/ 3014144 h 4268514"/>
              <a:gd name="connsiteX136" fmla="*/ 5380892 w 6775947"/>
              <a:gd name="connsiteY136" fmla="*/ 3037591 h 4268514"/>
              <a:gd name="connsiteX137" fmla="*/ 5386754 w 6775947"/>
              <a:gd name="connsiteY137" fmla="*/ 3084483 h 4268514"/>
              <a:gd name="connsiteX138" fmla="*/ 5404338 w 6775947"/>
              <a:gd name="connsiteY138" fmla="*/ 3131375 h 4268514"/>
              <a:gd name="connsiteX139" fmla="*/ 5404338 w 6775947"/>
              <a:gd name="connsiteY139" fmla="*/ 3324806 h 4268514"/>
              <a:gd name="connsiteX140" fmla="*/ 5398477 w 6775947"/>
              <a:gd name="connsiteY140" fmla="*/ 3823037 h 4268514"/>
              <a:gd name="connsiteX141" fmla="*/ 5380892 w 6775947"/>
              <a:gd name="connsiteY141" fmla="*/ 3881652 h 4268514"/>
              <a:gd name="connsiteX142" fmla="*/ 5369169 w 6775947"/>
              <a:gd name="connsiteY142" fmla="*/ 3916821 h 4268514"/>
              <a:gd name="connsiteX143" fmla="*/ 5339861 w 6775947"/>
              <a:gd name="connsiteY143" fmla="*/ 3946129 h 4268514"/>
              <a:gd name="connsiteX144" fmla="*/ 5322277 w 6775947"/>
              <a:gd name="connsiteY144" fmla="*/ 3981298 h 4268514"/>
              <a:gd name="connsiteX145" fmla="*/ 5257800 w 6775947"/>
              <a:gd name="connsiteY145" fmla="*/ 4057498 h 4268514"/>
              <a:gd name="connsiteX146" fmla="*/ 5228492 w 6775947"/>
              <a:gd name="connsiteY146" fmla="*/ 4080944 h 4268514"/>
              <a:gd name="connsiteX147" fmla="*/ 5146430 w 6775947"/>
              <a:gd name="connsiteY147" fmla="*/ 4121975 h 4268514"/>
              <a:gd name="connsiteX148" fmla="*/ 5117123 w 6775947"/>
              <a:gd name="connsiteY148" fmla="*/ 4139560 h 4268514"/>
              <a:gd name="connsiteX149" fmla="*/ 5087815 w 6775947"/>
              <a:gd name="connsiteY149" fmla="*/ 4145421 h 4268514"/>
              <a:gd name="connsiteX150" fmla="*/ 4988169 w 6775947"/>
              <a:gd name="connsiteY150" fmla="*/ 4163006 h 4268514"/>
              <a:gd name="connsiteX151" fmla="*/ 4753707 w 6775947"/>
              <a:gd name="connsiteY151" fmla="*/ 4151283 h 4268514"/>
              <a:gd name="connsiteX152" fmla="*/ 4695092 w 6775947"/>
              <a:gd name="connsiteY152" fmla="*/ 4139560 h 4268514"/>
              <a:gd name="connsiteX153" fmla="*/ 4589584 w 6775947"/>
              <a:gd name="connsiteY153" fmla="*/ 4151283 h 4268514"/>
              <a:gd name="connsiteX154" fmla="*/ 4560277 w 6775947"/>
              <a:gd name="connsiteY154" fmla="*/ 4163006 h 4268514"/>
              <a:gd name="connsiteX155" fmla="*/ 4484077 w 6775947"/>
              <a:gd name="connsiteY155" fmla="*/ 4180591 h 4268514"/>
              <a:gd name="connsiteX156" fmla="*/ 4443046 w 6775947"/>
              <a:gd name="connsiteY156" fmla="*/ 4198175 h 4268514"/>
              <a:gd name="connsiteX157" fmla="*/ 4413738 w 6775947"/>
              <a:gd name="connsiteY157" fmla="*/ 4204037 h 4268514"/>
              <a:gd name="connsiteX158" fmla="*/ 4355123 w 6775947"/>
              <a:gd name="connsiteY158" fmla="*/ 4215760 h 4268514"/>
              <a:gd name="connsiteX159" fmla="*/ 4273061 w 6775947"/>
              <a:gd name="connsiteY159" fmla="*/ 4209898 h 4268514"/>
              <a:gd name="connsiteX160" fmla="*/ 4185138 w 6775947"/>
              <a:gd name="connsiteY160" fmla="*/ 4198175 h 4268514"/>
              <a:gd name="connsiteX161" fmla="*/ 4155830 w 6775947"/>
              <a:gd name="connsiteY161" fmla="*/ 4209898 h 4268514"/>
              <a:gd name="connsiteX162" fmla="*/ 4138246 w 6775947"/>
              <a:gd name="connsiteY162" fmla="*/ 4215760 h 4268514"/>
              <a:gd name="connsiteX163" fmla="*/ 3991707 w 6775947"/>
              <a:gd name="connsiteY163" fmla="*/ 4227483 h 4268514"/>
              <a:gd name="connsiteX164" fmla="*/ 3933092 w 6775947"/>
              <a:gd name="connsiteY164" fmla="*/ 4250929 h 4268514"/>
              <a:gd name="connsiteX165" fmla="*/ 3915507 w 6775947"/>
              <a:gd name="connsiteY165" fmla="*/ 4262652 h 4268514"/>
              <a:gd name="connsiteX166" fmla="*/ 3704492 w 6775947"/>
              <a:gd name="connsiteY166" fmla="*/ 4268514 h 4268514"/>
              <a:gd name="connsiteX167" fmla="*/ 3552092 w 6775947"/>
              <a:gd name="connsiteY167" fmla="*/ 4233344 h 4268514"/>
              <a:gd name="connsiteX168" fmla="*/ 3452446 w 6775947"/>
              <a:gd name="connsiteY168" fmla="*/ 4227483 h 4268514"/>
              <a:gd name="connsiteX169" fmla="*/ 3264877 w 6775947"/>
              <a:gd name="connsiteY169" fmla="*/ 4192314 h 4268514"/>
              <a:gd name="connsiteX170" fmla="*/ 3253154 w 6775947"/>
              <a:gd name="connsiteY170" fmla="*/ 4069221 h 4268514"/>
              <a:gd name="connsiteX171" fmla="*/ 3276600 w 6775947"/>
              <a:gd name="connsiteY171" fmla="*/ 3828898 h 4268514"/>
              <a:gd name="connsiteX172" fmla="*/ 3264877 w 6775947"/>
              <a:gd name="connsiteY172" fmla="*/ 3664775 h 4268514"/>
              <a:gd name="connsiteX173" fmla="*/ 3259015 w 6775947"/>
              <a:gd name="connsiteY173" fmla="*/ 3623744 h 4268514"/>
              <a:gd name="connsiteX174" fmla="*/ 3247292 w 6775947"/>
              <a:gd name="connsiteY174" fmla="*/ 3600298 h 4268514"/>
              <a:gd name="connsiteX175" fmla="*/ 3229707 w 6775947"/>
              <a:gd name="connsiteY175" fmla="*/ 3535821 h 4268514"/>
              <a:gd name="connsiteX176" fmla="*/ 3194538 w 6775947"/>
              <a:gd name="connsiteY176" fmla="*/ 3459621 h 4268514"/>
              <a:gd name="connsiteX177" fmla="*/ 3153507 w 6775947"/>
              <a:gd name="connsiteY177" fmla="*/ 3354114 h 4268514"/>
              <a:gd name="connsiteX178" fmla="*/ 3135923 w 6775947"/>
              <a:gd name="connsiteY178" fmla="*/ 3231021 h 4268514"/>
              <a:gd name="connsiteX179" fmla="*/ 3118338 w 6775947"/>
              <a:gd name="connsiteY179" fmla="*/ 3184129 h 4268514"/>
              <a:gd name="connsiteX180" fmla="*/ 3094892 w 6775947"/>
              <a:gd name="connsiteY180" fmla="*/ 2633144 h 4268514"/>
              <a:gd name="connsiteX181" fmla="*/ 3048000 w 6775947"/>
              <a:gd name="connsiteY181" fmla="*/ 2498329 h 4268514"/>
              <a:gd name="connsiteX182" fmla="*/ 3012830 w 6775947"/>
              <a:gd name="connsiteY182" fmla="*/ 2386960 h 4268514"/>
              <a:gd name="connsiteX183" fmla="*/ 3006969 w 6775947"/>
              <a:gd name="connsiteY183" fmla="*/ 2299037 h 4268514"/>
              <a:gd name="connsiteX184" fmla="*/ 2995246 w 6775947"/>
              <a:gd name="connsiteY184" fmla="*/ 1988375 h 4268514"/>
              <a:gd name="connsiteX185" fmla="*/ 2965938 w 6775947"/>
              <a:gd name="connsiteY185" fmla="*/ 1818391 h 4268514"/>
              <a:gd name="connsiteX186" fmla="*/ 2960077 w 6775947"/>
              <a:gd name="connsiteY186" fmla="*/ 1689437 h 4268514"/>
              <a:gd name="connsiteX187" fmla="*/ 2936630 w 6775947"/>
              <a:gd name="connsiteY187" fmla="*/ 1583929 h 4268514"/>
              <a:gd name="connsiteX188" fmla="*/ 2924907 w 6775947"/>
              <a:gd name="connsiteY188" fmla="*/ 1542898 h 4268514"/>
              <a:gd name="connsiteX189" fmla="*/ 2901461 w 6775947"/>
              <a:gd name="connsiteY189" fmla="*/ 1425667 h 4268514"/>
              <a:gd name="connsiteX190" fmla="*/ 2872154 w 6775947"/>
              <a:gd name="connsiteY190" fmla="*/ 1302575 h 4268514"/>
              <a:gd name="connsiteX191" fmla="*/ 2848707 w 6775947"/>
              <a:gd name="connsiteY191" fmla="*/ 1191206 h 4268514"/>
              <a:gd name="connsiteX192" fmla="*/ 2836984 w 6775947"/>
              <a:gd name="connsiteY192" fmla="*/ 1056391 h 4268514"/>
              <a:gd name="connsiteX193" fmla="*/ 2819400 w 6775947"/>
              <a:gd name="connsiteY193" fmla="*/ 968467 h 4268514"/>
              <a:gd name="connsiteX194" fmla="*/ 2813538 w 6775947"/>
              <a:gd name="connsiteY194" fmla="*/ 909852 h 4268514"/>
              <a:gd name="connsiteX195" fmla="*/ 2801815 w 6775947"/>
              <a:gd name="connsiteY195" fmla="*/ 816067 h 4268514"/>
              <a:gd name="connsiteX196" fmla="*/ 2795954 w 6775947"/>
              <a:gd name="connsiteY196" fmla="*/ 476098 h 4268514"/>
              <a:gd name="connsiteX197" fmla="*/ 2784230 w 6775947"/>
              <a:gd name="connsiteY197" fmla="*/ 335421 h 4268514"/>
              <a:gd name="connsiteX198" fmla="*/ 2754923 w 6775947"/>
              <a:gd name="connsiteY198" fmla="*/ 276806 h 4268514"/>
              <a:gd name="connsiteX199" fmla="*/ 2708030 w 6775947"/>
              <a:gd name="connsiteY199" fmla="*/ 177160 h 4268514"/>
              <a:gd name="connsiteX200" fmla="*/ 2702169 w 6775947"/>
              <a:gd name="connsiteY200" fmla="*/ 159575 h 4268514"/>
              <a:gd name="connsiteX201" fmla="*/ 2678723 w 6775947"/>
              <a:gd name="connsiteY201" fmla="*/ 130267 h 4268514"/>
              <a:gd name="connsiteX202" fmla="*/ 2602523 w 6775947"/>
              <a:gd name="connsiteY202" fmla="*/ 112683 h 4268514"/>
              <a:gd name="connsiteX203" fmla="*/ 2584938 w 6775947"/>
              <a:gd name="connsiteY203" fmla="*/ 106821 h 4268514"/>
              <a:gd name="connsiteX204" fmla="*/ 2514600 w 6775947"/>
              <a:gd name="connsiteY204" fmla="*/ 100960 h 4268514"/>
              <a:gd name="connsiteX205" fmla="*/ 2467707 w 6775947"/>
              <a:gd name="connsiteY205" fmla="*/ 36483 h 4268514"/>
              <a:gd name="connsiteX206" fmla="*/ 2403230 w 6775947"/>
              <a:gd name="connsiteY206" fmla="*/ 30621 h 4268514"/>
              <a:gd name="connsiteX207" fmla="*/ 2321169 w 6775947"/>
              <a:gd name="connsiteY207" fmla="*/ 24760 h 4268514"/>
              <a:gd name="connsiteX208" fmla="*/ 1793630 w 6775947"/>
              <a:gd name="connsiteY208" fmla="*/ 30621 h 4268514"/>
              <a:gd name="connsiteX209" fmla="*/ 1752600 w 6775947"/>
              <a:gd name="connsiteY209" fmla="*/ 42344 h 4268514"/>
              <a:gd name="connsiteX210" fmla="*/ 1717430 w 6775947"/>
              <a:gd name="connsiteY210" fmla="*/ 59929 h 4268514"/>
              <a:gd name="connsiteX211" fmla="*/ 1652954 w 6775947"/>
              <a:gd name="connsiteY211" fmla="*/ 65791 h 4268514"/>
              <a:gd name="connsiteX212" fmla="*/ 1371600 w 6775947"/>
              <a:gd name="connsiteY212" fmla="*/ 54067 h 4268514"/>
              <a:gd name="connsiteX213" fmla="*/ 826477 w 6775947"/>
              <a:gd name="connsiteY213" fmla="*/ 36483 h 4268514"/>
              <a:gd name="connsiteX214" fmla="*/ 451338 w 6775947"/>
              <a:gd name="connsiteY214" fmla="*/ 42344 h 4268514"/>
              <a:gd name="connsiteX215" fmla="*/ 375138 w 6775947"/>
              <a:gd name="connsiteY215" fmla="*/ 65791 h 4268514"/>
              <a:gd name="connsiteX216" fmla="*/ 199292 w 6775947"/>
              <a:gd name="connsiteY216" fmla="*/ 159575 h 4268514"/>
              <a:gd name="connsiteX217" fmla="*/ 146538 w 6775947"/>
              <a:gd name="connsiteY217" fmla="*/ 194744 h 4268514"/>
              <a:gd name="connsiteX218" fmla="*/ 29307 w 6775947"/>
              <a:gd name="connsiteY218" fmla="*/ 528852 h 4268514"/>
              <a:gd name="connsiteX219" fmla="*/ 0 w 6775947"/>
              <a:gd name="connsiteY219" fmla="*/ 898129 h 4268514"/>
              <a:gd name="connsiteX220" fmla="*/ 23446 w 6775947"/>
              <a:gd name="connsiteY220" fmla="*/ 2041129 h 4268514"/>
              <a:gd name="connsiteX221" fmla="*/ 93784 w 6775947"/>
              <a:gd name="connsiteY221" fmla="*/ 2316621 h 4268514"/>
              <a:gd name="connsiteX222" fmla="*/ 433754 w 6775947"/>
              <a:gd name="connsiteY222" fmla="*/ 2937944 h 4268514"/>
              <a:gd name="connsiteX223" fmla="*/ 662354 w 6775947"/>
              <a:gd name="connsiteY223" fmla="*/ 3231021 h 4268514"/>
              <a:gd name="connsiteX224" fmla="*/ 785446 w 6775947"/>
              <a:gd name="connsiteY224" fmla="*/ 3395144 h 4268514"/>
              <a:gd name="connsiteX225" fmla="*/ 1066800 w 6775947"/>
              <a:gd name="connsiteY225" fmla="*/ 3746837 h 4268514"/>
              <a:gd name="connsiteX226" fmla="*/ 1436077 w 6775947"/>
              <a:gd name="connsiteY226" fmla="*/ 4004744 h 4268514"/>
              <a:gd name="connsiteX227" fmla="*/ 1735015 w 6775947"/>
              <a:gd name="connsiteY227" fmla="*/ 4139560 h 4268514"/>
              <a:gd name="connsiteX228" fmla="*/ 1817077 w 6775947"/>
              <a:gd name="connsiteY228" fmla="*/ 4174729 h 4268514"/>
              <a:gd name="connsiteX229" fmla="*/ 1893277 w 6775947"/>
              <a:gd name="connsiteY229" fmla="*/ 4209898 h 4268514"/>
              <a:gd name="connsiteX230" fmla="*/ 2039815 w 6775947"/>
              <a:gd name="connsiteY230" fmla="*/ 4221621 h 4268514"/>
              <a:gd name="connsiteX231" fmla="*/ 2250830 w 6775947"/>
              <a:gd name="connsiteY231" fmla="*/ 4198175 h 4268514"/>
              <a:gd name="connsiteX232" fmla="*/ 2286000 w 6775947"/>
              <a:gd name="connsiteY232" fmla="*/ 4192314 h 4268514"/>
              <a:gd name="connsiteX233" fmla="*/ 2450123 w 6775947"/>
              <a:gd name="connsiteY233" fmla="*/ 4198175 h 4268514"/>
              <a:gd name="connsiteX234" fmla="*/ 2567354 w 6775947"/>
              <a:gd name="connsiteY234" fmla="*/ 4209898 h 4268514"/>
              <a:gd name="connsiteX235" fmla="*/ 2608384 w 6775947"/>
              <a:gd name="connsiteY235" fmla="*/ 4215760 h 4268514"/>
              <a:gd name="connsiteX236" fmla="*/ 2813538 w 6775947"/>
              <a:gd name="connsiteY236" fmla="*/ 4221621 h 4268514"/>
              <a:gd name="connsiteX237" fmla="*/ 2924907 w 6775947"/>
              <a:gd name="connsiteY237" fmla="*/ 4233344 h 4268514"/>
              <a:gd name="connsiteX238" fmla="*/ 2960077 w 6775947"/>
              <a:gd name="connsiteY238" fmla="*/ 4239206 h 4268514"/>
              <a:gd name="connsiteX239" fmla="*/ 3006969 w 6775947"/>
              <a:gd name="connsiteY239" fmla="*/ 4245067 h 4268514"/>
              <a:gd name="connsiteX240" fmla="*/ 3106615 w 6775947"/>
              <a:gd name="connsiteY240" fmla="*/ 4262652 h 4268514"/>
              <a:gd name="connsiteX241" fmla="*/ 3130061 w 6775947"/>
              <a:gd name="connsiteY241" fmla="*/ 4268514 h 4268514"/>
              <a:gd name="connsiteX242" fmla="*/ 3294184 w 6775947"/>
              <a:gd name="connsiteY242" fmla="*/ 4262652 h 4268514"/>
              <a:gd name="connsiteX243" fmla="*/ 3323492 w 6775947"/>
              <a:gd name="connsiteY243" fmla="*/ 4256791 h 4268514"/>
              <a:gd name="connsiteX244" fmla="*/ 3364523 w 6775947"/>
              <a:gd name="connsiteY244" fmla="*/ 4250929 h 4268514"/>
              <a:gd name="connsiteX245" fmla="*/ 4525107 w 6775947"/>
              <a:gd name="connsiteY245" fmla="*/ 4256791 h 4268514"/>
              <a:gd name="connsiteX246" fmla="*/ 4759569 w 6775947"/>
              <a:gd name="connsiteY246" fmla="*/ 4209898 h 4268514"/>
              <a:gd name="connsiteX247" fmla="*/ 5175738 w 6775947"/>
              <a:gd name="connsiteY247" fmla="*/ 4186452 h 4268514"/>
              <a:gd name="connsiteX248" fmla="*/ 5216769 w 6775947"/>
              <a:gd name="connsiteY248" fmla="*/ 4157144 h 4268514"/>
              <a:gd name="connsiteX249" fmla="*/ 5234354 w 6775947"/>
              <a:gd name="connsiteY249" fmla="*/ 4133698 h 4268514"/>
              <a:gd name="connsiteX250" fmla="*/ 5251938 w 6775947"/>
              <a:gd name="connsiteY250" fmla="*/ 4116114 h 4268514"/>
              <a:gd name="connsiteX251" fmla="*/ 5275384 w 6775947"/>
              <a:gd name="connsiteY251" fmla="*/ 4086806 h 4268514"/>
              <a:gd name="connsiteX252" fmla="*/ 5404338 w 6775947"/>
              <a:gd name="connsiteY252" fmla="*/ 3998883 h 4268514"/>
              <a:gd name="connsiteX253" fmla="*/ 5498123 w 6775947"/>
              <a:gd name="connsiteY253" fmla="*/ 3910960 h 4268514"/>
              <a:gd name="connsiteX254" fmla="*/ 5550877 w 6775947"/>
              <a:gd name="connsiteY254" fmla="*/ 3875791 h 4268514"/>
              <a:gd name="connsiteX255" fmla="*/ 5715000 w 6775947"/>
              <a:gd name="connsiteY255" fmla="*/ 3699944 h 4268514"/>
              <a:gd name="connsiteX256" fmla="*/ 5802923 w 6775947"/>
              <a:gd name="connsiteY256" fmla="*/ 3594437 h 4268514"/>
              <a:gd name="connsiteX257" fmla="*/ 5838092 w 6775947"/>
              <a:gd name="connsiteY257" fmla="*/ 3524098 h 4268514"/>
              <a:gd name="connsiteX258" fmla="*/ 5879123 w 6775947"/>
              <a:gd name="connsiteY258" fmla="*/ 3453760 h 4268514"/>
              <a:gd name="connsiteX259" fmla="*/ 5908430 w 6775947"/>
              <a:gd name="connsiteY259" fmla="*/ 3424452 h 4268514"/>
              <a:gd name="connsiteX260" fmla="*/ 5926015 w 6775947"/>
              <a:gd name="connsiteY260" fmla="*/ 3389283 h 4268514"/>
              <a:gd name="connsiteX261" fmla="*/ 6119446 w 6775947"/>
              <a:gd name="connsiteY261" fmla="*/ 3195852 h 4268514"/>
              <a:gd name="connsiteX262" fmla="*/ 6236677 w 6775947"/>
              <a:gd name="connsiteY262" fmla="*/ 3072760 h 4268514"/>
              <a:gd name="connsiteX263" fmla="*/ 6318738 w 6775947"/>
              <a:gd name="connsiteY263" fmla="*/ 2937944 h 4268514"/>
              <a:gd name="connsiteX264" fmla="*/ 6330461 w 6775947"/>
              <a:gd name="connsiteY264" fmla="*/ 2879329 h 4268514"/>
              <a:gd name="connsiteX265" fmla="*/ 6453554 w 6775947"/>
              <a:gd name="connsiteY265" fmla="*/ 2551083 h 4268514"/>
              <a:gd name="connsiteX266" fmla="*/ 6547338 w 6775947"/>
              <a:gd name="connsiteY266" fmla="*/ 2375237 h 4268514"/>
              <a:gd name="connsiteX267" fmla="*/ 6629400 w 6775947"/>
              <a:gd name="connsiteY267" fmla="*/ 2240421 h 4268514"/>
              <a:gd name="connsiteX268" fmla="*/ 6646984 w 6775947"/>
              <a:gd name="connsiteY268" fmla="*/ 2205252 h 4268514"/>
              <a:gd name="connsiteX269" fmla="*/ 6705600 w 6775947"/>
              <a:gd name="connsiteY269" fmla="*/ 2152498 h 4268514"/>
              <a:gd name="connsiteX270" fmla="*/ 6723184 w 6775947"/>
              <a:gd name="connsiteY270" fmla="*/ 2099744 h 4268514"/>
              <a:gd name="connsiteX271" fmla="*/ 6764215 w 6775947"/>
              <a:gd name="connsiteY271" fmla="*/ 1859421 h 4268514"/>
              <a:gd name="connsiteX272" fmla="*/ 6764215 w 6775947"/>
              <a:gd name="connsiteY272" fmla="*/ 804344 h 4268514"/>
              <a:gd name="connsiteX273" fmla="*/ 6740769 w 6775947"/>
              <a:gd name="connsiteY273" fmla="*/ 218191 h 4268514"/>
              <a:gd name="connsiteX274" fmla="*/ 6729046 w 6775947"/>
              <a:gd name="connsiteY274" fmla="*/ 147852 h 4268514"/>
              <a:gd name="connsiteX275" fmla="*/ 6723184 w 6775947"/>
              <a:gd name="connsiteY275" fmla="*/ 124406 h 4268514"/>
              <a:gd name="connsiteX276" fmla="*/ 6670430 w 6775947"/>
              <a:gd name="connsiteY276" fmla="*/ 77514 h 4268514"/>
              <a:gd name="connsiteX277" fmla="*/ 6559061 w 6775947"/>
              <a:gd name="connsiteY277" fmla="*/ 48206 h 4268514"/>
              <a:gd name="connsiteX278" fmla="*/ 6506307 w 6775947"/>
              <a:gd name="connsiteY278" fmla="*/ 18898 h 4268514"/>
              <a:gd name="connsiteX279" fmla="*/ 6477000 w 6775947"/>
              <a:gd name="connsiteY279" fmla="*/ 7175 h 4268514"/>
              <a:gd name="connsiteX280" fmla="*/ 6371492 w 6775947"/>
              <a:gd name="connsiteY280" fmla="*/ 36483 h 4268514"/>
              <a:gd name="connsiteX281" fmla="*/ 5597769 w 6775947"/>
              <a:gd name="connsiteY281" fmla="*/ 7175 h 4268514"/>
              <a:gd name="connsiteX282" fmla="*/ 5533292 w 6775947"/>
              <a:gd name="connsiteY282" fmla="*/ 1314 h 4268514"/>
              <a:gd name="connsiteX283" fmla="*/ 5175738 w 6775947"/>
              <a:gd name="connsiteY283" fmla="*/ 7175 h 4268514"/>
              <a:gd name="connsiteX284" fmla="*/ 5064369 w 6775947"/>
              <a:gd name="connsiteY284" fmla="*/ 18898 h 4268514"/>
              <a:gd name="connsiteX285" fmla="*/ 4360984 w 6775947"/>
              <a:gd name="connsiteY285" fmla="*/ 30621 h 4268514"/>
              <a:gd name="connsiteX286" fmla="*/ 4314092 w 6775947"/>
              <a:gd name="connsiteY286" fmla="*/ 83375 h 4268514"/>
              <a:gd name="connsiteX287" fmla="*/ 4302369 w 6775947"/>
              <a:gd name="connsiteY287" fmla="*/ 141991 h 4268514"/>
              <a:gd name="connsiteX0" fmla="*/ 4302369 w 6775947"/>
              <a:gd name="connsiteY0" fmla="*/ 141991 h 4268514"/>
              <a:gd name="connsiteX1" fmla="*/ 4302369 w 6775947"/>
              <a:gd name="connsiteY1" fmla="*/ 141991 h 4268514"/>
              <a:gd name="connsiteX2" fmla="*/ 4232030 w 6775947"/>
              <a:gd name="connsiteY2" fmla="*/ 106821 h 4268514"/>
              <a:gd name="connsiteX3" fmla="*/ 4208584 w 6775947"/>
              <a:gd name="connsiteY3" fmla="*/ 89237 h 4268514"/>
              <a:gd name="connsiteX4" fmla="*/ 4149969 w 6775947"/>
              <a:gd name="connsiteY4" fmla="*/ 71652 h 4268514"/>
              <a:gd name="connsiteX5" fmla="*/ 4097215 w 6775947"/>
              <a:gd name="connsiteY5" fmla="*/ 59929 h 4268514"/>
              <a:gd name="connsiteX6" fmla="*/ 4073769 w 6775947"/>
              <a:gd name="connsiteY6" fmla="*/ 54067 h 4268514"/>
              <a:gd name="connsiteX7" fmla="*/ 3927230 w 6775947"/>
              <a:gd name="connsiteY7" fmla="*/ 42344 h 4268514"/>
              <a:gd name="connsiteX8" fmla="*/ 3745523 w 6775947"/>
              <a:gd name="connsiteY8" fmla="*/ 18898 h 4268514"/>
              <a:gd name="connsiteX9" fmla="*/ 3716215 w 6775947"/>
              <a:gd name="connsiteY9" fmla="*/ 7175 h 4268514"/>
              <a:gd name="connsiteX10" fmla="*/ 3563815 w 6775947"/>
              <a:gd name="connsiteY10" fmla="*/ 7175 h 4268514"/>
              <a:gd name="connsiteX11" fmla="*/ 3499338 w 6775947"/>
              <a:gd name="connsiteY11" fmla="*/ 24760 h 4268514"/>
              <a:gd name="connsiteX12" fmla="*/ 3458307 w 6775947"/>
              <a:gd name="connsiteY12" fmla="*/ 30621 h 4268514"/>
              <a:gd name="connsiteX13" fmla="*/ 3376246 w 6775947"/>
              <a:gd name="connsiteY13" fmla="*/ 42344 h 4268514"/>
              <a:gd name="connsiteX14" fmla="*/ 3352800 w 6775947"/>
              <a:gd name="connsiteY14" fmla="*/ 48206 h 4268514"/>
              <a:gd name="connsiteX15" fmla="*/ 3288323 w 6775947"/>
              <a:gd name="connsiteY15" fmla="*/ 77514 h 4268514"/>
              <a:gd name="connsiteX16" fmla="*/ 3194538 w 6775947"/>
              <a:gd name="connsiteY16" fmla="*/ 95098 h 4268514"/>
              <a:gd name="connsiteX17" fmla="*/ 3112477 w 6775947"/>
              <a:gd name="connsiteY17" fmla="*/ 124406 h 4268514"/>
              <a:gd name="connsiteX18" fmla="*/ 3059723 w 6775947"/>
              <a:gd name="connsiteY18" fmla="*/ 194744 h 4268514"/>
              <a:gd name="connsiteX19" fmla="*/ 2971800 w 6775947"/>
              <a:gd name="connsiteY19" fmla="*/ 335421 h 4268514"/>
              <a:gd name="connsiteX20" fmla="*/ 2960077 w 6775947"/>
              <a:gd name="connsiteY20" fmla="*/ 382314 h 4268514"/>
              <a:gd name="connsiteX21" fmla="*/ 2948354 w 6775947"/>
              <a:gd name="connsiteY21" fmla="*/ 423344 h 4268514"/>
              <a:gd name="connsiteX22" fmla="*/ 2954215 w 6775947"/>
              <a:gd name="connsiteY22" fmla="*/ 698837 h 4268514"/>
              <a:gd name="connsiteX23" fmla="*/ 2971800 w 6775947"/>
              <a:gd name="connsiteY23" fmla="*/ 892267 h 4268514"/>
              <a:gd name="connsiteX24" fmla="*/ 2989384 w 6775947"/>
              <a:gd name="connsiteY24" fmla="*/ 1015360 h 4268514"/>
              <a:gd name="connsiteX25" fmla="*/ 3018692 w 6775947"/>
              <a:gd name="connsiteY25" fmla="*/ 1115006 h 4268514"/>
              <a:gd name="connsiteX26" fmla="*/ 3036277 w 6775947"/>
              <a:gd name="connsiteY26" fmla="*/ 1191206 h 4268514"/>
              <a:gd name="connsiteX27" fmla="*/ 3042138 w 6775947"/>
              <a:gd name="connsiteY27" fmla="*/ 1255683 h 4268514"/>
              <a:gd name="connsiteX28" fmla="*/ 3071446 w 6775947"/>
              <a:gd name="connsiteY28" fmla="*/ 1314298 h 4268514"/>
              <a:gd name="connsiteX29" fmla="*/ 3171092 w 6775947"/>
              <a:gd name="connsiteY29" fmla="*/ 1537037 h 4268514"/>
              <a:gd name="connsiteX30" fmla="*/ 3200400 w 6775947"/>
              <a:gd name="connsiteY30" fmla="*/ 1589791 h 4268514"/>
              <a:gd name="connsiteX31" fmla="*/ 3229707 w 6775947"/>
              <a:gd name="connsiteY31" fmla="*/ 1636683 h 4268514"/>
              <a:gd name="connsiteX32" fmla="*/ 3276600 w 6775947"/>
              <a:gd name="connsiteY32" fmla="*/ 1724606 h 4268514"/>
              <a:gd name="connsiteX33" fmla="*/ 3341077 w 6775947"/>
              <a:gd name="connsiteY33" fmla="*/ 1830114 h 4268514"/>
              <a:gd name="connsiteX34" fmla="*/ 3446584 w 6775947"/>
              <a:gd name="connsiteY34" fmla="*/ 1935621 h 4268514"/>
              <a:gd name="connsiteX35" fmla="*/ 3511061 w 6775947"/>
              <a:gd name="connsiteY35" fmla="*/ 2011821 h 4268514"/>
              <a:gd name="connsiteX36" fmla="*/ 3616569 w 6775947"/>
              <a:gd name="connsiteY36" fmla="*/ 2093883 h 4268514"/>
              <a:gd name="connsiteX37" fmla="*/ 3675184 w 6775947"/>
              <a:gd name="connsiteY37" fmla="*/ 2134914 h 4268514"/>
              <a:gd name="connsiteX38" fmla="*/ 3774830 w 6775947"/>
              <a:gd name="connsiteY38" fmla="*/ 2211114 h 4268514"/>
              <a:gd name="connsiteX39" fmla="*/ 3833446 w 6775947"/>
              <a:gd name="connsiteY39" fmla="*/ 2222837 h 4268514"/>
              <a:gd name="connsiteX40" fmla="*/ 3903784 w 6775947"/>
              <a:gd name="connsiteY40" fmla="*/ 2240421 h 4268514"/>
              <a:gd name="connsiteX41" fmla="*/ 3944815 w 6775947"/>
              <a:gd name="connsiteY41" fmla="*/ 2246283 h 4268514"/>
              <a:gd name="connsiteX42" fmla="*/ 4050323 w 6775947"/>
              <a:gd name="connsiteY42" fmla="*/ 2263867 h 4268514"/>
              <a:gd name="connsiteX43" fmla="*/ 4073769 w 6775947"/>
              <a:gd name="connsiteY43" fmla="*/ 2269729 h 4268514"/>
              <a:gd name="connsiteX44" fmla="*/ 4155830 w 6775947"/>
              <a:gd name="connsiteY44" fmla="*/ 2275591 h 4268514"/>
              <a:gd name="connsiteX45" fmla="*/ 4255477 w 6775947"/>
              <a:gd name="connsiteY45" fmla="*/ 2334206 h 4268514"/>
              <a:gd name="connsiteX46" fmla="*/ 4284784 w 6775947"/>
              <a:gd name="connsiteY46" fmla="*/ 2345929 h 4268514"/>
              <a:gd name="connsiteX47" fmla="*/ 4378569 w 6775947"/>
              <a:gd name="connsiteY47" fmla="*/ 2351791 h 4268514"/>
              <a:gd name="connsiteX48" fmla="*/ 4448907 w 6775947"/>
              <a:gd name="connsiteY48" fmla="*/ 2357652 h 4268514"/>
              <a:gd name="connsiteX49" fmla="*/ 4548554 w 6775947"/>
              <a:gd name="connsiteY49" fmla="*/ 2351791 h 4268514"/>
              <a:gd name="connsiteX50" fmla="*/ 4548553 w 6775947"/>
              <a:gd name="connsiteY50" fmla="*/ 2369375 h 4268514"/>
              <a:gd name="connsiteX51" fmla="*/ 4583722 w 6775947"/>
              <a:gd name="connsiteY51" fmla="*/ 2351791 h 4268514"/>
              <a:gd name="connsiteX52" fmla="*/ 4677507 w 6775947"/>
              <a:gd name="connsiteY52" fmla="*/ 2269729 h 4268514"/>
              <a:gd name="connsiteX53" fmla="*/ 4624754 w 6775947"/>
              <a:gd name="connsiteY53" fmla="*/ 2193529 h 4268514"/>
              <a:gd name="connsiteX54" fmla="*/ 4747846 w 6775947"/>
              <a:gd name="connsiteY54" fmla="*/ 2146637 h 4268514"/>
              <a:gd name="connsiteX55" fmla="*/ 4706815 w 6775947"/>
              <a:gd name="connsiteY55" fmla="*/ 2052852 h 4268514"/>
              <a:gd name="connsiteX56" fmla="*/ 4695092 w 6775947"/>
              <a:gd name="connsiteY56" fmla="*/ 2005960 h 4268514"/>
              <a:gd name="connsiteX57" fmla="*/ 4683369 w 6775947"/>
              <a:gd name="connsiteY57" fmla="*/ 1970791 h 4268514"/>
              <a:gd name="connsiteX58" fmla="*/ 4665784 w 6775947"/>
              <a:gd name="connsiteY58" fmla="*/ 1865283 h 4268514"/>
              <a:gd name="connsiteX59" fmla="*/ 4636477 w 6775947"/>
              <a:gd name="connsiteY59" fmla="*/ 1736329 h 4268514"/>
              <a:gd name="connsiteX60" fmla="*/ 4613030 w 6775947"/>
              <a:gd name="connsiteY60" fmla="*/ 1454975 h 4268514"/>
              <a:gd name="connsiteX61" fmla="*/ 4601307 w 6775947"/>
              <a:gd name="connsiteY61" fmla="*/ 1408083 h 4268514"/>
              <a:gd name="connsiteX62" fmla="*/ 4583723 w 6775947"/>
              <a:gd name="connsiteY62" fmla="*/ 1372914 h 4268514"/>
              <a:gd name="connsiteX63" fmla="*/ 4577861 w 6775947"/>
              <a:gd name="connsiteY63" fmla="*/ 1355329 h 4268514"/>
              <a:gd name="connsiteX64" fmla="*/ 4566138 w 6775947"/>
              <a:gd name="connsiteY64" fmla="*/ 1284991 h 4268514"/>
              <a:gd name="connsiteX65" fmla="*/ 4548554 w 6775947"/>
              <a:gd name="connsiteY65" fmla="*/ 1202929 h 4268514"/>
              <a:gd name="connsiteX66" fmla="*/ 4542692 w 6775947"/>
              <a:gd name="connsiteY66" fmla="*/ 1150175 h 4268514"/>
              <a:gd name="connsiteX67" fmla="*/ 4478215 w 6775947"/>
              <a:gd name="connsiteY67" fmla="*/ 1079837 h 4268514"/>
              <a:gd name="connsiteX68" fmla="*/ 4460630 w 6775947"/>
              <a:gd name="connsiteY68" fmla="*/ 1062252 h 4268514"/>
              <a:gd name="connsiteX69" fmla="*/ 4437184 w 6775947"/>
              <a:gd name="connsiteY69" fmla="*/ 1021221 h 4268514"/>
              <a:gd name="connsiteX70" fmla="*/ 4419600 w 6775947"/>
              <a:gd name="connsiteY70" fmla="*/ 980191 h 4268514"/>
              <a:gd name="connsiteX71" fmla="*/ 4378569 w 6775947"/>
              <a:gd name="connsiteY71" fmla="*/ 862960 h 4268514"/>
              <a:gd name="connsiteX72" fmla="*/ 4325815 w 6775947"/>
              <a:gd name="connsiteY72" fmla="*/ 821929 h 4268514"/>
              <a:gd name="connsiteX73" fmla="*/ 4308230 w 6775947"/>
              <a:gd name="connsiteY73" fmla="*/ 804344 h 4268514"/>
              <a:gd name="connsiteX74" fmla="*/ 4296507 w 6775947"/>
              <a:gd name="connsiteY74" fmla="*/ 757452 h 4268514"/>
              <a:gd name="connsiteX75" fmla="*/ 4308230 w 6775947"/>
              <a:gd name="connsiteY75" fmla="*/ 487821 h 4268514"/>
              <a:gd name="connsiteX76" fmla="*/ 4314092 w 6775947"/>
              <a:gd name="connsiteY76" fmla="*/ 417483 h 4268514"/>
              <a:gd name="connsiteX77" fmla="*/ 4319954 w 6775947"/>
              <a:gd name="connsiteY77" fmla="*/ 394037 h 4268514"/>
              <a:gd name="connsiteX78" fmla="*/ 4337538 w 6775947"/>
              <a:gd name="connsiteY78" fmla="*/ 288529 h 4268514"/>
              <a:gd name="connsiteX79" fmla="*/ 4366846 w 6775947"/>
              <a:gd name="connsiteY79" fmla="*/ 253360 h 4268514"/>
              <a:gd name="connsiteX80" fmla="*/ 4396154 w 6775947"/>
              <a:gd name="connsiteY80" fmla="*/ 224052 h 4268514"/>
              <a:gd name="connsiteX81" fmla="*/ 4413738 w 6775947"/>
              <a:gd name="connsiteY81" fmla="*/ 194744 h 4268514"/>
              <a:gd name="connsiteX82" fmla="*/ 4495800 w 6775947"/>
              <a:gd name="connsiteY82" fmla="*/ 136129 h 4268514"/>
              <a:gd name="connsiteX83" fmla="*/ 4554415 w 6775947"/>
              <a:gd name="connsiteY83" fmla="*/ 106821 h 4268514"/>
              <a:gd name="connsiteX84" fmla="*/ 4613030 w 6775947"/>
              <a:gd name="connsiteY84" fmla="*/ 83375 h 4268514"/>
              <a:gd name="connsiteX85" fmla="*/ 4671646 w 6775947"/>
              <a:gd name="connsiteY85" fmla="*/ 77514 h 4268514"/>
              <a:gd name="connsiteX86" fmla="*/ 5246077 w 6775947"/>
              <a:gd name="connsiteY86" fmla="*/ 71652 h 4268514"/>
              <a:gd name="connsiteX87" fmla="*/ 5304692 w 6775947"/>
              <a:gd name="connsiteY87" fmla="*/ 83375 h 4268514"/>
              <a:gd name="connsiteX88" fmla="*/ 5345723 w 6775947"/>
              <a:gd name="connsiteY88" fmla="*/ 89237 h 4268514"/>
              <a:gd name="connsiteX89" fmla="*/ 5527430 w 6775947"/>
              <a:gd name="connsiteY89" fmla="*/ 95098 h 4268514"/>
              <a:gd name="connsiteX90" fmla="*/ 5545015 w 6775947"/>
              <a:gd name="connsiteY90" fmla="*/ 100960 h 4268514"/>
              <a:gd name="connsiteX91" fmla="*/ 5586046 w 6775947"/>
              <a:gd name="connsiteY91" fmla="*/ 136129 h 4268514"/>
              <a:gd name="connsiteX92" fmla="*/ 5615354 w 6775947"/>
              <a:gd name="connsiteY92" fmla="*/ 159575 h 4268514"/>
              <a:gd name="connsiteX93" fmla="*/ 5632938 w 6775947"/>
              <a:gd name="connsiteY93" fmla="*/ 165437 h 4268514"/>
              <a:gd name="connsiteX94" fmla="*/ 5656384 w 6775947"/>
              <a:gd name="connsiteY94" fmla="*/ 183021 h 4268514"/>
              <a:gd name="connsiteX95" fmla="*/ 5709138 w 6775947"/>
              <a:gd name="connsiteY95" fmla="*/ 218191 h 4268514"/>
              <a:gd name="connsiteX96" fmla="*/ 5738446 w 6775947"/>
              <a:gd name="connsiteY96" fmla="*/ 247498 h 4268514"/>
              <a:gd name="connsiteX97" fmla="*/ 5756030 w 6775947"/>
              <a:gd name="connsiteY97" fmla="*/ 282667 h 4268514"/>
              <a:gd name="connsiteX98" fmla="*/ 5791200 w 6775947"/>
              <a:gd name="connsiteY98" fmla="*/ 341283 h 4268514"/>
              <a:gd name="connsiteX99" fmla="*/ 5756030 w 6775947"/>
              <a:gd name="connsiteY99" fmla="*/ 593329 h 4268514"/>
              <a:gd name="connsiteX100" fmla="*/ 5709138 w 6775947"/>
              <a:gd name="connsiteY100" fmla="*/ 751591 h 4268514"/>
              <a:gd name="connsiteX101" fmla="*/ 5650523 w 6775947"/>
              <a:gd name="connsiteY101" fmla="*/ 880544 h 4268514"/>
              <a:gd name="connsiteX102" fmla="*/ 5597769 w 6775947"/>
              <a:gd name="connsiteY102" fmla="*/ 1009498 h 4268514"/>
              <a:gd name="connsiteX103" fmla="*/ 5591907 w 6775947"/>
              <a:gd name="connsiteY103" fmla="*/ 1038806 h 4268514"/>
              <a:gd name="connsiteX104" fmla="*/ 5586046 w 6775947"/>
              <a:gd name="connsiteY104" fmla="*/ 1056391 h 4268514"/>
              <a:gd name="connsiteX105" fmla="*/ 5556738 w 6775947"/>
              <a:gd name="connsiteY105" fmla="*/ 1173621 h 4268514"/>
              <a:gd name="connsiteX106" fmla="*/ 5515707 w 6775947"/>
              <a:gd name="connsiteY106" fmla="*/ 1279129 h 4268514"/>
              <a:gd name="connsiteX107" fmla="*/ 5480538 w 6775947"/>
              <a:gd name="connsiteY107" fmla="*/ 1396360 h 4268514"/>
              <a:gd name="connsiteX108" fmla="*/ 5468815 w 6775947"/>
              <a:gd name="connsiteY108" fmla="*/ 1425667 h 4268514"/>
              <a:gd name="connsiteX109" fmla="*/ 5439507 w 6775947"/>
              <a:gd name="connsiteY109" fmla="*/ 1478421 h 4268514"/>
              <a:gd name="connsiteX110" fmla="*/ 5421923 w 6775947"/>
              <a:gd name="connsiteY110" fmla="*/ 1531175 h 4268514"/>
              <a:gd name="connsiteX111" fmla="*/ 5392615 w 6775947"/>
              <a:gd name="connsiteY111" fmla="*/ 1607375 h 4268514"/>
              <a:gd name="connsiteX112" fmla="*/ 5369169 w 6775947"/>
              <a:gd name="connsiteY112" fmla="*/ 1677714 h 4268514"/>
              <a:gd name="connsiteX113" fmla="*/ 5351584 w 6775947"/>
              <a:gd name="connsiteY113" fmla="*/ 1835975 h 4268514"/>
              <a:gd name="connsiteX114" fmla="*/ 5339861 w 6775947"/>
              <a:gd name="connsiteY114" fmla="*/ 1865283 h 4268514"/>
              <a:gd name="connsiteX115" fmla="*/ 5334000 w 6775947"/>
              <a:gd name="connsiteY115" fmla="*/ 1888729 h 4268514"/>
              <a:gd name="connsiteX116" fmla="*/ 5316415 w 6775947"/>
              <a:gd name="connsiteY116" fmla="*/ 1970791 h 4268514"/>
              <a:gd name="connsiteX117" fmla="*/ 5292969 w 6775947"/>
              <a:gd name="connsiteY117" fmla="*/ 2005960 h 4268514"/>
              <a:gd name="connsiteX118" fmla="*/ 5269523 w 6775947"/>
              <a:gd name="connsiteY118" fmla="*/ 2052852 h 4268514"/>
              <a:gd name="connsiteX119" fmla="*/ 5257800 w 6775947"/>
              <a:gd name="connsiteY119" fmla="*/ 2076298 h 4268514"/>
              <a:gd name="connsiteX120" fmla="*/ 5240215 w 6775947"/>
              <a:gd name="connsiteY120" fmla="*/ 2099744 h 4268514"/>
              <a:gd name="connsiteX121" fmla="*/ 5234354 w 6775947"/>
              <a:gd name="connsiteY121" fmla="*/ 2129052 h 4268514"/>
              <a:gd name="connsiteX122" fmla="*/ 5222630 w 6775947"/>
              <a:gd name="connsiteY122" fmla="*/ 2140775 h 4268514"/>
              <a:gd name="connsiteX123" fmla="*/ 5210907 w 6775947"/>
              <a:gd name="connsiteY123" fmla="*/ 2164221 h 4268514"/>
              <a:gd name="connsiteX124" fmla="*/ 5193323 w 6775947"/>
              <a:gd name="connsiteY124" fmla="*/ 2187667 h 4268514"/>
              <a:gd name="connsiteX125" fmla="*/ 5175738 w 6775947"/>
              <a:gd name="connsiteY125" fmla="*/ 2263867 h 4268514"/>
              <a:gd name="connsiteX126" fmla="*/ 5193323 w 6775947"/>
              <a:gd name="connsiteY126" fmla="*/ 2328344 h 4268514"/>
              <a:gd name="connsiteX127" fmla="*/ 5210907 w 6775947"/>
              <a:gd name="connsiteY127" fmla="*/ 2357652 h 4268514"/>
              <a:gd name="connsiteX128" fmla="*/ 5228492 w 6775947"/>
              <a:gd name="connsiteY128" fmla="*/ 2363514 h 4268514"/>
              <a:gd name="connsiteX129" fmla="*/ 5281246 w 6775947"/>
              <a:gd name="connsiteY129" fmla="*/ 2427991 h 4268514"/>
              <a:gd name="connsiteX130" fmla="*/ 5287107 w 6775947"/>
              <a:gd name="connsiteY130" fmla="*/ 2556944 h 4268514"/>
              <a:gd name="connsiteX131" fmla="*/ 5298830 w 6775947"/>
              <a:gd name="connsiteY131" fmla="*/ 2615560 h 4268514"/>
              <a:gd name="connsiteX132" fmla="*/ 5310554 w 6775947"/>
              <a:gd name="connsiteY132" fmla="*/ 2721067 h 4268514"/>
              <a:gd name="connsiteX133" fmla="*/ 5316415 w 6775947"/>
              <a:gd name="connsiteY133" fmla="*/ 2885191 h 4268514"/>
              <a:gd name="connsiteX134" fmla="*/ 5357446 w 6775947"/>
              <a:gd name="connsiteY134" fmla="*/ 2978975 h 4268514"/>
              <a:gd name="connsiteX135" fmla="*/ 5363307 w 6775947"/>
              <a:gd name="connsiteY135" fmla="*/ 3014144 h 4268514"/>
              <a:gd name="connsiteX136" fmla="*/ 5380892 w 6775947"/>
              <a:gd name="connsiteY136" fmla="*/ 3037591 h 4268514"/>
              <a:gd name="connsiteX137" fmla="*/ 5386754 w 6775947"/>
              <a:gd name="connsiteY137" fmla="*/ 3084483 h 4268514"/>
              <a:gd name="connsiteX138" fmla="*/ 5404338 w 6775947"/>
              <a:gd name="connsiteY138" fmla="*/ 3131375 h 4268514"/>
              <a:gd name="connsiteX139" fmla="*/ 5404338 w 6775947"/>
              <a:gd name="connsiteY139" fmla="*/ 3324806 h 4268514"/>
              <a:gd name="connsiteX140" fmla="*/ 5398477 w 6775947"/>
              <a:gd name="connsiteY140" fmla="*/ 3823037 h 4268514"/>
              <a:gd name="connsiteX141" fmla="*/ 5380892 w 6775947"/>
              <a:gd name="connsiteY141" fmla="*/ 3881652 h 4268514"/>
              <a:gd name="connsiteX142" fmla="*/ 5369169 w 6775947"/>
              <a:gd name="connsiteY142" fmla="*/ 3916821 h 4268514"/>
              <a:gd name="connsiteX143" fmla="*/ 5339861 w 6775947"/>
              <a:gd name="connsiteY143" fmla="*/ 3946129 h 4268514"/>
              <a:gd name="connsiteX144" fmla="*/ 5322277 w 6775947"/>
              <a:gd name="connsiteY144" fmla="*/ 3981298 h 4268514"/>
              <a:gd name="connsiteX145" fmla="*/ 5257800 w 6775947"/>
              <a:gd name="connsiteY145" fmla="*/ 4057498 h 4268514"/>
              <a:gd name="connsiteX146" fmla="*/ 5228492 w 6775947"/>
              <a:gd name="connsiteY146" fmla="*/ 4080944 h 4268514"/>
              <a:gd name="connsiteX147" fmla="*/ 5146430 w 6775947"/>
              <a:gd name="connsiteY147" fmla="*/ 4121975 h 4268514"/>
              <a:gd name="connsiteX148" fmla="*/ 5117123 w 6775947"/>
              <a:gd name="connsiteY148" fmla="*/ 4139560 h 4268514"/>
              <a:gd name="connsiteX149" fmla="*/ 5087815 w 6775947"/>
              <a:gd name="connsiteY149" fmla="*/ 4145421 h 4268514"/>
              <a:gd name="connsiteX150" fmla="*/ 4988169 w 6775947"/>
              <a:gd name="connsiteY150" fmla="*/ 4163006 h 4268514"/>
              <a:gd name="connsiteX151" fmla="*/ 4753707 w 6775947"/>
              <a:gd name="connsiteY151" fmla="*/ 4151283 h 4268514"/>
              <a:gd name="connsiteX152" fmla="*/ 4695092 w 6775947"/>
              <a:gd name="connsiteY152" fmla="*/ 4139560 h 4268514"/>
              <a:gd name="connsiteX153" fmla="*/ 4589584 w 6775947"/>
              <a:gd name="connsiteY153" fmla="*/ 4151283 h 4268514"/>
              <a:gd name="connsiteX154" fmla="*/ 4560277 w 6775947"/>
              <a:gd name="connsiteY154" fmla="*/ 4163006 h 4268514"/>
              <a:gd name="connsiteX155" fmla="*/ 4484077 w 6775947"/>
              <a:gd name="connsiteY155" fmla="*/ 4180591 h 4268514"/>
              <a:gd name="connsiteX156" fmla="*/ 4443046 w 6775947"/>
              <a:gd name="connsiteY156" fmla="*/ 4198175 h 4268514"/>
              <a:gd name="connsiteX157" fmla="*/ 4413738 w 6775947"/>
              <a:gd name="connsiteY157" fmla="*/ 4204037 h 4268514"/>
              <a:gd name="connsiteX158" fmla="*/ 4355123 w 6775947"/>
              <a:gd name="connsiteY158" fmla="*/ 4215760 h 4268514"/>
              <a:gd name="connsiteX159" fmla="*/ 4273061 w 6775947"/>
              <a:gd name="connsiteY159" fmla="*/ 4209898 h 4268514"/>
              <a:gd name="connsiteX160" fmla="*/ 4185138 w 6775947"/>
              <a:gd name="connsiteY160" fmla="*/ 4198175 h 4268514"/>
              <a:gd name="connsiteX161" fmla="*/ 4155830 w 6775947"/>
              <a:gd name="connsiteY161" fmla="*/ 4209898 h 4268514"/>
              <a:gd name="connsiteX162" fmla="*/ 4138246 w 6775947"/>
              <a:gd name="connsiteY162" fmla="*/ 4215760 h 4268514"/>
              <a:gd name="connsiteX163" fmla="*/ 3991707 w 6775947"/>
              <a:gd name="connsiteY163" fmla="*/ 4227483 h 4268514"/>
              <a:gd name="connsiteX164" fmla="*/ 3933092 w 6775947"/>
              <a:gd name="connsiteY164" fmla="*/ 4250929 h 4268514"/>
              <a:gd name="connsiteX165" fmla="*/ 3915507 w 6775947"/>
              <a:gd name="connsiteY165" fmla="*/ 4262652 h 4268514"/>
              <a:gd name="connsiteX166" fmla="*/ 3704492 w 6775947"/>
              <a:gd name="connsiteY166" fmla="*/ 4268514 h 4268514"/>
              <a:gd name="connsiteX167" fmla="*/ 3552092 w 6775947"/>
              <a:gd name="connsiteY167" fmla="*/ 4233344 h 4268514"/>
              <a:gd name="connsiteX168" fmla="*/ 3452446 w 6775947"/>
              <a:gd name="connsiteY168" fmla="*/ 4227483 h 4268514"/>
              <a:gd name="connsiteX169" fmla="*/ 3264877 w 6775947"/>
              <a:gd name="connsiteY169" fmla="*/ 4192314 h 4268514"/>
              <a:gd name="connsiteX170" fmla="*/ 3253154 w 6775947"/>
              <a:gd name="connsiteY170" fmla="*/ 4069221 h 4268514"/>
              <a:gd name="connsiteX171" fmla="*/ 3276600 w 6775947"/>
              <a:gd name="connsiteY171" fmla="*/ 3828898 h 4268514"/>
              <a:gd name="connsiteX172" fmla="*/ 3264877 w 6775947"/>
              <a:gd name="connsiteY172" fmla="*/ 3664775 h 4268514"/>
              <a:gd name="connsiteX173" fmla="*/ 3259015 w 6775947"/>
              <a:gd name="connsiteY173" fmla="*/ 3623744 h 4268514"/>
              <a:gd name="connsiteX174" fmla="*/ 3247292 w 6775947"/>
              <a:gd name="connsiteY174" fmla="*/ 3600298 h 4268514"/>
              <a:gd name="connsiteX175" fmla="*/ 3229707 w 6775947"/>
              <a:gd name="connsiteY175" fmla="*/ 3535821 h 4268514"/>
              <a:gd name="connsiteX176" fmla="*/ 3194538 w 6775947"/>
              <a:gd name="connsiteY176" fmla="*/ 3459621 h 4268514"/>
              <a:gd name="connsiteX177" fmla="*/ 3153507 w 6775947"/>
              <a:gd name="connsiteY177" fmla="*/ 3354114 h 4268514"/>
              <a:gd name="connsiteX178" fmla="*/ 3135923 w 6775947"/>
              <a:gd name="connsiteY178" fmla="*/ 3231021 h 4268514"/>
              <a:gd name="connsiteX179" fmla="*/ 3118338 w 6775947"/>
              <a:gd name="connsiteY179" fmla="*/ 3184129 h 4268514"/>
              <a:gd name="connsiteX180" fmla="*/ 3094892 w 6775947"/>
              <a:gd name="connsiteY180" fmla="*/ 2633144 h 4268514"/>
              <a:gd name="connsiteX181" fmla="*/ 3048000 w 6775947"/>
              <a:gd name="connsiteY181" fmla="*/ 2498329 h 4268514"/>
              <a:gd name="connsiteX182" fmla="*/ 3012830 w 6775947"/>
              <a:gd name="connsiteY182" fmla="*/ 2386960 h 4268514"/>
              <a:gd name="connsiteX183" fmla="*/ 3006969 w 6775947"/>
              <a:gd name="connsiteY183" fmla="*/ 2299037 h 4268514"/>
              <a:gd name="connsiteX184" fmla="*/ 2995246 w 6775947"/>
              <a:gd name="connsiteY184" fmla="*/ 1988375 h 4268514"/>
              <a:gd name="connsiteX185" fmla="*/ 2965938 w 6775947"/>
              <a:gd name="connsiteY185" fmla="*/ 1818391 h 4268514"/>
              <a:gd name="connsiteX186" fmla="*/ 2960077 w 6775947"/>
              <a:gd name="connsiteY186" fmla="*/ 1689437 h 4268514"/>
              <a:gd name="connsiteX187" fmla="*/ 2936630 w 6775947"/>
              <a:gd name="connsiteY187" fmla="*/ 1583929 h 4268514"/>
              <a:gd name="connsiteX188" fmla="*/ 2924907 w 6775947"/>
              <a:gd name="connsiteY188" fmla="*/ 1542898 h 4268514"/>
              <a:gd name="connsiteX189" fmla="*/ 2901461 w 6775947"/>
              <a:gd name="connsiteY189" fmla="*/ 1425667 h 4268514"/>
              <a:gd name="connsiteX190" fmla="*/ 2872154 w 6775947"/>
              <a:gd name="connsiteY190" fmla="*/ 1302575 h 4268514"/>
              <a:gd name="connsiteX191" fmla="*/ 2848707 w 6775947"/>
              <a:gd name="connsiteY191" fmla="*/ 1191206 h 4268514"/>
              <a:gd name="connsiteX192" fmla="*/ 2836984 w 6775947"/>
              <a:gd name="connsiteY192" fmla="*/ 1056391 h 4268514"/>
              <a:gd name="connsiteX193" fmla="*/ 2819400 w 6775947"/>
              <a:gd name="connsiteY193" fmla="*/ 968467 h 4268514"/>
              <a:gd name="connsiteX194" fmla="*/ 2813538 w 6775947"/>
              <a:gd name="connsiteY194" fmla="*/ 909852 h 4268514"/>
              <a:gd name="connsiteX195" fmla="*/ 2801815 w 6775947"/>
              <a:gd name="connsiteY195" fmla="*/ 816067 h 4268514"/>
              <a:gd name="connsiteX196" fmla="*/ 2795954 w 6775947"/>
              <a:gd name="connsiteY196" fmla="*/ 476098 h 4268514"/>
              <a:gd name="connsiteX197" fmla="*/ 2784230 w 6775947"/>
              <a:gd name="connsiteY197" fmla="*/ 335421 h 4268514"/>
              <a:gd name="connsiteX198" fmla="*/ 2754923 w 6775947"/>
              <a:gd name="connsiteY198" fmla="*/ 276806 h 4268514"/>
              <a:gd name="connsiteX199" fmla="*/ 2708030 w 6775947"/>
              <a:gd name="connsiteY199" fmla="*/ 177160 h 4268514"/>
              <a:gd name="connsiteX200" fmla="*/ 2702169 w 6775947"/>
              <a:gd name="connsiteY200" fmla="*/ 159575 h 4268514"/>
              <a:gd name="connsiteX201" fmla="*/ 2678723 w 6775947"/>
              <a:gd name="connsiteY201" fmla="*/ 130267 h 4268514"/>
              <a:gd name="connsiteX202" fmla="*/ 2602523 w 6775947"/>
              <a:gd name="connsiteY202" fmla="*/ 112683 h 4268514"/>
              <a:gd name="connsiteX203" fmla="*/ 2584938 w 6775947"/>
              <a:gd name="connsiteY203" fmla="*/ 106821 h 4268514"/>
              <a:gd name="connsiteX204" fmla="*/ 2514600 w 6775947"/>
              <a:gd name="connsiteY204" fmla="*/ 100960 h 4268514"/>
              <a:gd name="connsiteX205" fmla="*/ 2467707 w 6775947"/>
              <a:gd name="connsiteY205" fmla="*/ 36483 h 4268514"/>
              <a:gd name="connsiteX206" fmla="*/ 2403230 w 6775947"/>
              <a:gd name="connsiteY206" fmla="*/ 30621 h 4268514"/>
              <a:gd name="connsiteX207" fmla="*/ 2321169 w 6775947"/>
              <a:gd name="connsiteY207" fmla="*/ 24760 h 4268514"/>
              <a:gd name="connsiteX208" fmla="*/ 1793630 w 6775947"/>
              <a:gd name="connsiteY208" fmla="*/ 30621 h 4268514"/>
              <a:gd name="connsiteX209" fmla="*/ 1752600 w 6775947"/>
              <a:gd name="connsiteY209" fmla="*/ 42344 h 4268514"/>
              <a:gd name="connsiteX210" fmla="*/ 1717430 w 6775947"/>
              <a:gd name="connsiteY210" fmla="*/ 59929 h 4268514"/>
              <a:gd name="connsiteX211" fmla="*/ 1652954 w 6775947"/>
              <a:gd name="connsiteY211" fmla="*/ 65791 h 4268514"/>
              <a:gd name="connsiteX212" fmla="*/ 1371600 w 6775947"/>
              <a:gd name="connsiteY212" fmla="*/ 54067 h 4268514"/>
              <a:gd name="connsiteX213" fmla="*/ 826477 w 6775947"/>
              <a:gd name="connsiteY213" fmla="*/ 36483 h 4268514"/>
              <a:gd name="connsiteX214" fmla="*/ 451338 w 6775947"/>
              <a:gd name="connsiteY214" fmla="*/ 42344 h 4268514"/>
              <a:gd name="connsiteX215" fmla="*/ 375138 w 6775947"/>
              <a:gd name="connsiteY215" fmla="*/ 65791 h 4268514"/>
              <a:gd name="connsiteX216" fmla="*/ 199292 w 6775947"/>
              <a:gd name="connsiteY216" fmla="*/ 159575 h 4268514"/>
              <a:gd name="connsiteX217" fmla="*/ 146538 w 6775947"/>
              <a:gd name="connsiteY217" fmla="*/ 194744 h 4268514"/>
              <a:gd name="connsiteX218" fmla="*/ 29307 w 6775947"/>
              <a:gd name="connsiteY218" fmla="*/ 528852 h 4268514"/>
              <a:gd name="connsiteX219" fmla="*/ 0 w 6775947"/>
              <a:gd name="connsiteY219" fmla="*/ 898129 h 4268514"/>
              <a:gd name="connsiteX220" fmla="*/ 23446 w 6775947"/>
              <a:gd name="connsiteY220" fmla="*/ 2041129 h 4268514"/>
              <a:gd name="connsiteX221" fmla="*/ 93784 w 6775947"/>
              <a:gd name="connsiteY221" fmla="*/ 2316621 h 4268514"/>
              <a:gd name="connsiteX222" fmla="*/ 433754 w 6775947"/>
              <a:gd name="connsiteY222" fmla="*/ 2937944 h 4268514"/>
              <a:gd name="connsiteX223" fmla="*/ 662354 w 6775947"/>
              <a:gd name="connsiteY223" fmla="*/ 3231021 h 4268514"/>
              <a:gd name="connsiteX224" fmla="*/ 785446 w 6775947"/>
              <a:gd name="connsiteY224" fmla="*/ 3395144 h 4268514"/>
              <a:gd name="connsiteX225" fmla="*/ 1066800 w 6775947"/>
              <a:gd name="connsiteY225" fmla="*/ 3746837 h 4268514"/>
              <a:gd name="connsiteX226" fmla="*/ 1436077 w 6775947"/>
              <a:gd name="connsiteY226" fmla="*/ 4004744 h 4268514"/>
              <a:gd name="connsiteX227" fmla="*/ 1735015 w 6775947"/>
              <a:gd name="connsiteY227" fmla="*/ 4139560 h 4268514"/>
              <a:gd name="connsiteX228" fmla="*/ 1817077 w 6775947"/>
              <a:gd name="connsiteY228" fmla="*/ 4174729 h 4268514"/>
              <a:gd name="connsiteX229" fmla="*/ 1893277 w 6775947"/>
              <a:gd name="connsiteY229" fmla="*/ 4209898 h 4268514"/>
              <a:gd name="connsiteX230" fmla="*/ 2039815 w 6775947"/>
              <a:gd name="connsiteY230" fmla="*/ 4221621 h 4268514"/>
              <a:gd name="connsiteX231" fmla="*/ 2250830 w 6775947"/>
              <a:gd name="connsiteY231" fmla="*/ 4198175 h 4268514"/>
              <a:gd name="connsiteX232" fmla="*/ 2286000 w 6775947"/>
              <a:gd name="connsiteY232" fmla="*/ 4192314 h 4268514"/>
              <a:gd name="connsiteX233" fmla="*/ 2450123 w 6775947"/>
              <a:gd name="connsiteY233" fmla="*/ 4198175 h 4268514"/>
              <a:gd name="connsiteX234" fmla="*/ 2567354 w 6775947"/>
              <a:gd name="connsiteY234" fmla="*/ 4209898 h 4268514"/>
              <a:gd name="connsiteX235" fmla="*/ 2608384 w 6775947"/>
              <a:gd name="connsiteY235" fmla="*/ 4215760 h 4268514"/>
              <a:gd name="connsiteX236" fmla="*/ 2813538 w 6775947"/>
              <a:gd name="connsiteY236" fmla="*/ 4221621 h 4268514"/>
              <a:gd name="connsiteX237" fmla="*/ 2924907 w 6775947"/>
              <a:gd name="connsiteY237" fmla="*/ 4233344 h 4268514"/>
              <a:gd name="connsiteX238" fmla="*/ 2960077 w 6775947"/>
              <a:gd name="connsiteY238" fmla="*/ 4239206 h 4268514"/>
              <a:gd name="connsiteX239" fmla="*/ 3006969 w 6775947"/>
              <a:gd name="connsiteY239" fmla="*/ 4245067 h 4268514"/>
              <a:gd name="connsiteX240" fmla="*/ 3106615 w 6775947"/>
              <a:gd name="connsiteY240" fmla="*/ 4262652 h 4268514"/>
              <a:gd name="connsiteX241" fmla="*/ 3130061 w 6775947"/>
              <a:gd name="connsiteY241" fmla="*/ 4268514 h 4268514"/>
              <a:gd name="connsiteX242" fmla="*/ 3294184 w 6775947"/>
              <a:gd name="connsiteY242" fmla="*/ 4262652 h 4268514"/>
              <a:gd name="connsiteX243" fmla="*/ 3323492 w 6775947"/>
              <a:gd name="connsiteY243" fmla="*/ 4256791 h 4268514"/>
              <a:gd name="connsiteX244" fmla="*/ 3364523 w 6775947"/>
              <a:gd name="connsiteY244" fmla="*/ 4250929 h 4268514"/>
              <a:gd name="connsiteX245" fmla="*/ 4525107 w 6775947"/>
              <a:gd name="connsiteY245" fmla="*/ 4256791 h 4268514"/>
              <a:gd name="connsiteX246" fmla="*/ 4759569 w 6775947"/>
              <a:gd name="connsiteY246" fmla="*/ 4209898 h 4268514"/>
              <a:gd name="connsiteX247" fmla="*/ 5175738 w 6775947"/>
              <a:gd name="connsiteY247" fmla="*/ 4186452 h 4268514"/>
              <a:gd name="connsiteX248" fmla="*/ 5216769 w 6775947"/>
              <a:gd name="connsiteY248" fmla="*/ 4157144 h 4268514"/>
              <a:gd name="connsiteX249" fmla="*/ 5234354 w 6775947"/>
              <a:gd name="connsiteY249" fmla="*/ 4133698 h 4268514"/>
              <a:gd name="connsiteX250" fmla="*/ 5251938 w 6775947"/>
              <a:gd name="connsiteY250" fmla="*/ 4116114 h 4268514"/>
              <a:gd name="connsiteX251" fmla="*/ 5275384 w 6775947"/>
              <a:gd name="connsiteY251" fmla="*/ 4086806 h 4268514"/>
              <a:gd name="connsiteX252" fmla="*/ 5404338 w 6775947"/>
              <a:gd name="connsiteY252" fmla="*/ 3998883 h 4268514"/>
              <a:gd name="connsiteX253" fmla="*/ 5498123 w 6775947"/>
              <a:gd name="connsiteY253" fmla="*/ 3910960 h 4268514"/>
              <a:gd name="connsiteX254" fmla="*/ 5550877 w 6775947"/>
              <a:gd name="connsiteY254" fmla="*/ 3875791 h 4268514"/>
              <a:gd name="connsiteX255" fmla="*/ 5715000 w 6775947"/>
              <a:gd name="connsiteY255" fmla="*/ 3699944 h 4268514"/>
              <a:gd name="connsiteX256" fmla="*/ 5802923 w 6775947"/>
              <a:gd name="connsiteY256" fmla="*/ 3594437 h 4268514"/>
              <a:gd name="connsiteX257" fmla="*/ 5838092 w 6775947"/>
              <a:gd name="connsiteY257" fmla="*/ 3524098 h 4268514"/>
              <a:gd name="connsiteX258" fmla="*/ 5879123 w 6775947"/>
              <a:gd name="connsiteY258" fmla="*/ 3453760 h 4268514"/>
              <a:gd name="connsiteX259" fmla="*/ 5908430 w 6775947"/>
              <a:gd name="connsiteY259" fmla="*/ 3424452 h 4268514"/>
              <a:gd name="connsiteX260" fmla="*/ 5926015 w 6775947"/>
              <a:gd name="connsiteY260" fmla="*/ 3389283 h 4268514"/>
              <a:gd name="connsiteX261" fmla="*/ 6119446 w 6775947"/>
              <a:gd name="connsiteY261" fmla="*/ 3195852 h 4268514"/>
              <a:gd name="connsiteX262" fmla="*/ 6236677 w 6775947"/>
              <a:gd name="connsiteY262" fmla="*/ 3072760 h 4268514"/>
              <a:gd name="connsiteX263" fmla="*/ 6318738 w 6775947"/>
              <a:gd name="connsiteY263" fmla="*/ 2937944 h 4268514"/>
              <a:gd name="connsiteX264" fmla="*/ 6330461 w 6775947"/>
              <a:gd name="connsiteY264" fmla="*/ 2879329 h 4268514"/>
              <a:gd name="connsiteX265" fmla="*/ 6453554 w 6775947"/>
              <a:gd name="connsiteY265" fmla="*/ 2551083 h 4268514"/>
              <a:gd name="connsiteX266" fmla="*/ 6547338 w 6775947"/>
              <a:gd name="connsiteY266" fmla="*/ 2375237 h 4268514"/>
              <a:gd name="connsiteX267" fmla="*/ 6629400 w 6775947"/>
              <a:gd name="connsiteY267" fmla="*/ 2240421 h 4268514"/>
              <a:gd name="connsiteX268" fmla="*/ 6646984 w 6775947"/>
              <a:gd name="connsiteY268" fmla="*/ 2205252 h 4268514"/>
              <a:gd name="connsiteX269" fmla="*/ 6705600 w 6775947"/>
              <a:gd name="connsiteY269" fmla="*/ 2152498 h 4268514"/>
              <a:gd name="connsiteX270" fmla="*/ 6723184 w 6775947"/>
              <a:gd name="connsiteY270" fmla="*/ 2099744 h 4268514"/>
              <a:gd name="connsiteX271" fmla="*/ 6764215 w 6775947"/>
              <a:gd name="connsiteY271" fmla="*/ 1859421 h 4268514"/>
              <a:gd name="connsiteX272" fmla="*/ 6764215 w 6775947"/>
              <a:gd name="connsiteY272" fmla="*/ 804344 h 4268514"/>
              <a:gd name="connsiteX273" fmla="*/ 6740769 w 6775947"/>
              <a:gd name="connsiteY273" fmla="*/ 218191 h 4268514"/>
              <a:gd name="connsiteX274" fmla="*/ 6729046 w 6775947"/>
              <a:gd name="connsiteY274" fmla="*/ 147852 h 4268514"/>
              <a:gd name="connsiteX275" fmla="*/ 6723184 w 6775947"/>
              <a:gd name="connsiteY275" fmla="*/ 124406 h 4268514"/>
              <a:gd name="connsiteX276" fmla="*/ 6670430 w 6775947"/>
              <a:gd name="connsiteY276" fmla="*/ 77514 h 4268514"/>
              <a:gd name="connsiteX277" fmla="*/ 6559061 w 6775947"/>
              <a:gd name="connsiteY277" fmla="*/ 48206 h 4268514"/>
              <a:gd name="connsiteX278" fmla="*/ 6506307 w 6775947"/>
              <a:gd name="connsiteY278" fmla="*/ 18898 h 4268514"/>
              <a:gd name="connsiteX279" fmla="*/ 6477000 w 6775947"/>
              <a:gd name="connsiteY279" fmla="*/ 7175 h 4268514"/>
              <a:gd name="connsiteX280" fmla="*/ 6371492 w 6775947"/>
              <a:gd name="connsiteY280" fmla="*/ 36483 h 4268514"/>
              <a:gd name="connsiteX281" fmla="*/ 5597769 w 6775947"/>
              <a:gd name="connsiteY281" fmla="*/ 7175 h 4268514"/>
              <a:gd name="connsiteX282" fmla="*/ 5533292 w 6775947"/>
              <a:gd name="connsiteY282" fmla="*/ 1314 h 4268514"/>
              <a:gd name="connsiteX283" fmla="*/ 5175738 w 6775947"/>
              <a:gd name="connsiteY283" fmla="*/ 7175 h 4268514"/>
              <a:gd name="connsiteX284" fmla="*/ 5064369 w 6775947"/>
              <a:gd name="connsiteY284" fmla="*/ 18898 h 4268514"/>
              <a:gd name="connsiteX285" fmla="*/ 4360984 w 6775947"/>
              <a:gd name="connsiteY285" fmla="*/ 30621 h 4268514"/>
              <a:gd name="connsiteX286" fmla="*/ 4314092 w 6775947"/>
              <a:gd name="connsiteY286" fmla="*/ 83375 h 4268514"/>
              <a:gd name="connsiteX287" fmla="*/ 4302369 w 6775947"/>
              <a:gd name="connsiteY287" fmla="*/ 141991 h 4268514"/>
              <a:gd name="connsiteX0" fmla="*/ 4302369 w 6775947"/>
              <a:gd name="connsiteY0" fmla="*/ 141991 h 4268514"/>
              <a:gd name="connsiteX1" fmla="*/ 4302369 w 6775947"/>
              <a:gd name="connsiteY1" fmla="*/ 141991 h 4268514"/>
              <a:gd name="connsiteX2" fmla="*/ 4232030 w 6775947"/>
              <a:gd name="connsiteY2" fmla="*/ 106821 h 4268514"/>
              <a:gd name="connsiteX3" fmla="*/ 4208584 w 6775947"/>
              <a:gd name="connsiteY3" fmla="*/ 89237 h 4268514"/>
              <a:gd name="connsiteX4" fmla="*/ 4149969 w 6775947"/>
              <a:gd name="connsiteY4" fmla="*/ 71652 h 4268514"/>
              <a:gd name="connsiteX5" fmla="*/ 4097215 w 6775947"/>
              <a:gd name="connsiteY5" fmla="*/ 59929 h 4268514"/>
              <a:gd name="connsiteX6" fmla="*/ 4073769 w 6775947"/>
              <a:gd name="connsiteY6" fmla="*/ 54067 h 4268514"/>
              <a:gd name="connsiteX7" fmla="*/ 3927230 w 6775947"/>
              <a:gd name="connsiteY7" fmla="*/ 42344 h 4268514"/>
              <a:gd name="connsiteX8" fmla="*/ 3745523 w 6775947"/>
              <a:gd name="connsiteY8" fmla="*/ 18898 h 4268514"/>
              <a:gd name="connsiteX9" fmla="*/ 3716215 w 6775947"/>
              <a:gd name="connsiteY9" fmla="*/ 7175 h 4268514"/>
              <a:gd name="connsiteX10" fmla="*/ 3563815 w 6775947"/>
              <a:gd name="connsiteY10" fmla="*/ 7175 h 4268514"/>
              <a:gd name="connsiteX11" fmla="*/ 3499338 w 6775947"/>
              <a:gd name="connsiteY11" fmla="*/ 24760 h 4268514"/>
              <a:gd name="connsiteX12" fmla="*/ 3458307 w 6775947"/>
              <a:gd name="connsiteY12" fmla="*/ 30621 h 4268514"/>
              <a:gd name="connsiteX13" fmla="*/ 3376246 w 6775947"/>
              <a:gd name="connsiteY13" fmla="*/ 42344 h 4268514"/>
              <a:gd name="connsiteX14" fmla="*/ 3352800 w 6775947"/>
              <a:gd name="connsiteY14" fmla="*/ 48206 h 4268514"/>
              <a:gd name="connsiteX15" fmla="*/ 3288323 w 6775947"/>
              <a:gd name="connsiteY15" fmla="*/ 77514 h 4268514"/>
              <a:gd name="connsiteX16" fmla="*/ 3194538 w 6775947"/>
              <a:gd name="connsiteY16" fmla="*/ 95098 h 4268514"/>
              <a:gd name="connsiteX17" fmla="*/ 3112477 w 6775947"/>
              <a:gd name="connsiteY17" fmla="*/ 124406 h 4268514"/>
              <a:gd name="connsiteX18" fmla="*/ 3059723 w 6775947"/>
              <a:gd name="connsiteY18" fmla="*/ 194744 h 4268514"/>
              <a:gd name="connsiteX19" fmla="*/ 2971800 w 6775947"/>
              <a:gd name="connsiteY19" fmla="*/ 335421 h 4268514"/>
              <a:gd name="connsiteX20" fmla="*/ 2960077 w 6775947"/>
              <a:gd name="connsiteY20" fmla="*/ 382314 h 4268514"/>
              <a:gd name="connsiteX21" fmla="*/ 2948354 w 6775947"/>
              <a:gd name="connsiteY21" fmla="*/ 423344 h 4268514"/>
              <a:gd name="connsiteX22" fmla="*/ 2954215 w 6775947"/>
              <a:gd name="connsiteY22" fmla="*/ 698837 h 4268514"/>
              <a:gd name="connsiteX23" fmla="*/ 2971800 w 6775947"/>
              <a:gd name="connsiteY23" fmla="*/ 892267 h 4268514"/>
              <a:gd name="connsiteX24" fmla="*/ 2989384 w 6775947"/>
              <a:gd name="connsiteY24" fmla="*/ 1015360 h 4268514"/>
              <a:gd name="connsiteX25" fmla="*/ 3018692 w 6775947"/>
              <a:gd name="connsiteY25" fmla="*/ 1115006 h 4268514"/>
              <a:gd name="connsiteX26" fmla="*/ 3036277 w 6775947"/>
              <a:gd name="connsiteY26" fmla="*/ 1191206 h 4268514"/>
              <a:gd name="connsiteX27" fmla="*/ 3042138 w 6775947"/>
              <a:gd name="connsiteY27" fmla="*/ 1255683 h 4268514"/>
              <a:gd name="connsiteX28" fmla="*/ 3071446 w 6775947"/>
              <a:gd name="connsiteY28" fmla="*/ 1314298 h 4268514"/>
              <a:gd name="connsiteX29" fmla="*/ 3171092 w 6775947"/>
              <a:gd name="connsiteY29" fmla="*/ 1537037 h 4268514"/>
              <a:gd name="connsiteX30" fmla="*/ 3200400 w 6775947"/>
              <a:gd name="connsiteY30" fmla="*/ 1589791 h 4268514"/>
              <a:gd name="connsiteX31" fmla="*/ 3229707 w 6775947"/>
              <a:gd name="connsiteY31" fmla="*/ 1636683 h 4268514"/>
              <a:gd name="connsiteX32" fmla="*/ 3276600 w 6775947"/>
              <a:gd name="connsiteY32" fmla="*/ 1724606 h 4268514"/>
              <a:gd name="connsiteX33" fmla="*/ 3341077 w 6775947"/>
              <a:gd name="connsiteY33" fmla="*/ 1830114 h 4268514"/>
              <a:gd name="connsiteX34" fmla="*/ 3446584 w 6775947"/>
              <a:gd name="connsiteY34" fmla="*/ 1935621 h 4268514"/>
              <a:gd name="connsiteX35" fmla="*/ 3511061 w 6775947"/>
              <a:gd name="connsiteY35" fmla="*/ 2011821 h 4268514"/>
              <a:gd name="connsiteX36" fmla="*/ 3616569 w 6775947"/>
              <a:gd name="connsiteY36" fmla="*/ 2093883 h 4268514"/>
              <a:gd name="connsiteX37" fmla="*/ 3675184 w 6775947"/>
              <a:gd name="connsiteY37" fmla="*/ 2134914 h 4268514"/>
              <a:gd name="connsiteX38" fmla="*/ 3774830 w 6775947"/>
              <a:gd name="connsiteY38" fmla="*/ 2211114 h 4268514"/>
              <a:gd name="connsiteX39" fmla="*/ 3833446 w 6775947"/>
              <a:gd name="connsiteY39" fmla="*/ 2222837 h 4268514"/>
              <a:gd name="connsiteX40" fmla="*/ 3903784 w 6775947"/>
              <a:gd name="connsiteY40" fmla="*/ 2240421 h 4268514"/>
              <a:gd name="connsiteX41" fmla="*/ 3944815 w 6775947"/>
              <a:gd name="connsiteY41" fmla="*/ 2246283 h 4268514"/>
              <a:gd name="connsiteX42" fmla="*/ 4050323 w 6775947"/>
              <a:gd name="connsiteY42" fmla="*/ 2263867 h 4268514"/>
              <a:gd name="connsiteX43" fmla="*/ 4073769 w 6775947"/>
              <a:gd name="connsiteY43" fmla="*/ 2269729 h 4268514"/>
              <a:gd name="connsiteX44" fmla="*/ 4155830 w 6775947"/>
              <a:gd name="connsiteY44" fmla="*/ 2275591 h 4268514"/>
              <a:gd name="connsiteX45" fmla="*/ 4255477 w 6775947"/>
              <a:gd name="connsiteY45" fmla="*/ 2334206 h 4268514"/>
              <a:gd name="connsiteX46" fmla="*/ 4284784 w 6775947"/>
              <a:gd name="connsiteY46" fmla="*/ 2345929 h 4268514"/>
              <a:gd name="connsiteX47" fmla="*/ 4378569 w 6775947"/>
              <a:gd name="connsiteY47" fmla="*/ 2351791 h 4268514"/>
              <a:gd name="connsiteX48" fmla="*/ 4448907 w 6775947"/>
              <a:gd name="connsiteY48" fmla="*/ 2357652 h 4268514"/>
              <a:gd name="connsiteX49" fmla="*/ 4548554 w 6775947"/>
              <a:gd name="connsiteY49" fmla="*/ 2351791 h 4268514"/>
              <a:gd name="connsiteX50" fmla="*/ 4548553 w 6775947"/>
              <a:gd name="connsiteY50" fmla="*/ 2369375 h 4268514"/>
              <a:gd name="connsiteX51" fmla="*/ 4583722 w 6775947"/>
              <a:gd name="connsiteY51" fmla="*/ 2351791 h 4268514"/>
              <a:gd name="connsiteX52" fmla="*/ 4677507 w 6775947"/>
              <a:gd name="connsiteY52" fmla="*/ 2269729 h 4268514"/>
              <a:gd name="connsiteX53" fmla="*/ 4736123 w 6775947"/>
              <a:gd name="connsiteY53" fmla="*/ 2216976 h 4268514"/>
              <a:gd name="connsiteX54" fmla="*/ 4747846 w 6775947"/>
              <a:gd name="connsiteY54" fmla="*/ 2146637 h 4268514"/>
              <a:gd name="connsiteX55" fmla="*/ 4706815 w 6775947"/>
              <a:gd name="connsiteY55" fmla="*/ 2052852 h 4268514"/>
              <a:gd name="connsiteX56" fmla="*/ 4695092 w 6775947"/>
              <a:gd name="connsiteY56" fmla="*/ 2005960 h 4268514"/>
              <a:gd name="connsiteX57" fmla="*/ 4683369 w 6775947"/>
              <a:gd name="connsiteY57" fmla="*/ 1970791 h 4268514"/>
              <a:gd name="connsiteX58" fmla="*/ 4665784 w 6775947"/>
              <a:gd name="connsiteY58" fmla="*/ 1865283 h 4268514"/>
              <a:gd name="connsiteX59" fmla="*/ 4636477 w 6775947"/>
              <a:gd name="connsiteY59" fmla="*/ 1736329 h 4268514"/>
              <a:gd name="connsiteX60" fmla="*/ 4613030 w 6775947"/>
              <a:gd name="connsiteY60" fmla="*/ 1454975 h 4268514"/>
              <a:gd name="connsiteX61" fmla="*/ 4601307 w 6775947"/>
              <a:gd name="connsiteY61" fmla="*/ 1408083 h 4268514"/>
              <a:gd name="connsiteX62" fmla="*/ 4583723 w 6775947"/>
              <a:gd name="connsiteY62" fmla="*/ 1372914 h 4268514"/>
              <a:gd name="connsiteX63" fmla="*/ 4577861 w 6775947"/>
              <a:gd name="connsiteY63" fmla="*/ 1355329 h 4268514"/>
              <a:gd name="connsiteX64" fmla="*/ 4566138 w 6775947"/>
              <a:gd name="connsiteY64" fmla="*/ 1284991 h 4268514"/>
              <a:gd name="connsiteX65" fmla="*/ 4548554 w 6775947"/>
              <a:gd name="connsiteY65" fmla="*/ 1202929 h 4268514"/>
              <a:gd name="connsiteX66" fmla="*/ 4542692 w 6775947"/>
              <a:gd name="connsiteY66" fmla="*/ 1150175 h 4268514"/>
              <a:gd name="connsiteX67" fmla="*/ 4478215 w 6775947"/>
              <a:gd name="connsiteY67" fmla="*/ 1079837 h 4268514"/>
              <a:gd name="connsiteX68" fmla="*/ 4460630 w 6775947"/>
              <a:gd name="connsiteY68" fmla="*/ 1062252 h 4268514"/>
              <a:gd name="connsiteX69" fmla="*/ 4437184 w 6775947"/>
              <a:gd name="connsiteY69" fmla="*/ 1021221 h 4268514"/>
              <a:gd name="connsiteX70" fmla="*/ 4419600 w 6775947"/>
              <a:gd name="connsiteY70" fmla="*/ 980191 h 4268514"/>
              <a:gd name="connsiteX71" fmla="*/ 4378569 w 6775947"/>
              <a:gd name="connsiteY71" fmla="*/ 862960 h 4268514"/>
              <a:gd name="connsiteX72" fmla="*/ 4325815 w 6775947"/>
              <a:gd name="connsiteY72" fmla="*/ 821929 h 4268514"/>
              <a:gd name="connsiteX73" fmla="*/ 4308230 w 6775947"/>
              <a:gd name="connsiteY73" fmla="*/ 804344 h 4268514"/>
              <a:gd name="connsiteX74" fmla="*/ 4296507 w 6775947"/>
              <a:gd name="connsiteY74" fmla="*/ 757452 h 4268514"/>
              <a:gd name="connsiteX75" fmla="*/ 4308230 w 6775947"/>
              <a:gd name="connsiteY75" fmla="*/ 487821 h 4268514"/>
              <a:gd name="connsiteX76" fmla="*/ 4314092 w 6775947"/>
              <a:gd name="connsiteY76" fmla="*/ 417483 h 4268514"/>
              <a:gd name="connsiteX77" fmla="*/ 4319954 w 6775947"/>
              <a:gd name="connsiteY77" fmla="*/ 394037 h 4268514"/>
              <a:gd name="connsiteX78" fmla="*/ 4337538 w 6775947"/>
              <a:gd name="connsiteY78" fmla="*/ 288529 h 4268514"/>
              <a:gd name="connsiteX79" fmla="*/ 4366846 w 6775947"/>
              <a:gd name="connsiteY79" fmla="*/ 253360 h 4268514"/>
              <a:gd name="connsiteX80" fmla="*/ 4396154 w 6775947"/>
              <a:gd name="connsiteY80" fmla="*/ 224052 h 4268514"/>
              <a:gd name="connsiteX81" fmla="*/ 4413738 w 6775947"/>
              <a:gd name="connsiteY81" fmla="*/ 194744 h 4268514"/>
              <a:gd name="connsiteX82" fmla="*/ 4495800 w 6775947"/>
              <a:gd name="connsiteY82" fmla="*/ 136129 h 4268514"/>
              <a:gd name="connsiteX83" fmla="*/ 4554415 w 6775947"/>
              <a:gd name="connsiteY83" fmla="*/ 106821 h 4268514"/>
              <a:gd name="connsiteX84" fmla="*/ 4613030 w 6775947"/>
              <a:gd name="connsiteY84" fmla="*/ 83375 h 4268514"/>
              <a:gd name="connsiteX85" fmla="*/ 4671646 w 6775947"/>
              <a:gd name="connsiteY85" fmla="*/ 77514 h 4268514"/>
              <a:gd name="connsiteX86" fmla="*/ 5246077 w 6775947"/>
              <a:gd name="connsiteY86" fmla="*/ 71652 h 4268514"/>
              <a:gd name="connsiteX87" fmla="*/ 5304692 w 6775947"/>
              <a:gd name="connsiteY87" fmla="*/ 83375 h 4268514"/>
              <a:gd name="connsiteX88" fmla="*/ 5345723 w 6775947"/>
              <a:gd name="connsiteY88" fmla="*/ 89237 h 4268514"/>
              <a:gd name="connsiteX89" fmla="*/ 5527430 w 6775947"/>
              <a:gd name="connsiteY89" fmla="*/ 95098 h 4268514"/>
              <a:gd name="connsiteX90" fmla="*/ 5545015 w 6775947"/>
              <a:gd name="connsiteY90" fmla="*/ 100960 h 4268514"/>
              <a:gd name="connsiteX91" fmla="*/ 5586046 w 6775947"/>
              <a:gd name="connsiteY91" fmla="*/ 136129 h 4268514"/>
              <a:gd name="connsiteX92" fmla="*/ 5615354 w 6775947"/>
              <a:gd name="connsiteY92" fmla="*/ 159575 h 4268514"/>
              <a:gd name="connsiteX93" fmla="*/ 5632938 w 6775947"/>
              <a:gd name="connsiteY93" fmla="*/ 165437 h 4268514"/>
              <a:gd name="connsiteX94" fmla="*/ 5656384 w 6775947"/>
              <a:gd name="connsiteY94" fmla="*/ 183021 h 4268514"/>
              <a:gd name="connsiteX95" fmla="*/ 5709138 w 6775947"/>
              <a:gd name="connsiteY95" fmla="*/ 218191 h 4268514"/>
              <a:gd name="connsiteX96" fmla="*/ 5738446 w 6775947"/>
              <a:gd name="connsiteY96" fmla="*/ 247498 h 4268514"/>
              <a:gd name="connsiteX97" fmla="*/ 5756030 w 6775947"/>
              <a:gd name="connsiteY97" fmla="*/ 282667 h 4268514"/>
              <a:gd name="connsiteX98" fmla="*/ 5791200 w 6775947"/>
              <a:gd name="connsiteY98" fmla="*/ 341283 h 4268514"/>
              <a:gd name="connsiteX99" fmla="*/ 5756030 w 6775947"/>
              <a:gd name="connsiteY99" fmla="*/ 593329 h 4268514"/>
              <a:gd name="connsiteX100" fmla="*/ 5709138 w 6775947"/>
              <a:gd name="connsiteY100" fmla="*/ 751591 h 4268514"/>
              <a:gd name="connsiteX101" fmla="*/ 5650523 w 6775947"/>
              <a:gd name="connsiteY101" fmla="*/ 880544 h 4268514"/>
              <a:gd name="connsiteX102" fmla="*/ 5597769 w 6775947"/>
              <a:gd name="connsiteY102" fmla="*/ 1009498 h 4268514"/>
              <a:gd name="connsiteX103" fmla="*/ 5591907 w 6775947"/>
              <a:gd name="connsiteY103" fmla="*/ 1038806 h 4268514"/>
              <a:gd name="connsiteX104" fmla="*/ 5586046 w 6775947"/>
              <a:gd name="connsiteY104" fmla="*/ 1056391 h 4268514"/>
              <a:gd name="connsiteX105" fmla="*/ 5556738 w 6775947"/>
              <a:gd name="connsiteY105" fmla="*/ 1173621 h 4268514"/>
              <a:gd name="connsiteX106" fmla="*/ 5515707 w 6775947"/>
              <a:gd name="connsiteY106" fmla="*/ 1279129 h 4268514"/>
              <a:gd name="connsiteX107" fmla="*/ 5480538 w 6775947"/>
              <a:gd name="connsiteY107" fmla="*/ 1396360 h 4268514"/>
              <a:gd name="connsiteX108" fmla="*/ 5468815 w 6775947"/>
              <a:gd name="connsiteY108" fmla="*/ 1425667 h 4268514"/>
              <a:gd name="connsiteX109" fmla="*/ 5439507 w 6775947"/>
              <a:gd name="connsiteY109" fmla="*/ 1478421 h 4268514"/>
              <a:gd name="connsiteX110" fmla="*/ 5421923 w 6775947"/>
              <a:gd name="connsiteY110" fmla="*/ 1531175 h 4268514"/>
              <a:gd name="connsiteX111" fmla="*/ 5392615 w 6775947"/>
              <a:gd name="connsiteY111" fmla="*/ 1607375 h 4268514"/>
              <a:gd name="connsiteX112" fmla="*/ 5369169 w 6775947"/>
              <a:gd name="connsiteY112" fmla="*/ 1677714 h 4268514"/>
              <a:gd name="connsiteX113" fmla="*/ 5351584 w 6775947"/>
              <a:gd name="connsiteY113" fmla="*/ 1835975 h 4268514"/>
              <a:gd name="connsiteX114" fmla="*/ 5339861 w 6775947"/>
              <a:gd name="connsiteY114" fmla="*/ 1865283 h 4268514"/>
              <a:gd name="connsiteX115" fmla="*/ 5334000 w 6775947"/>
              <a:gd name="connsiteY115" fmla="*/ 1888729 h 4268514"/>
              <a:gd name="connsiteX116" fmla="*/ 5316415 w 6775947"/>
              <a:gd name="connsiteY116" fmla="*/ 1970791 h 4268514"/>
              <a:gd name="connsiteX117" fmla="*/ 5292969 w 6775947"/>
              <a:gd name="connsiteY117" fmla="*/ 2005960 h 4268514"/>
              <a:gd name="connsiteX118" fmla="*/ 5269523 w 6775947"/>
              <a:gd name="connsiteY118" fmla="*/ 2052852 h 4268514"/>
              <a:gd name="connsiteX119" fmla="*/ 5257800 w 6775947"/>
              <a:gd name="connsiteY119" fmla="*/ 2076298 h 4268514"/>
              <a:gd name="connsiteX120" fmla="*/ 5240215 w 6775947"/>
              <a:gd name="connsiteY120" fmla="*/ 2099744 h 4268514"/>
              <a:gd name="connsiteX121" fmla="*/ 5234354 w 6775947"/>
              <a:gd name="connsiteY121" fmla="*/ 2129052 h 4268514"/>
              <a:gd name="connsiteX122" fmla="*/ 5222630 w 6775947"/>
              <a:gd name="connsiteY122" fmla="*/ 2140775 h 4268514"/>
              <a:gd name="connsiteX123" fmla="*/ 5210907 w 6775947"/>
              <a:gd name="connsiteY123" fmla="*/ 2164221 h 4268514"/>
              <a:gd name="connsiteX124" fmla="*/ 5193323 w 6775947"/>
              <a:gd name="connsiteY124" fmla="*/ 2187667 h 4268514"/>
              <a:gd name="connsiteX125" fmla="*/ 5175738 w 6775947"/>
              <a:gd name="connsiteY125" fmla="*/ 2263867 h 4268514"/>
              <a:gd name="connsiteX126" fmla="*/ 5193323 w 6775947"/>
              <a:gd name="connsiteY126" fmla="*/ 2328344 h 4268514"/>
              <a:gd name="connsiteX127" fmla="*/ 5210907 w 6775947"/>
              <a:gd name="connsiteY127" fmla="*/ 2357652 h 4268514"/>
              <a:gd name="connsiteX128" fmla="*/ 5228492 w 6775947"/>
              <a:gd name="connsiteY128" fmla="*/ 2363514 h 4268514"/>
              <a:gd name="connsiteX129" fmla="*/ 5281246 w 6775947"/>
              <a:gd name="connsiteY129" fmla="*/ 2427991 h 4268514"/>
              <a:gd name="connsiteX130" fmla="*/ 5287107 w 6775947"/>
              <a:gd name="connsiteY130" fmla="*/ 2556944 h 4268514"/>
              <a:gd name="connsiteX131" fmla="*/ 5298830 w 6775947"/>
              <a:gd name="connsiteY131" fmla="*/ 2615560 h 4268514"/>
              <a:gd name="connsiteX132" fmla="*/ 5310554 w 6775947"/>
              <a:gd name="connsiteY132" fmla="*/ 2721067 h 4268514"/>
              <a:gd name="connsiteX133" fmla="*/ 5316415 w 6775947"/>
              <a:gd name="connsiteY133" fmla="*/ 2885191 h 4268514"/>
              <a:gd name="connsiteX134" fmla="*/ 5357446 w 6775947"/>
              <a:gd name="connsiteY134" fmla="*/ 2978975 h 4268514"/>
              <a:gd name="connsiteX135" fmla="*/ 5363307 w 6775947"/>
              <a:gd name="connsiteY135" fmla="*/ 3014144 h 4268514"/>
              <a:gd name="connsiteX136" fmla="*/ 5380892 w 6775947"/>
              <a:gd name="connsiteY136" fmla="*/ 3037591 h 4268514"/>
              <a:gd name="connsiteX137" fmla="*/ 5386754 w 6775947"/>
              <a:gd name="connsiteY137" fmla="*/ 3084483 h 4268514"/>
              <a:gd name="connsiteX138" fmla="*/ 5404338 w 6775947"/>
              <a:gd name="connsiteY138" fmla="*/ 3131375 h 4268514"/>
              <a:gd name="connsiteX139" fmla="*/ 5404338 w 6775947"/>
              <a:gd name="connsiteY139" fmla="*/ 3324806 h 4268514"/>
              <a:gd name="connsiteX140" fmla="*/ 5398477 w 6775947"/>
              <a:gd name="connsiteY140" fmla="*/ 3823037 h 4268514"/>
              <a:gd name="connsiteX141" fmla="*/ 5380892 w 6775947"/>
              <a:gd name="connsiteY141" fmla="*/ 3881652 h 4268514"/>
              <a:gd name="connsiteX142" fmla="*/ 5369169 w 6775947"/>
              <a:gd name="connsiteY142" fmla="*/ 3916821 h 4268514"/>
              <a:gd name="connsiteX143" fmla="*/ 5339861 w 6775947"/>
              <a:gd name="connsiteY143" fmla="*/ 3946129 h 4268514"/>
              <a:gd name="connsiteX144" fmla="*/ 5322277 w 6775947"/>
              <a:gd name="connsiteY144" fmla="*/ 3981298 h 4268514"/>
              <a:gd name="connsiteX145" fmla="*/ 5257800 w 6775947"/>
              <a:gd name="connsiteY145" fmla="*/ 4057498 h 4268514"/>
              <a:gd name="connsiteX146" fmla="*/ 5228492 w 6775947"/>
              <a:gd name="connsiteY146" fmla="*/ 4080944 h 4268514"/>
              <a:gd name="connsiteX147" fmla="*/ 5146430 w 6775947"/>
              <a:gd name="connsiteY147" fmla="*/ 4121975 h 4268514"/>
              <a:gd name="connsiteX148" fmla="*/ 5117123 w 6775947"/>
              <a:gd name="connsiteY148" fmla="*/ 4139560 h 4268514"/>
              <a:gd name="connsiteX149" fmla="*/ 5087815 w 6775947"/>
              <a:gd name="connsiteY149" fmla="*/ 4145421 h 4268514"/>
              <a:gd name="connsiteX150" fmla="*/ 4988169 w 6775947"/>
              <a:gd name="connsiteY150" fmla="*/ 4163006 h 4268514"/>
              <a:gd name="connsiteX151" fmla="*/ 4753707 w 6775947"/>
              <a:gd name="connsiteY151" fmla="*/ 4151283 h 4268514"/>
              <a:gd name="connsiteX152" fmla="*/ 4695092 w 6775947"/>
              <a:gd name="connsiteY152" fmla="*/ 4139560 h 4268514"/>
              <a:gd name="connsiteX153" fmla="*/ 4589584 w 6775947"/>
              <a:gd name="connsiteY153" fmla="*/ 4151283 h 4268514"/>
              <a:gd name="connsiteX154" fmla="*/ 4560277 w 6775947"/>
              <a:gd name="connsiteY154" fmla="*/ 4163006 h 4268514"/>
              <a:gd name="connsiteX155" fmla="*/ 4484077 w 6775947"/>
              <a:gd name="connsiteY155" fmla="*/ 4180591 h 4268514"/>
              <a:gd name="connsiteX156" fmla="*/ 4443046 w 6775947"/>
              <a:gd name="connsiteY156" fmla="*/ 4198175 h 4268514"/>
              <a:gd name="connsiteX157" fmla="*/ 4413738 w 6775947"/>
              <a:gd name="connsiteY157" fmla="*/ 4204037 h 4268514"/>
              <a:gd name="connsiteX158" fmla="*/ 4355123 w 6775947"/>
              <a:gd name="connsiteY158" fmla="*/ 4215760 h 4268514"/>
              <a:gd name="connsiteX159" fmla="*/ 4273061 w 6775947"/>
              <a:gd name="connsiteY159" fmla="*/ 4209898 h 4268514"/>
              <a:gd name="connsiteX160" fmla="*/ 4185138 w 6775947"/>
              <a:gd name="connsiteY160" fmla="*/ 4198175 h 4268514"/>
              <a:gd name="connsiteX161" fmla="*/ 4155830 w 6775947"/>
              <a:gd name="connsiteY161" fmla="*/ 4209898 h 4268514"/>
              <a:gd name="connsiteX162" fmla="*/ 4138246 w 6775947"/>
              <a:gd name="connsiteY162" fmla="*/ 4215760 h 4268514"/>
              <a:gd name="connsiteX163" fmla="*/ 3991707 w 6775947"/>
              <a:gd name="connsiteY163" fmla="*/ 4227483 h 4268514"/>
              <a:gd name="connsiteX164" fmla="*/ 3933092 w 6775947"/>
              <a:gd name="connsiteY164" fmla="*/ 4250929 h 4268514"/>
              <a:gd name="connsiteX165" fmla="*/ 3915507 w 6775947"/>
              <a:gd name="connsiteY165" fmla="*/ 4262652 h 4268514"/>
              <a:gd name="connsiteX166" fmla="*/ 3704492 w 6775947"/>
              <a:gd name="connsiteY166" fmla="*/ 4268514 h 4268514"/>
              <a:gd name="connsiteX167" fmla="*/ 3552092 w 6775947"/>
              <a:gd name="connsiteY167" fmla="*/ 4233344 h 4268514"/>
              <a:gd name="connsiteX168" fmla="*/ 3452446 w 6775947"/>
              <a:gd name="connsiteY168" fmla="*/ 4227483 h 4268514"/>
              <a:gd name="connsiteX169" fmla="*/ 3264877 w 6775947"/>
              <a:gd name="connsiteY169" fmla="*/ 4192314 h 4268514"/>
              <a:gd name="connsiteX170" fmla="*/ 3253154 w 6775947"/>
              <a:gd name="connsiteY170" fmla="*/ 4069221 h 4268514"/>
              <a:gd name="connsiteX171" fmla="*/ 3276600 w 6775947"/>
              <a:gd name="connsiteY171" fmla="*/ 3828898 h 4268514"/>
              <a:gd name="connsiteX172" fmla="*/ 3264877 w 6775947"/>
              <a:gd name="connsiteY172" fmla="*/ 3664775 h 4268514"/>
              <a:gd name="connsiteX173" fmla="*/ 3259015 w 6775947"/>
              <a:gd name="connsiteY173" fmla="*/ 3623744 h 4268514"/>
              <a:gd name="connsiteX174" fmla="*/ 3247292 w 6775947"/>
              <a:gd name="connsiteY174" fmla="*/ 3600298 h 4268514"/>
              <a:gd name="connsiteX175" fmla="*/ 3229707 w 6775947"/>
              <a:gd name="connsiteY175" fmla="*/ 3535821 h 4268514"/>
              <a:gd name="connsiteX176" fmla="*/ 3194538 w 6775947"/>
              <a:gd name="connsiteY176" fmla="*/ 3459621 h 4268514"/>
              <a:gd name="connsiteX177" fmla="*/ 3153507 w 6775947"/>
              <a:gd name="connsiteY177" fmla="*/ 3354114 h 4268514"/>
              <a:gd name="connsiteX178" fmla="*/ 3135923 w 6775947"/>
              <a:gd name="connsiteY178" fmla="*/ 3231021 h 4268514"/>
              <a:gd name="connsiteX179" fmla="*/ 3118338 w 6775947"/>
              <a:gd name="connsiteY179" fmla="*/ 3184129 h 4268514"/>
              <a:gd name="connsiteX180" fmla="*/ 3094892 w 6775947"/>
              <a:gd name="connsiteY180" fmla="*/ 2633144 h 4268514"/>
              <a:gd name="connsiteX181" fmla="*/ 3048000 w 6775947"/>
              <a:gd name="connsiteY181" fmla="*/ 2498329 h 4268514"/>
              <a:gd name="connsiteX182" fmla="*/ 3012830 w 6775947"/>
              <a:gd name="connsiteY182" fmla="*/ 2386960 h 4268514"/>
              <a:gd name="connsiteX183" fmla="*/ 3006969 w 6775947"/>
              <a:gd name="connsiteY183" fmla="*/ 2299037 h 4268514"/>
              <a:gd name="connsiteX184" fmla="*/ 2995246 w 6775947"/>
              <a:gd name="connsiteY184" fmla="*/ 1988375 h 4268514"/>
              <a:gd name="connsiteX185" fmla="*/ 2965938 w 6775947"/>
              <a:gd name="connsiteY185" fmla="*/ 1818391 h 4268514"/>
              <a:gd name="connsiteX186" fmla="*/ 2960077 w 6775947"/>
              <a:gd name="connsiteY186" fmla="*/ 1689437 h 4268514"/>
              <a:gd name="connsiteX187" fmla="*/ 2936630 w 6775947"/>
              <a:gd name="connsiteY187" fmla="*/ 1583929 h 4268514"/>
              <a:gd name="connsiteX188" fmla="*/ 2924907 w 6775947"/>
              <a:gd name="connsiteY188" fmla="*/ 1542898 h 4268514"/>
              <a:gd name="connsiteX189" fmla="*/ 2901461 w 6775947"/>
              <a:gd name="connsiteY189" fmla="*/ 1425667 h 4268514"/>
              <a:gd name="connsiteX190" fmla="*/ 2872154 w 6775947"/>
              <a:gd name="connsiteY190" fmla="*/ 1302575 h 4268514"/>
              <a:gd name="connsiteX191" fmla="*/ 2848707 w 6775947"/>
              <a:gd name="connsiteY191" fmla="*/ 1191206 h 4268514"/>
              <a:gd name="connsiteX192" fmla="*/ 2836984 w 6775947"/>
              <a:gd name="connsiteY192" fmla="*/ 1056391 h 4268514"/>
              <a:gd name="connsiteX193" fmla="*/ 2819400 w 6775947"/>
              <a:gd name="connsiteY193" fmla="*/ 968467 h 4268514"/>
              <a:gd name="connsiteX194" fmla="*/ 2813538 w 6775947"/>
              <a:gd name="connsiteY194" fmla="*/ 909852 h 4268514"/>
              <a:gd name="connsiteX195" fmla="*/ 2801815 w 6775947"/>
              <a:gd name="connsiteY195" fmla="*/ 816067 h 4268514"/>
              <a:gd name="connsiteX196" fmla="*/ 2795954 w 6775947"/>
              <a:gd name="connsiteY196" fmla="*/ 476098 h 4268514"/>
              <a:gd name="connsiteX197" fmla="*/ 2784230 w 6775947"/>
              <a:gd name="connsiteY197" fmla="*/ 335421 h 4268514"/>
              <a:gd name="connsiteX198" fmla="*/ 2754923 w 6775947"/>
              <a:gd name="connsiteY198" fmla="*/ 276806 h 4268514"/>
              <a:gd name="connsiteX199" fmla="*/ 2708030 w 6775947"/>
              <a:gd name="connsiteY199" fmla="*/ 177160 h 4268514"/>
              <a:gd name="connsiteX200" fmla="*/ 2702169 w 6775947"/>
              <a:gd name="connsiteY200" fmla="*/ 159575 h 4268514"/>
              <a:gd name="connsiteX201" fmla="*/ 2678723 w 6775947"/>
              <a:gd name="connsiteY201" fmla="*/ 130267 h 4268514"/>
              <a:gd name="connsiteX202" fmla="*/ 2602523 w 6775947"/>
              <a:gd name="connsiteY202" fmla="*/ 112683 h 4268514"/>
              <a:gd name="connsiteX203" fmla="*/ 2584938 w 6775947"/>
              <a:gd name="connsiteY203" fmla="*/ 106821 h 4268514"/>
              <a:gd name="connsiteX204" fmla="*/ 2514600 w 6775947"/>
              <a:gd name="connsiteY204" fmla="*/ 100960 h 4268514"/>
              <a:gd name="connsiteX205" fmla="*/ 2467707 w 6775947"/>
              <a:gd name="connsiteY205" fmla="*/ 36483 h 4268514"/>
              <a:gd name="connsiteX206" fmla="*/ 2403230 w 6775947"/>
              <a:gd name="connsiteY206" fmla="*/ 30621 h 4268514"/>
              <a:gd name="connsiteX207" fmla="*/ 2321169 w 6775947"/>
              <a:gd name="connsiteY207" fmla="*/ 24760 h 4268514"/>
              <a:gd name="connsiteX208" fmla="*/ 1793630 w 6775947"/>
              <a:gd name="connsiteY208" fmla="*/ 30621 h 4268514"/>
              <a:gd name="connsiteX209" fmla="*/ 1752600 w 6775947"/>
              <a:gd name="connsiteY209" fmla="*/ 42344 h 4268514"/>
              <a:gd name="connsiteX210" fmla="*/ 1717430 w 6775947"/>
              <a:gd name="connsiteY210" fmla="*/ 59929 h 4268514"/>
              <a:gd name="connsiteX211" fmla="*/ 1652954 w 6775947"/>
              <a:gd name="connsiteY211" fmla="*/ 65791 h 4268514"/>
              <a:gd name="connsiteX212" fmla="*/ 1371600 w 6775947"/>
              <a:gd name="connsiteY212" fmla="*/ 54067 h 4268514"/>
              <a:gd name="connsiteX213" fmla="*/ 826477 w 6775947"/>
              <a:gd name="connsiteY213" fmla="*/ 36483 h 4268514"/>
              <a:gd name="connsiteX214" fmla="*/ 451338 w 6775947"/>
              <a:gd name="connsiteY214" fmla="*/ 42344 h 4268514"/>
              <a:gd name="connsiteX215" fmla="*/ 375138 w 6775947"/>
              <a:gd name="connsiteY215" fmla="*/ 65791 h 4268514"/>
              <a:gd name="connsiteX216" fmla="*/ 199292 w 6775947"/>
              <a:gd name="connsiteY216" fmla="*/ 159575 h 4268514"/>
              <a:gd name="connsiteX217" fmla="*/ 146538 w 6775947"/>
              <a:gd name="connsiteY217" fmla="*/ 194744 h 4268514"/>
              <a:gd name="connsiteX218" fmla="*/ 29307 w 6775947"/>
              <a:gd name="connsiteY218" fmla="*/ 528852 h 4268514"/>
              <a:gd name="connsiteX219" fmla="*/ 0 w 6775947"/>
              <a:gd name="connsiteY219" fmla="*/ 898129 h 4268514"/>
              <a:gd name="connsiteX220" fmla="*/ 23446 w 6775947"/>
              <a:gd name="connsiteY220" fmla="*/ 2041129 h 4268514"/>
              <a:gd name="connsiteX221" fmla="*/ 93784 w 6775947"/>
              <a:gd name="connsiteY221" fmla="*/ 2316621 h 4268514"/>
              <a:gd name="connsiteX222" fmla="*/ 433754 w 6775947"/>
              <a:gd name="connsiteY222" fmla="*/ 2937944 h 4268514"/>
              <a:gd name="connsiteX223" fmla="*/ 662354 w 6775947"/>
              <a:gd name="connsiteY223" fmla="*/ 3231021 h 4268514"/>
              <a:gd name="connsiteX224" fmla="*/ 785446 w 6775947"/>
              <a:gd name="connsiteY224" fmla="*/ 3395144 h 4268514"/>
              <a:gd name="connsiteX225" fmla="*/ 1066800 w 6775947"/>
              <a:gd name="connsiteY225" fmla="*/ 3746837 h 4268514"/>
              <a:gd name="connsiteX226" fmla="*/ 1436077 w 6775947"/>
              <a:gd name="connsiteY226" fmla="*/ 4004744 h 4268514"/>
              <a:gd name="connsiteX227" fmla="*/ 1735015 w 6775947"/>
              <a:gd name="connsiteY227" fmla="*/ 4139560 h 4268514"/>
              <a:gd name="connsiteX228" fmla="*/ 1817077 w 6775947"/>
              <a:gd name="connsiteY228" fmla="*/ 4174729 h 4268514"/>
              <a:gd name="connsiteX229" fmla="*/ 1893277 w 6775947"/>
              <a:gd name="connsiteY229" fmla="*/ 4209898 h 4268514"/>
              <a:gd name="connsiteX230" fmla="*/ 2039815 w 6775947"/>
              <a:gd name="connsiteY230" fmla="*/ 4221621 h 4268514"/>
              <a:gd name="connsiteX231" fmla="*/ 2250830 w 6775947"/>
              <a:gd name="connsiteY231" fmla="*/ 4198175 h 4268514"/>
              <a:gd name="connsiteX232" fmla="*/ 2286000 w 6775947"/>
              <a:gd name="connsiteY232" fmla="*/ 4192314 h 4268514"/>
              <a:gd name="connsiteX233" fmla="*/ 2450123 w 6775947"/>
              <a:gd name="connsiteY233" fmla="*/ 4198175 h 4268514"/>
              <a:gd name="connsiteX234" fmla="*/ 2567354 w 6775947"/>
              <a:gd name="connsiteY234" fmla="*/ 4209898 h 4268514"/>
              <a:gd name="connsiteX235" fmla="*/ 2608384 w 6775947"/>
              <a:gd name="connsiteY235" fmla="*/ 4215760 h 4268514"/>
              <a:gd name="connsiteX236" fmla="*/ 2813538 w 6775947"/>
              <a:gd name="connsiteY236" fmla="*/ 4221621 h 4268514"/>
              <a:gd name="connsiteX237" fmla="*/ 2924907 w 6775947"/>
              <a:gd name="connsiteY237" fmla="*/ 4233344 h 4268514"/>
              <a:gd name="connsiteX238" fmla="*/ 2960077 w 6775947"/>
              <a:gd name="connsiteY238" fmla="*/ 4239206 h 4268514"/>
              <a:gd name="connsiteX239" fmla="*/ 3006969 w 6775947"/>
              <a:gd name="connsiteY239" fmla="*/ 4245067 h 4268514"/>
              <a:gd name="connsiteX240" fmla="*/ 3106615 w 6775947"/>
              <a:gd name="connsiteY240" fmla="*/ 4262652 h 4268514"/>
              <a:gd name="connsiteX241" fmla="*/ 3130061 w 6775947"/>
              <a:gd name="connsiteY241" fmla="*/ 4268514 h 4268514"/>
              <a:gd name="connsiteX242" fmla="*/ 3294184 w 6775947"/>
              <a:gd name="connsiteY242" fmla="*/ 4262652 h 4268514"/>
              <a:gd name="connsiteX243" fmla="*/ 3323492 w 6775947"/>
              <a:gd name="connsiteY243" fmla="*/ 4256791 h 4268514"/>
              <a:gd name="connsiteX244" fmla="*/ 3364523 w 6775947"/>
              <a:gd name="connsiteY244" fmla="*/ 4250929 h 4268514"/>
              <a:gd name="connsiteX245" fmla="*/ 4525107 w 6775947"/>
              <a:gd name="connsiteY245" fmla="*/ 4256791 h 4268514"/>
              <a:gd name="connsiteX246" fmla="*/ 4759569 w 6775947"/>
              <a:gd name="connsiteY246" fmla="*/ 4209898 h 4268514"/>
              <a:gd name="connsiteX247" fmla="*/ 5175738 w 6775947"/>
              <a:gd name="connsiteY247" fmla="*/ 4186452 h 4268514"/>
              <a:gd name="connsiteX248" fmla="*/ 5216769 w 6775947"/>
              <a:gd name="connsiteY248" fmla="*/ 4157144 h 4268514"/>
              <a:gd name="connsiteX249" fmla="*/ 5234354 w 6775947"/>
              <a:gd name="connsiteY249" fmla="*/ 4133698 h 4268514"/>
              <a:gd name="connsiteX250" fmla="*/ 5251938 w 6775947"/>
              <a:gd name="connsiteY250" fmla="*/ 4116114 h 4268514"/>
              <a:gd name="connsiteX251" fmla="*/ 5275384 w 6775947"/>
              <a:gd name="connsiteY251" fmla="*/ 4086806 h 4268514"/>
              <a:gd name="connsiteX252" fmla="*/ 5404338 w 6775947"/>
              <a:gd name="connsiteY252" fmla="*/ 3998883 h 4268514"/>
              <a:gd name="connsiteX253" fmla="*/ 5498123 w 6775947"/>
              <a:gd name="connsiteY253" fmla="*/ 3910960 h 4268514"/>
              <a:gd name="connsiteX254" fmla="*/ 5550877 w 6775947"/>
              <a:gd name="connsiteY254" fmla="*/ 3875791 h 4268514"/>
              <a:gd name="connsiteX255" fmla="*/ 5715000 w 6775947"/>
              <a:gd name="connsiteY255" fmla="*/ 3699944 h 4268514"/>
              <a:gd name="connsiteX256" fmla="*/ 5802923 w 6775947"/>
              <a:gd name="connsiteY256" fmla="*/ 3594437 h 4268514"/>
              <a:gd name="connsiteX257" fmla="*/ 5838092 w 6775947"/>
              <a:gd name="connsiteY257" fmla="*/ 3524098 h 4268514"/>
              <a:gd name="connsiteX258" fmla="*/ 5879123 w 6775947"/>
              <a:gd name="connsiteY258" fmla="*/ 3453760 h 4268514"/>
              <a:gd name="connsiteX259" fmla="*/ 5908430 w 6775947"/>
              <a:gd name="connsiteY259" fmla="*/ 3424452 h 4268514"/>
              <a:gd name="connsiteX260" fmla="*/ 5926015 w 6775947"/>
              <a:gd name="connsiteY260" fmla="*/ 3389283 h 4268514"/>
              <a:gd name="connsiteX261" fmla="*/ 6119446 w 6775947"/>
              <a:gd name="connsiteY261" fmla="*/ 3195852 h 4268514"/>
              <a:gd name="connsiteX262" fmla="*/ 6236677 w 6775947"/>
              <a:gd name="connsiteY262" fmla="*/ 3072760 h 4268514"/>
              <a:gd name="connsiteX263" fmla="*/ 6318738 w 6775947"/>
              <a:gd name="connsiteY263" fmla="*/ 2937944 h 4268514"/>
              <a:gd name="connsiteX264" fmla="*/ 6330461 w 6775947"/>
              <a:gd name="connsiteY264" fmla="*/ 2879329 h 4268514"/>
              <a:gd name="connsiteX265" fmla="*/ 6453554 w 6775947"/>
              <a:gd name="connsiteY265" fmla="*/ 2551083 h 4268514"/>
              <a:gd name="connsiteX266" fmla="*/ 6547338 w 6775947"/>
              <a:gd name="connsiteY266" fmla="*/ 2375237 h 4268514"/>
              <a:gd name="connsiteX267" fmla="*/ 6629400 w 6775947"/>
              <a:gd name="connsiteY267" fmla="*/ 2240421 h 4268514"/>
              <a:gd name="connsiteX268" fmla="*/ 6646984 w 6775947"/>
              <a:gd name="connsiteY268" fmla="*/ 2205252 h 4268514"/>
              <a:gd name="connsiteX269" fmla="*/ 6705600 w 6775947"/>
              <a:gd name="connsiteY269" fmla="*/ 2152498 h 4268514"/>
              <a:gd name="connsiteX270" fmla="*/ 6723184 w 6775947"/>
              <a:gd name="connsiteY270" fmla="*/ 2099744 h 4268514"/>
              <a:gd name="connsiteX271" fmla="*/ 6764215 w 6775947"/>
              <a:gd name="connsiteY271" fmla="*/ 1859421 h 4268514"/>
              <a:gd name="connsiteX272" fmla="*/ 6764215 w 6775947"/>
              <a:gd name="connsiteY272" fmla="*/ 804344 h 4268514"/>
              <a:gd name="connsiteX273" fmla="*/ 6740769 w 6775947"/>
              <a:gd name="connsiteY273" fmla="*/ 218191 h 4268514"/>
              <a:gd name="connsiteX274" fmla="*/ 6729046 w 6775947"/>
              <a:gd name="connsiteY274" fmla="*/ 147852 h 4268514"/>
              <a:gd name="connsiteX275" fmla="*/ 6723184 w 6775947"/>
              <a:gd name="connsiteY275" fmla="*/ 124406 h 4268514"/>
              <a:gd name="connsiteX276" fmla="*/ 6670430 w 6775947"/>
              <a:gd name="connsiteY276" fmla="*/ 77514 h 4268514"/>
              <a:gd name="connsiteX277" fmla="*/ 6559061 w 6775947"/>
              <a:gd name="connsiteY277" fmla="*/ 48206 h 4268514"/>
              <a:gd name="connsiteX278" fmla="*/ 6506307 w 6775947"/>
              <a:gd name="connsiteY278" fmla="*/ 18898 h 4268514"/>
              <a:gd name="connsiteX279" fmla="*/ 6477000 w 6775947"/>
              <a:gd name="connsiteY279" fmla="*/ 7175 h 4268514"/>
              <a:gd name="connsiteX280" fmla="*/ 6371492 w 6775947"/>
              <a:gd name="connsiteY280" fmla="*/ 36483 h 4268514"/>
              <a:gd name="connsiteX281" fmla="*/ 5597769 w 6775947"/>
              <a:gd name="connsiteY281" fmla="*/ 7175 h 4268514"/>
              <a:gd name="connsiteX282" fmla="*/ 5533292 w 6775947"/>
              <a:gd name="connsiteY282" fmla="*/ 1314 h 4268514"/>
              <a:gd name="connsiteX283" fmla="*/ 5175738 w 6775947"/>
              <a:gd name="connsiteY283" fmla="*/ 7175 h 4268514"/>
              <a:gd name="connsiteX284" fmla="*/ 5064369 w 6775947"/>
              <a:gd name="connsiteY284" fmla="*/ 18898 h 4268514"/>
              <a:gd name="connsiteX285" fmla="*/ 4360984 w 6775947"/>
              <a:gd name="connsiteY285" fmla="*/ 30621 h 4268514"/>
              <a:gd name="connsiteX286" fmla="*/ 4314092 w 6775947"/>
              <a:gd name="connsiteY286" fmla="*/ 83375 h 4268514"/>
              <a:gd name="connsiteX287" fmla="*/ 4302369 w 6775947"/>
              <a:gd name="connsiteY287" fmla="*/ 141991 h 4268514"/>
              <a:gd name="connsiteX0" fmla="*/ 4302369 w 6775947"/>
              <a:gd name="connsiteY0" fmla="*/ 141991 h 4268514"/>
              <a:gd name="connsiteX1" fmla="*/ 4302369 w 6775947"/>
              <a:gd name="connsiteY1" fmla="*/ 141991 h 4268514"/>
              <a:gd name="connsiteX2" fmla="*/ 4232030 w 6775947"/>
              <a:gd name="connsiteY2" fmla="*/ 106821 h 4268514"/>
              <a:gd name="connsiteX3" fmla="*/ 4208584 w 6775947"/>
              <a:gd name="connsiteY3" fmla="*/ 89237 h 4268514"/>
              <a:gd name="connsiteX4" fmla="*/ 4149969 w 6775947"/>
              <a:gd name="connsiteY4" fmla="*/ 71652 h 4268514"/>
              <a:gd name="connsiteX5" fmla="*/ 4097215 w 6775947"/>
              <a:gd name="connsiteY5" fmla="*/ 59929 h 4268514"/>
              <a:gd name="connsiteX6" fmla="*/ 4073769 w 6775947"/>
              <a:gd name="connsiteY6" fmla="*/ 54067 h 4268514"/>
              <a:gd name="connsiteX7" fmla="*/ 3927230 w 6775947"/>
              <a:gd name="connsiteY7" fmla="*/ 42344 h 4268514"/>
              <a:gd name="connsiteX8" fmla="*/ 3745523 w 6775947"/>
              <a:gd name="connsiteY8" fmla="*/ 18898 h 4268514"/>
              <a:gd name="connsiteX9" fmla="*/ 3716215 w 6775947"/>
              <a:gd name="connsiteY9" fmla="*/ 7175 h 4268514"/>
              <a:gd name="connsiteX10" fmla="*/ 3563815 w 6775947"/>
              <a:gd name="connsiteY10" fmla="*/ 7175 h 4268514"/>
              <a:gd name="connsiteX11" fmla="*/ 3499338 w 6775947"/>
              <a:gd name="connsiteY11" fmla="*/ 24760 h 4268514"/>
              <a:gd name="connsiteX12" fmla="*/ 3458307 w 6775947"/>
              <a:gd name="connsiteY12" fmla="*/ 30621 h 4268514"/>
              <a:gd name="connsiteX13" fmla="*/ 3376246 w 6775947"/>
              <a:gd name="connsiteY13" fmla="*/ 42344 h 4268514"/>
              <a:gd name="connsiteX14" fmla="*/ 3352800 w 6775947"/>
              <a:gd name="connsiteY14" fmla="*/ 48206 h 4268514"/>
              <a:gd name="connsiteX15" fmla="*/ 3288323 w 6775947"/>
              <a:gd name="connsiteY15" fmla="*/ 77514 h 4268514"/>
              <a:gd name="connsiteX16" fmla="*/ 3194538 w 6775947"/>
              <a:gd name="connsiteY16" fmla="*/ 95098 h 4268514"/>
              <a:gd name="connsiteX17" fmla="*/ 3112477 w 6775947"/>
              <a:gd name="connsiteY17" fmla="*/ 124406 h 4268514"/>
              <a:gd name="connsiteX18" fmla="*/ 3059723 w 6775947"/>
              <a:gd name="connsiteY18" fmla="*/ 194744 h 4268514"/>
              <a:gd name="connsiteX19" fmla="*/ 2971800 w 6775947"/>
              <a:gd name="connsiteY19" fmla="*/ 335421 h 4268514"/>
              <a:gd name="connsiteX20" fmla="*/ 2960077 w 6775947"/>
              <a:gd name="connsiteY20" fmla="*/ 382314 h 4268514"/>
              <a:gd name="connsiteX21" fmla="*/ 2948354 w 6775947"/>
              <a:gd name="connsiteY21" fmla="*/ 423344 h 4268514"/>
              <a:gd name="connsiteX22" fmla="*/ 2954215 w 6775947"/>
              <a:gd name="connsiteY22" fmla="*/ 698837 h 4268514"/>
              <a:gd name="connsiteX23" fmla="*/ 2971800 w 6775947"/>
              <a:gd name="connsiteY23" fmla="*/ 892267 h 4268514"/>
              <a:gd name="connsiteX24" fmla="*/ 2989384 w 6775947"/>
              <a:gd name="connsiteY24" fmla="*/ 1015360 h 4268514"/>
              <a:gd name="connsiteX25" fmla="*/ 3018692 w 6775947"/>
              <a:gd name="connsiteY25" fmla="*/ 1115006 h 4268514"/>
              <a:gd name="connsiteX26" fmla="*/ 3036277 w 6775947"/>
              <a:gd name="connsiteY26" fmla="*/ 1191206 h 4268514"/>
              <a:gd name="connsiteX27" fmla="*/ 3042138 w 6775947"/>
              <a:gd name="connsiteY27" fmla="*/ 1255683 h 4268514"/>
              <a:gd name="connsiteX28" fmla="*/ 3071446 w 6775947"/>
              <a:gd name="connsiteY28" fmla="*/ 1314298 h 4268514"/>
              <a:gd name="connsiteX29" fmla="*/ 3171092 w 6775947"/>
              <a:gd name="connsiteY29" fmla="*/ 1537037 h 4268514"/>
              <a:gd name="connsiteX30" fmla="*/ 3200400 w 6775947"/>
              <a:gd name="connsiteY30" fmla="*/ 1589791 h 4268514"/>
              <a:gd name="connsiteX31" fmla="*/ 3229707 w 6775947"/>
              <a:gd name="connsiteY31" fmla="*/ 1636683 h 4268514"/>
              <a:gd name="connsiteX32" fmla="*/ 3276600 w 6775947"/>
              <a:gd name="connsiteY32" fmla="*/ 1724606 h 4268514"/>
              <a:gd name="connsiteX33" fmla="*/ 3341077 w 6775947"/>
              <a:gd name="connsiteY33" fmla="*/ 1830114 h 4268514"/>
              <a:gd name="connsiteX34" fmla="*/ 3446584 w 6775947"/>
              <a:gd name="connsiteY34" fmla="*/ 1935621 h 4268514"/>
              <a:gd name="connsiteX35" fmla="*/ 3511061 w 6775947"/>
              <a:gd name="connsiteY35" fmla="*/ 2011821 h 4268514"/>
              <a:gd name="connsiteX36" fmla="*/ 3616569 w 6775947"/>
              <a:gd name="connsiteY36" fmla="*/ 2093883 h 4268514"/>
              <a:gd name="connsiteX37" fmla="*/ 3675184 w 6775947"/>
              <a:gd name="connsiteY37" fmla="*/ 2134914 h 4268514"/>
              <a:gd name="connsiteX38" fmla="*/ 3774830 w 6775947"/>
              <a:gd name="connsiteY38" fmla="*/ 2211114 h 4268514"/>
              <a:gd name="connsiteX39" fmla="*/ 3833446 w 6775947"/>
              <a:gd name="connsiteY39" fmla="*/ 2222837 h 4268514"/>
              <a:gd name="connsiteX40" fmla="*/ 3903784 w 6775947"/>
              <a:gd name="connsiteY40" fmla="*/ 2240421 h 4268514"/>
              <a:gd name="connsiteX41" fmla="*/ 3944815 w 6775947"/>
              <a:gd name="connsiteY41" fmla="*/ 2246283 h 4268514"/>
              <a:gd name="connsiteX42" fmla="*/ 4050323 w 6775947"/>
              <a:gd name="connsiteY42" fmla="*/ 2263867 h 4268514"/>
              <a:gd name="connsiteX43" fmla="*/ 4073769 w 6775947"/>
              <a:gd name="connsiteY43" fmla="*/ 2269729 h 4268514"/>
              <a:gd name="connsiteX44" fmla="*/ 4155830 w 6775947"/>
              <a:gd name="connsiteY44" fmla="*/ 2275591 h 4268514"/>
              <a:gd name="connsiteX45" fmla="*/ 4255477 w 6775947"/>
              <a:gd name="connsiteY45" fmla="*/ 2334206 h 4268514"/>
              <a:gd name="connsiteX46" fmla="*/ 4284784 w 6775947"/>
              <a:gd name="connsiteY46" fmla="*/ 2345929 h 4268514"/>
              <a:gd name="connsiteX47" fmla="*/ 4378569 w 6775947"/>
              <a:gd name="connsiteY47" fmla="*/ 2351791 h 4268514"/>
              <a:gd name="connsiteX48" fmla="*/ 4448907 w 6775947"/>
              <a:gd name="connsiteY48" fmla="*/ 2357652 h 4268514"/>
              <a:gd name="connsiteX49" fmla="*/ 4548554 w 6775947"/>
              <a:gd name="connsiteY49" fmla="*/ 2351791 h 4268514"/>
              <a:gd name="connsiteX50" fmla="*/ 4548553 w 6775947"/>
              <a:gd name="connsiteY50" fmla="*/ 2369375 h 4268514"/>
              <a:gd name="connsiteX51" fmla="*/ 4583722 w 6775947"/>
              <a:gd name="connsiteY51" fmla="*/ 2351791 h 4268514"/>
              <a:gd name="connsiteX52" fmla="*/ 4677507 w 6775947"/>
              <a:gd name="connsiteY52" fmla="*/ 2269729 h 4268514"/>
              <a:gd name="connsiteX53" fmla="*/ 4736123 w 6775947"/>
              <a:gd name="connsiteY53" fmla="*/ 2216976 h 4268514"/>
              <a:gd name="connsiteX54" fmla="*/ 4747846 w 6775947"/>
              <a:gd name="connsiteY54" fmla="*/ 2146637 h 4268514"/>
              <a:gd name="connsiteX55" fmla="*/ 4706815 w 6775947"/>
              <a:gd name="connsiteY55" fmla="*/ 2052852 h 4268514"/>
              <a:gd name="connsiteX56" fmla="*/ 4695092 w 6775947"/>
              <a:gd name="connsiteY56" fmla="*/ 2005960 h 4268514"/>
              <a:gd name="connsiteX57" fmla="*/ 4683369 w 6775947"/>
              <a:gd name="connsiteY57" fmla="*/ 1970791 h 4268514"/>
              <a:gd name="connsiteX58" fmla="*/ 4665784 w 6775947"/>
              <a:gd name="connsiteY58" fmla="*/ 1865283 h 4268514"/>
              <a:gd name="connsiteX59" fmla="*/ 4636477 w 6775947"/>
              <a:gd name="connsiteY59" fmla="*/ 1736329 h 4268514"/>
              <a:gd name="connsiteX60" fmla="*/ 4613030 w 6775947"/>
              <a:gd name="connsiteY60" fmla="*/ 1454975 h 4268514"/>
              <a:gd name="connsiteX61" fmla="*/ 4601307 w 6775947"/>
              <a:gd name="connsiteY61" fmla="*/ 1408083 h 4268514"/>
              <a:gd name="connsiteX62" fmla="*/ 4583723 w 6775947"/>
              <a:gd name="connsiteY62" fmla="*/ 1372914 h 4268514"/>
              <a:gd name="connsiteX63" fmla="*/ 4577861 w 6775947"/>
              <a:gd name="connsiteY63" fmla="*/ 1355329 h 4268514"/>
              <a:gd name="connsiteX64" fmla="*/ 4566138 w 6775947"/>
              <a:gd name="connsiteY64" fmla="*/ 1284991 h 4268514"/>
              <a:gd name="connsiteX65" fmla="*/ 4548554 w 6775947"/>
              <a:gd name="connsiteY65" fmla="*/ 1202929 h 4268514"/>
              <a:gd name="connsiteX66" fmla="*/ 4542692 w 6775947"/>
              <a:gd name="connsiteY66" fmla="*/ 1150175 h 4268514"/>
              <a:gd name="connsiteX67" fmla="*/ 4478215 w 6775947"/>
              <a:gd name="connsiteY67" fmla="*/ 1079837 h 4268514"/>
              <a:gd name="connsiteX68" fmla="*/ 4460630 w 6775947"/>
              <a:gd name="connsiteY68" fmla="*/ 1062252 h 4268514"/>
              <a:gd name="connsiteX69" fmla="*/ 4437184 w 6775947"/>
              <a:gd name="connsiteY69" fmla="*/ 1021221 h 4268514"/>
              <a:gd name="connsiteX70" fmla="*/ 4419600 w 6775947"/>
              <a:gd name="connsiteY70" fmla="*/ 980191 h 4268514"/>
              <a:gd name="connsiteX71" fmla="*/ 4378569 w 6775947"/>
              <a:gd name="connsiteY71" fmla="*/ 862960 h 4268514"/>
              <a:gd name="connsiteX72" fmla="*/ 4325815 w 6775947"/>
              <a:gd name="connsiteY72" fmla="*/ 821929 h 4268514"/>
              <a:gd name="connsiteX73" fmla="*/ 4308230 w 6775947"/>
              <a:gd name="connsiteY73" fmla="*/ 804344 h 4268514"/>
              <a:gd name="connsiteX74" fmla="*/ 4296507 w 6775947"/>
              <a:gd name="connsiteY74" fmla="*/ 757452 h 4268514"/>
              <a:gd name="connsiteX75" fmla="*/ 4308230 w 6775947"/>
              <a:gd name="connsiteY75" fmla="*/ 487821 h 4268514"/>
              <a:gd name="connsiteX76" fmla="*/ 4314092 w 6775947"/>
              <a:gd name="connsiteY76" fmla="*/ 417483 h 4268514"/>
              <a:gd name="connsiteX77" fmla="*/ 4319954 w 6775947"/>
              <a:gd name="connsiteY77" fmla="*/ 394037 h 4268514"/>
              <a:gd name="connsiteX78" fmla="*/ 4337538 w 6775947"/>
              <a:gd name="connsiteY78" fmla="*/ 288529 h 4268514"/>
              <a:gd name="connsiteX79" fmla="*/ 4366846 w 6775947"/>
              <a:gd name="connsiteY79" fmla="*/ 253360 h 4268514"/>
              <a:gd name="connsiteX80" fmla="*/ 4396154 w 6775947"/>
              <a:gd name="connsiteY80" fmla="*/ 224052 h 4268514"/>
              <a:gd name="connsiteX81" fmla="*/ 4413738 w 6775947"/>
              <a:gd name="connsiteY81" fmla="*/ 194744 h 4268514"/>
              <a:gd name="connsiteX82" fmla="*/ 4495800 w 6775947"/>
              <a:gd name="connsiteY82" fmla="*/ 136129 h 4268514"/>
              <a:gd name="connsiteX83" fmla="*/ 4554415 w 6775947"/>
              <a:gd name="connsiteY83" fmla="*/ 106821 h 4268514"/>
              <a:gd name="connsiteX84" fmla="*/ 4613030 w 6775947"/>
              <a:gd name="connsiteY84" fmla="*/ 83375 h 4268514"/>
              <a:gd name="connsiteX85" fmla="*/ 4671646 w 6775947"/>
              <a:gd name="connsiteY85" fmla="*/ 77514 h 4268514"/>
              <a:gd name="connsiteX86" fmla="*/ 5246077 w 6775947"/>
              <a:gd name="connsiteY86" fmla="*/ 71652 h 4268514"/>
              <a:gd name="connsiteX87" fmla="*/ 5304692 w 6775947"/>
              <a:gd name="connsiteY87" fmla="*/ 83375 h 4268514"/>
              <a:gd name="connsiteX88" fmla="*/ 5345723 w 6775947"/>
              <a:gd name="connsiteY88" fmla="*/ 89237 h 4268514"/>
              <a:gd name="connsiteX89" fmla="*/ 5527430 w 6775947"/>
              <a:gd name="connsiteY89" fmla="*/ 95098 h 4268514"/>
              <a:gd name="connsiteX90" fmla="*/ 5545015 w 6775947"/>
              <a:gd name="connsiteY90" fmla="*/ 100960 h 4268514"/>
              <a:gd name="connsiteX91" fmla="*/ 5586046 w 6775947"/>
              <a:gd name="connsiteY91" fmla="*/ 136129 h 4268514"/>
              <a:gd name="connsiteX92" fmla="*/ 5615354 w 6775947"/>
              <a:gd name="connsiteY92" fmla="*/ 159575 h 4268514"/>
              <a:gd name="connsiteX93" fmla="*/ 5632938 w 6775947"/>
              <a:gd name="connsiteY93" fmla="*/ 165437 h 4268514"/>
              <a:gd name="connsiteX94" fmla="*/ 5656384 w 6775947"/>
              <a:gd name="connsiteY94" fmla="*/ 183021 h 4268514"/>
              <a:gd name="connsiteX95" fmla="*/ 5709138 w 6775947"/>
              <a:gd name="connsiteY95" fmla="*/ 218191 h 4268514"/>
              <a:gd name="connsiteX96" fmla="*/ 5738446 w 6775947"/>
              <a:gd name="connsiteY96" fmla="*/ 247498 h 4268514"/>
              <a:gd name="connsiteX97" fmla="*/ 5756030 w 6775947"/>
              <a:gd name="connsiteY97" fmla="*/ 282667 h 4268514"/>
              <a:gd name="connsiteX98" fmla="*/ 5791200 w 6775947"/>
              <a:gd name="connsiteY98" fmla="*/ 341283 h 4268514"/>
              <a:gd name="connsiteX99" fmla="*/ 5756030 w 6775947"/>
              <a:gd name="connsiteY99" fmla="*/ 593329 h 4268514"/>
              <a:gd name="connsiteX100" fmla="*/ 5709138 w 6775947"/>
              <a:gd name="connsiteY100" fmla="*/ 751591 h 4268514"/>
              <a:gd name="connsiteX101" fmla="*/ 5650523 w 6775947"/>
              <a:gd name="connsiteY101" fmla="*/ 880544 h 4268514"/>
              <a:gd name="connsiteX102" fmla="*/ 5597769 w 6775947"/>
              <a:gd name="connsiteY102" fmla="*/ 1009498 h 4268514"/>
              <a:gd name="connsiteX103" fmla="*/ 5591907 w 6775947"/>
              <a:gd name="connsiteY103" fmla="*/ 1038806 h 4268514"/>
              <a:gd name="connsiteX104" fmla="*/ 5586046 w 6775947"/>
              <a:gd name="connsiteY104" fmla="*/ 1056391 h 4268514"/>
              <a:gd name="connsiteX105" fmla="*/ 5556738 w 6775947"/>
              <a:gd name="connsiteY105" fmla="*/ 1173621 h 4268514"/>
              <a:gd name="connsiteX106" fmla="*/ 5515707 w 6775947"/>
              <a:gd name="connsiteY106" fmla="*/ 1279129 h 4268514"/>
              <a:gd name="connsiteX107" fmla="*/ 5480538 w 6775947"/>
              <a:gd name="connsiteY107" fmla="*/ 1396360 h 4268514"/>
              <a:gd name="connsiteX108" fmla="*/ 5468815 w 6775947"/>
              <a:gd name="connsiteY108" fmla="*/ 1425667 h 4268514"/>
              <a:gd name="connsiteX109" fmla="*/ 5439507 w 6775947"/>
              <a:gd name="connsiteY109" fmla="*/ 1478421 h 4268514"/>
              <a:gd name="connsiteX110" fmla="*/ 5421923 w 6775947"/>
              <a:gd name="connsiteY110" fmla="*/ 1531175 h 4268514"/>
              <a:gd name="connsiteX111" fmla="*/ 5392615 w 6775947"/>
              <a:gd name="connsiteY111" fmla="*/ 1607375 h 4268514"/>
              <a:gd name="connsiteX112" fmla="*/ 5369169 w 6775947"/>
              <a:gd name="connsiteY112" fmla="*/ 1677714 h 4268514"/>
              <a:gd name="connsiteX113" fmla="*/ 5351584 w 6775947"/>
              <a:gd name="connsiteY113" fmla="*/ 1835975 h 4268514"/>
              <a:gd name="connsiteX114" fmla="*/ 5339861 w 6775947"/>
              <a:gd name="connsiteY114" fmla="*/ 1865283 h 4268514"/>
              <a:gd name="connsiteX115" fmla="*/ 5334000 w 6775947"/>
              <a:gd name="connsiteY115" fmla="*/ 1888729 h 4268514"/>
              <a:gd name="connsiteX116" fmla="*/ 5316415 w 6775947"/>
              <a:gd name="connsiteY116" fmla="*/ 1970791 h 4268514"/>
              <a:gd name="connsiteX117" fmla="*/ 5292969 w 6775947"/>
              <a:gd name="connsiteY117" fmla="*/ 2005960 h 4268514"/>
              <a:gd name="connsiteX118" fmla="*/ 5269523 w 6775947"/>
              <a:gd name="connsiteY118" fmla="*/ 2052852 h 4268514"/>
              <a:gd name="connsiteX119" fmla="*/ 5257800 w 6775947"/>
              <a:gd name="connsiteY119" fmla="*/ 2076298 h 4268514"/>
              <a:gd name="connsiteX120" fmla="*/ 5240215 w 6775947"/>
              <a:gd name="connsiteY120" fmla="*/ 2099744 h 4268514"/>
              <a:gd name="connsiteX121" fmla="*/ 5234354 w 6775947"/>
              <a:gd name="connsiteY121" fmla="*/ 2129052 h 4268514"/>
              <a:gd name="connsiteX122" fmla="*/ 5222630 w 6775947"/>
              <a:gd name="connsiteY122" fmla="*/ 2140775 h 4268514"/>
              <a:gd name="connsiteX123" fmla="*/ 5210907 w 6775947"/>
              <a:gd name="connsiteY123" fmla="*/ 2164221 h 4268514"/>
              <a:gd name="connsiteX124" fmla="*/ 5193323 w 6775947"/>
              <a:gd name="connsiteY124" fmla="*/ 2187667 h 4268514"/>
              <a:gd name="connsiteX125" fmla="*/ 5175738 w 6775947"/>
              <a:gd name="connsiteY125" fmla="*/ 2263867 h 4268514"/>
              <a:gd name="connsiteX126" fmla="*/ 5216769 w 6775947"/>
              <a:gd name="connsiteY126" fmla="*/ 2304898 h 4268514"/>
              <a:gd name="connsiteX127" fmla="*/ 5210907 w 6775947"/>
              <a:gd name="connsiteY127" fmla="*/ 2357652 h 4268514"/>
              <a:gd name="connsiteX128" fmla="*/ 5228492 w 6775947"/>
              <a:gd name="connsiteY128" fmla="*/ 2363514 h 4268514"/>
              <a:gd name="connsiteX129" fmla="*/ 5281246 w 6775947"/>
              <a:gd name="connsiteY129" fmla="*/ 2427991 h 4268514"/>
              <a:gd name="connsiteX130" fmla="*/ 5287107 w 6775947"/>
              <a:gd name="connsiteY130" fmla="*/ 2556944 h 4268514"/>
              <a:gd name="connsiteX131" fmla="*/ 5298830 w 6775947"/>
              <a:gd name="connsiteY131" fmla="*/ 2615560 h 4268514"/>
              <a:gd name="connsiteX132" fmla="*/ 5310554 w 6775947"/>
              <a:gd name="connsiteY132" fmla="*/ 2721067 h 4268514"/>
              <a:gd name="connsiteX133" fmla="*/ 5316415 w 6775947"/>
              <a:gd name="connsiteY133" fmla="*/ 2885191 h 4268514"/>
              <a:gd name="connsiteX134" fmla="*/ 5357446 w 6775947"/>
              <a:gd name="connsiteY134" fmla="*/ 2978975 h 4268514"/>
              <a:gd name="connsiteX135" fmla="*/ 5363307 w 6775947"/>
              <a:gd name="connsiteY135" fmla="*/ 3014144 h 4268514"/>
              <a:gd name="connsiteX136" fmla="*/ 5380892 w 6775947"/>
              <a:gd name="connsiteY136" fmla="*/ 3037591 h 4268514"/>
              <a:gd name="connsiteX137" fmla="*/ 5386754 w 6775947"/>
              <a:gd name="connsiteY137" fmla="*/ 3084483 h 4268514"/>
              <a:gd name="connsiteX138" fmla="*/ 5404338 w 6775947"/>
              <a:gd name="connsiteY138" fmla="*/ 3131375 h 4268514"/>
              <a:gd name="connsiteX139" fmla="*/ 5404338 w 6775947"/>
              <a:gd name="connsiteY139" fmla="*/ 3324806 h 4268514"/>
              <a:gd name="connsiteX140" fmla="*/ 5398477 w 6775947"/>
              <a:gd name="connsiteY140" fmla="*/ 3823037 h 4268514"/>
              <a:gd name="connsiteX141" fmla="*/ 5380892 w 6775947"/>
              <a:gd name="connsiteY141" fmla="*/ 3881652 h 4268514"/>
              <a:gd name="connsiteX142" fmla="*/ 5369169 w 6775947"/>
              <a:gd name="connsiteY142" fmla="*/ 3916821 h 4268514"/>
              <a:gd name="connsiteX143" fmla="*/ 5339861 w 6775947"/>
              <a:gd name="connsiteY143" fmla="*/ 3946129 h 4268514"/>
              <a:gd name="connsiteX144" fmla="*/ 5322277 w 6775947"/>
              <a:gd name="connsiteY144" fmla="*/ 3981298 h 4268514"/>
              <a:gd name="connsiteX145" fmla="*/ 5257800 w 6775947"/>
              <a:gd name="connsiteY145" fmla="*/ 4057498 h 4268514"/>
              <a:gd name="connsiteX146" fmla="*/ 5228492 w 6775947"/>
              <a:gd name="connsiteY146" fmla="*/ 4080944 h 4268514"/>
              <a:gd name="connsiteX147" fmla="*/ 5146430 w 6775947"/>
              <a:gd name="connsiteY147" fmla="*/ 4121975 h 4268514"/>
              <a:gd name="connsiteX148" fmla="*/ 5117123 w 6775947"/>
              <a:gd name="connsiteY148" fmla="*/ 4139560 h 4268514"/>
              <a:gd name="connsiteX149" fmla="*/ 5087815 w 6775947"/>
              <a:gd name="connsiteY149" fmla="*/ 4145421 h 4268514"/>
              <a:gd name="connsiteX150" fmla="*/ 4988169 w 6775947"/>
              <a:gd name="connsiteY150" fmla="*/ 4163006 h 4268514"/>
              <a:gd name="connsiteX151" fmla="*/ 4753707 w 6775947"/>
              <a:gd name="connsiteY151" fmla="*/ 4151283 h 4268514"/>
              <a:gd name="connsiteX152" fmla="*/ 4695092 w 6775947"/>
              <a:gd name="connsiteY152" fmla="*/ 4139560 h 4268514"/>
              <a:gd name="connsiteX153" fmla="*/ 4589584 w 6775947"/>
              <a:gd name="connsiteY153" fmla="*/ 4151283 h 4268514"/>
              <a:gd name="connsiteX154" fmla="*/ 4560277 w 6775947"/>
              <a:gd name="connsiteY154" fmla="*/ 4163006 h 4268514"/>
              <a:gd name="connsiteX155" fmla="*/ 4484077 w 6775947"/>
              <a:gd name="connsiteY155" fmla="*/ 4180591 h 4268514"/>
              <a:gd name="connsiteX156" fmla="*/ 4443046 w 6775947"/>
              <a:gd name="connsiteY156" fmla="*/ 4198175 h 4268514"/>
              <a:gd name="connsiteX157" fmla="*/ 4413738 w 6775947"/>
              <a:gd name="connsiteY157" fmla="*/ 4204037 h 4268514"/>
              <a:gd name="connsiteX158" fmla="*/ 4355123 w 6775947"/>
              <a:gd name="connsiteY158" fmla="*/ 4215760 h 4268514"/>
              <a:gd name="connsiteX159" fmla="*/ 4273061 w 6775947"/>
              <a:gd name="connsiteY159" fmla="*/ 4209898 h 4268514"/>
              <a:gd name="connsiteX160" fmla="*/ 4185138 w 6775947"/>
              <a:gd name="connsiteY160" fmla="*/ 4198175 h 4268514"/>
              <a:gd name="connsiteX161" fmla="*/ 4155830 w 6775947"/>
              <a:gd name="connsiteY161" fmla="*/ 4209898 h 4268514"/>
              <a:gd name="connsiteX162" fmla="*/ 4138246 w 6775947"/>
              <a:gd name="connsiteY162" fmla="*/ 4215760 h 4268514"/>
              <a:gd name="connsiteX163" fmla="*/ 3991707 w 6775947"/>
              <a:gd name="connsiteY163" fmla="*/ 4227483 h 4268514"/>
              <a:gd name="connsiteX164" fmla="*/ 3933092 w 6775947"/>
              <a:gd name="connsiteY164" fmla="*/ 4250929 h 4268514"/>
              <a:gd name="connsiteX165" fmla="*/ 3915507 w 6775947"/>
              <a:gd name="connsiteY165" fmla="*/ 4262652 h 4268514"/>
              <a:gd name="connsiteX166" fmla="*/ 3704492 w 6775947"/>
              <a:gd name="connsiteY166" fmla="*/ 4268514 h 4268514"/>
              <a:gd name="connsiteX167" fmla="*/ 3552092 w 6775947"/>
              <a:gd name="connsiteY167" fmla="*/ 4233344 h 4268514"/>
              <a:gd name="connsiteX168" fmla="*/ 3452446 w 6775947"/>
              <a:gd name="connsiteY168" fmla="*/ 4227483 h 4268514"/>
              <a:gd name="connsiteX169" fmla="*/ 3264877 w 6775947"/>
              <a:gd name="connsiteY169" fmla="*/ 4192314 h 4268514"/>
              <a:gd name="connsiteX170" fmla="*/ 3253154 w 6775947"/>
              <a:gd name="connsiteY170" fmla="*/ 4069221 h 4268514"/>
              <a:gd name="connsiteX171" fmla="*/ 3276600 w 6775947"/>
              <a:gd name="connsiteY171" fmla="*/ 3828898 h 4268514"/>
              <a:gd name="connsiteX172" fmla="*/ 3264877 w 6775947"/>
              <a:gd name="connsiteY172" fmla="*/ 3664775 h 4268514"/>
              <a:gd name="connsiteX173" fmla="*/ 3259015 w 6775947"/>
              <a:gd name="connsiteY173" fmla="*/ 3623744 h 4268514"/>
              <a:gd name="connsiteX174" fmla="*/ 3247292 w 6775947"/>
              <a:gd name="connsiteY174" fmla="*/ 3600298 h 4268514"/>
              <a:gd name="connsiteX175" fmla="*/ 3229707 w 6775947"/>
              <a:gd name="connsiteY175" fmla="*/ 3535821 h 4268514"/>
              <a:gd name="connsiteX176" fmla="*/ 3194538 w 6775947"/>
              <a:gd name="connsiteY176" fmla="*/ 3459621 h 4268514"/>
              <a:gd name="connsiteX177" fmla="*/ 3153507 w 6775947"/>
              <a:gd name="connsiteY177" fmla="*/ 3354114 h 4268514"/>
              <a:gd name="connsiteX178" fmla="*/ 3135923 w 6775947"/>
              <a:gd name="connsiteY178" fmla="*/ 3231021 h 4268514"/>
              <a:gd name="connsiteX179" fmla="*/ 3118338 w 6775947"/>
              <a:gd name="connsiteY179" fmla="*/ 3184129 h 4268514"/>
              <a:gd name="connsiteX180" fmla="*/ 3094892 w 6775947"/>
              <a:gd name="connsiteY180" fmla="*/ 2633144 h 4268514"/>
              <a:gd name="connsiteX181" fmla="*/ 3048000 w 6775947"/>
              <a:gd name="connsiteY181" fmla="*/ 2498329 h 4268514"/>
              <a:gd name="connsiteX182" fmla="*/ 3012830 w 6775947"/>
              <a:gd name="connsiteY182" fmla="*/ 2386960 h 4268514"/>
              <a:gd name="connsiteX183" fmla="*/ 3006969 w 6775947"/>
              <a:gd name="connsiteY183" fmla="*/ 2299037 h 4268514"/>
              <a:gd name="connsiteX184" fmla="*/ 2995246 w 6775947"/>
              <a:gd name="connsiteY184" fmla="*/ 1988375 h 4268514"/>
              <a:gd name="connsiteX185" fmla="*/ 2965938 w 6775947"/>
              <a:gd name="connsiteY185" fmla="*/ 1818391 h 4268514"/>
              <a:gd name="connsiteX186" fmla="*/ 2960077 w 6775947"/>
              <a:gd name="connsiteY186" fmla="*/ 1689437 h 4268514"/>
              <a:gd name="connsiteX187" fmla="*/ 2936630 w 6775947"/>
              <a:gd name="connsiteY187" fmla="*/ 1583929 h 4268514"/>
              <a:gd name="connsiteX188" fmla="*/ 2924907 w 6775947"/>
              <a:gd name="connsiteY188" fmla="*/ 1542898 h 4268514"/>
              <a:gd name="connsiteX189" fmla="*/ 2901461 w 6775947"/>
              <a:gd name="connsiteY189" fmla="*/ 1425667 h 4268514"/>
              <a:gd name="connsiteX190" fmla="*/ 2872154 w 6775947"/>
              <a:gd name="connsiteY190" fmla="*/ 1302575 h 4268514"/>
              <a:gd name="connsiteX191" fmla="*/ 2848707 w 6775947"/>
              <a:gd name="connsiteY191" fmla="*/ 1191206 h 4268514"/>
              <a:gd name="connsiteX192" fmla="*/ 2836984 w 6775947"/>
              <a:gd name="connsiteY192" fmla="*/ 1056391 h 4268514"/>
              <a:gd name="connsiteX193" fmla="*/ 2819400 w 6775947"/>
              <a:gd name="connsiteY193" fmla="*/ 968467 h 4268514"/>
              <a:gd name="connsiteX194" fmla="*/ 2813538 w 6775947"/>
              <a:gd name="connsiteY194" fmla="*/ 909852 h 4268514"/>
              <a:gd name="connsiteX195" fmla="*/ 2801815 w 6775947"/>
              <a:gd name="connsiteY195" fmla="*/ 816067 h 4268514"/>
              <a:gd name="connsiteX196" fmla="*/ 2795954 w 6775947"/>
              <a:gd name="connsiteY196" fmla="*/ 476098 h 4268514"/>
              <a:gd name="connsiteX197" fmla="*/ 2784230 w 6775947"/>
              <a:gd name="connsiteY197" fmla="*/ 335421 h 4268514"/>
              <a:gd name="connsiteX198" fmla="*/ 2754923 w 6775947"/>
              <a:gd name="connsiteY198" fmla="*/ 276806 h 4268514"/>
              <a:gd name="connsiteX199" fmla="*/ 2708030 w 6775947"/>
              <a:gd name="connsiteY199" fmla="*/ 177160 h 4268514"/>
              <a:gd name="connsiteX200" fmla="*/ 2702169 w 6775947"/>
              <a:gd name="connsiteY200" fmla="*/ 159575 h 4268514"/>
              <a:gd name="connsiteX201" fmla="*/ 2678723 w 6775947"/>
              <a:gd name="connsiteY201" fmla="*/ 130267 h 4268514"/>
              <a:gd name="connsiteX202" fmla="*/ 2602523 w 6775947"/>
              <a:gd name="connsiteY202" fmla="*/ 112683 h 4268514"/>
              <a:gd name="connsiteX203" fmla="*/ 2584938 w 6775947"/>
              <a:gd name="connsiteY203" fmla="*/ 106821 h 4268514"/>
              <a:gd name="connsiteX204" fmla="*/ 2514600 w 6775947"/>
              <a:gd name="connsiteY204" fmla="*/ 100960 h 4268514"/>
              <a:gd name="connsiteX205" fmla="*/ 2467707 w 6775947"/>
              <a:gd name="connsiteY205" fmla="*/ 36483 h 4268514"/>
              <a:gd name="connsiteX206" fmla="*/ 2403230 w 6775947"/>
              <a:gd name="connsiteY206" fmla="*/ 30621 h 4268514"/>
              <a:gd name="connsiteX207" fmla="*/ 2321169 w 6775947"/>
              <a:gd name="connsiteY207" fmla="*/ 24760 h 4268514"/>
              <a:gd name="connsiteX208" fmla="*/ 1793630 w 6775947"/>
              <a:gd name="connsiteY208" fmla="*/ 30621 h 4268514"/>
              <a:gd name="connsiteX209" fmla="*/ 1752600 w 6775947"/>
              <a:gd name="connsiteY209" fmla="*/ 42344 h 4268514"/>
              <a:gd name="connsiteX210" fmla="*/ 1717430 w 6775947"/>
              <a:gd name="connsiteY210" fmla="*/ 59929 h 4268514"/>
              <a:gd name="connsiteX211" fmla="*/ 1652954 w 6775947"/>
              <a:gd name="connsiteY211" fmla="*/ 65791 h 4268514"/>
              <a:gd name="connsiteX212" fmla="*/ 1371600 w 6775947"/>
              <a:gd name="connsiteY212" fmla="*/ 54067 h 4268514"/>
              <a:gd name="connsiteX213" fmla="*/ 826477 w 6775947"/>
              <a:gd name="connsiteY213" fmla="*/ 36483 h 4268514"/>
              <a:gd name="connsiteX214" fmla="*/ 451338 w 6775947"/>
              <a:gd name="connsiteY214" fmla="*/ 42344 h 4268514"/>
              <a:gd name="connsiteX215" fmla="*/ 375138 w 6775947"/>
              <a:gd name="connsiteY215" fmla="*/ 65791 h 4268514"/>
              <a:gd name="connsiteX216" fmla="*/ 199292 w 6775947"/>
              <a:gd name="connsiteY216" fmla="*/ 159575 h 4268514"/>
              <a:gd name="connsiteX217" fmla="*/ 146538 w 6775947"/>
              <a:gd name="connsiteY217" fmla="*/ 194744 h 4268514"/>
              <a:gd name="connsiteX218" fmla="*/ 29307 w 6775947"/>
              <a:gd name="connsiteY218" fmla="*/ 528852 h 4268514"/>
              <a:gd name="connsiteX219" fmla="*/ 0 w 6775947"/>
              <a:gd name="connsiteY219" fmla="*/ 898129 h 4268514"/>
              <a:gd name="connsiteX220" fmla="*/ 23446 w 6775947"/>
              <a:gd name="connsiteY220" fmla="*/ 2041129 h 4268514"/>
              <a:gd name="connsiteX221" fmla="*/ 93784 w 6775947"/>
              <a:gd name="connsiteY221" fmla="*/ 2316621 h 4268514"/>
              <a:gd name="connsiteX222" fmla="*/ 433754 w 6775947"/>
              <a:gd name="connsiteY222" fmla="*/ 2937944 h 4268514"/>
              <a:gd name="connsiteX223" fmla="*/ 662354 w 6775947"/>
              <a:gd name="connsiteY223" fmla="*/ 3231021 h 4268514"/>
              <a:gd name="connsiteX224" fmla="*/ 785446 w 6775947"/>
              <a:gd name="connsiteY224" fmla="*/ 3395144 h 4268514"/>
              <a:gd name="connsiteX225" fmla="*/ 1066800 w 6775947"/>
              <a:gd name="connsiteY225" fmla="*/ 3746837 h 4268514"/>
              <a:gd name="connsiteX226" fmla="*/ 1436077 w 6775947"/>
              <a:gd name="connsiteY226" fmla="*/ 4004744 h 4268514"/>
              <a:gd name="connsiteX227" fmla="*/ 1735015 w 6775947"/>
              <a:gd name="connsiteY227" fmla="*/ 4139560 h 4268514"/>
              <a:gd name="connsiteX228" fmla="*/ 1817077 w 6775947"/>
              <a:gd name="connsiteY228" fmla="*/ 4174729 h 4268514"/>
              <a:gd name="connsiteX229" fmla="*/ 1893277 w 6775947"/>
              <a:gd name="connsiteY229" fmla="*/ 4209898 h 4268514"/>
              <a:gd name="connsiteX230" fmla="*/ 2039815 w 6775947"/>
              <a:gd name="connsiteY230" fmla="*/ 4221621 h 4268514"/>
              <a:gd name="connsiteX231" fmla="*/ 2250830 w 6775947"/>
              <a:gd name="connsiteY231" fmla="*/ 4198175 h 4268514"/>
              <a:gd name="connsiteX232" fmla="*/ 2286000 w 6775947"/>
              <a:gd name="connsiteY232" fmla="*/ 4192314 h 4268514"/>
              <a:gd name="connsiteX233" fmla="*/ 2450123 w 6775947"/>
              <a:gd name="connsiteY233" fmla="*/ 4198175 h 4268514"/>
              <a:gd name="connsiteX234" fmla="*/ 2567354 w 6775947"/>
              <a:gd name="connsiteY234" fmla="*/ 4209898 h 4268514"/>
              <a:gd name="connsiteX235" fmla="*/ 2608384 w 6775947"/>
              <a:gd name="connsiteY235" fmla="*/ 4215760 h 4268514"/>
              <a:gd name="connsiteX236" fmla="*/ 2813538 w 6775947"/>
              <a:gd name="connsiteY236" fmla="*/ 4221621 h 4268514"/>
              <a:gd name="connsiteX237" fmla="*/ 2924907 w 6775947"/>
              <a:gd name="connsiteY237" fmla="*/ 4233344 h 4268514"/>
              <a:gd name="connsiteX238" fmla="*/ 2960077 w 6775947"/>
              <a:gd name="connsiteY238" fmla="*/ 4239206 h 4268514"/>
              <a:gd name="connsiteX239" fmla="*/ 3006969 w 6775947"/>
              <a:gd name="connsiteY239" fmla="*/ 4245067 h 4268514"/>
              <a:gd name="connsiteX240" fmla="*/ 3106615 w 6775947"/>
              <a:gd name="connsiteY240" fmla="*/ 4262652 h 4268514"/>
              <a:gd name="connsiteX241" fmla="*/ 3130061 w 6775947"/>
              <a:gd name="connsiteY241" fmla="*/ 4268514 h 4268514"/>
              <a:gd name="connsiteX242" fmla="*/ 3294184 w 6775947"/>
              <a:gd name="connsiteY242" fmla="*/ 4262652 h 4268514"/>
              <a:gd name="connsiteX243" fmla="*/ 3323492 w 6775947"/>
              <a:gd name="connsiteY243" fmla="*/ 4256791 h 4268514"/>
              <a:gd name="connsiteX244" fmla="*/ 3364523 w 6775947"/>
              <a:gd name="connsiteY244" fmla="*/ 4250929 h 4268514"/>
              <a:gd name="connsiteX245" fmla="*/ 4525107 w 6775947"/>
              <a:gd name="connsiteY245" fmla="*/ 4256791 h 4268514"/>
              <a:gd name="connsiteX246" fmla="*/ 4759569 w 6775947"/>
              <a:gd name="connsiteY246" fmla="*/ 4209898 h 4268514"/>
              <a:gd name="connsiteX247" fmla="*/ 5175738 w 6775947"/>
              <a:gd name="connsiteY247" fmla="*/ 4186452 h 4268514"/>
              <a:gd name="connsiteX248" fmla="*/ 5216769 w 6775947"/>
              <a:gd name="connsiteY248" fmla="*/ 4157144 h 4268514"/>
              <a:gd name="connsiteX249" fmla="*/ 5234354 w 6775947"/>
              <a:gd name="connsiteY249" fmla="*/ 4133698 h 4268514"/>
              <a:gd name="connsiteX250" fmla="*/ 5251938 w 6775947"/>
              <a:gd name="connsiteY250" fmla="*/ 4116114 h 4268514"/>
              <a:gd name="connsiteX251" fmla="*/ 5275384 w 6775947"/>
              <a:gd name="connsiteY251" fmla="*/ 4086806 h 4268514"/>
              <a:gd name="connsiteX252" fmla="*/ 5404338 w 6775947"/>
              <a:gd name="connsiteY252" fmla="*/ 3998883 h 4268514"/>
              <a:gd name="connsiteX253" fmla="*/ 5498123 w 6775947"/>
              <a:gd name="connsiteY253" fmla="*/ 3910960 h 4268514"/>
              <a:gd name="connsiteX254" fmla="*/ 5550877 w 6775947"/>
              <a:gd name="connsiteY254" fmla="*/ 3875791 h 4268514"/>
              <a:gd name="connsiteX255" fmla="*/ 5715000 w 6775947"/>
              <a:gd name="connsiteY255" fmla="*/ 3699944 h 4268514"/>
              <a:gd name="connsiteX256" fmla="*/ 5802923 w 6775947"/>
              <a:gd name="connsiteY256" fmla="*/ 3594437 h 4268514"/>
              <a:gd name="connsiteX257" fmla="*/ 5838092 w 6775947"/>
              <a:gd name="connsiteY257" fmla="*/ 3524098 h 4268514"/>
              <a:gd name="connsiteX258" fmla="*/ 5879123 w 6775947"/>
              <a:gd name="connsiteY258" fmla="*/ 3453760 h 4268514"/>
              <a:gd name="connsiteX259" fmla="*/ 5908430 w 6775947"/>
              <a:gd name="connsiteY259" fmla="*/ 3424452 h 4268514"/>
              <a:gd name="connsiteX260" fmla="*/ 5926015 w 6775947"/>
              <a:gd name="connsiteY260" fmla="*/ 3389283 h 4268514"/>
              <a:gd name="connsiteX261" fmla="*/ 6119446 w 6775947"/>
              <a:gd name="connsiteY261" fmla="*/ 3195852 h 4268514"/>
              <a:gd name="connsiteX262" fmla="*/ 6236677 w 6775947"/>
              <a:gd name="connsiteY262" fmla="*/ 3072760 h 4268514"/>
              <a:gd name="connsiteX263" fmla="*/ 6318738 w 6775947"/>
              <a:gd name="connsiteY263" fmla="*/ 2937944 h 4268514"/>
              <a:gd name="connsiteX264" fmla="*/ 6330461 w 6775947"/>
              <a:gd name="connsiteY264" fmla="*/ 2879329 h 4268514"/>
              <a:gd name="connsiteX265" fmla="*/ 6453554 w 6775947"/>
              <a:gd name="connsiteY265" fmla="*/ 2551083 h 4268514"/>
              <a:gd name="connsiteX266" fmla="*/ 6547338 w 6775947"/>
              <a:gd name="connsiteY266" fmla="*/ 2375237 h 4268514"/>
              <a:gd name="connsiteX267" fmla="*/ 6629400 w 6775947"/>
              <a:gd name="connsiteY267" fmla="*/ 2240421 h 4268514"/>
              <a:gd name="connsiteX268" fmla="*/ 6646984 w 6775947"/>
              <a:gd name="connsiteY268" fmla="*/ 2205252 h 4268514"/>
              <a:gd name="connsiteX269" fmla="*/ 6705600 w 6775947"/>
              <a:gd name="connsiteY269" fmla="*/ 2152498 h 4268514"/>
              <a:gd name="connsiteX270" fmla="*/ 6723184 w 6775947"/>
              <a:gd name="connsiteY270" fmla="*/ 2099744 h 4268514"/>
              <a:gd name="connsiteX271" fmla="*/ 6764215 w 6775947"/>
              <a:gd name="connsiteY271" fmla="*/ 1859421 h 4268514"/>
              <a:gd name="connsiteX272" fmla="*/ 6764215 w 6775947"/>
              <a:gd name="connsiteY272" fmla="*/ 804344 h 4268514"/>
              <a:gd name="connsiteX273" fmla="*/ 6740769 w 6775947"/>
              <a:gd name="connsiteY273" fmla="*/ 218191 h 4268514"/>
              <a:gd name="connsiteX274" fmla="*/ 6729046 w 6775947"/>
              <a:gd name="connsiteY274" fmla="*/ 147852 h 4268514"/>
              <a:gd name="connsiteX275" fmla="*/ 6723184 w 6775947"/>
              <a:gd name="connsiteY275" fmla="*/ 124406 h 4268514"/>
              <a:gd name="connsiteX276" fmla="*/ 6670430 w 6775947"/>
              <a:gd name="connsiteY276" fmla="*/ 77514 h 4268514"/>
              <a:gd name="connsiteX277" fmla="*/ 6559061 w 6775947"/>
              <a:gd name="connsiteY277" fmla="*/ 48206 h 4268514"/>
              <a:gd name="connsiteX278" fmla="*/ 6506307 w 6775947"/>
              <a:gd name="connsiteY278" fmla="*/ 18898 h 4268514"/>
              <a:gd name="connsiteX279" fmla="*/ 6477000 w 6775947"/>
              <a:gd name="connsiteY279" fmla="*/ 7175 h 4268514"/>
              <a:gd name="connsiteX280" fmla="*/ 6371492 w 6775947"/>
              <a:gd name="connsiteY280" fmla="*/ 36483 h 4268514"/>
              <a:gd name="connsiteX281" fmla="*/ 5597769 w 6775947"/>
              <a:gd name="connsiteY281" fmla="*/ 7175 h 4268514"/>
              <a:gd name="connsiteX282" fmla="*/ 5533292 w 6775947"/>
              <a:gd name="connsiteY282" fmla="*/ 1314 h 4268514"/>
              <a:gd name="connsiteX283" fmla="*/ 5175738 w 6775947"/>
              <a:gd name="connsiteY283" fmla="*/ 7175 h 4268514"/>
              <a:gd name="connsiteX284" fmla="*/ 5064369 w 6775947"/>
              <a:gd name="connsiteY284" fmla="*/ 18898 h 4268514"/>
              <a:gd name="connsiteX285" fmla="*/ 4360984 w 6775947"/>
              <a:gd name="connsiteY285" fmla="*/ 30621 h 4268514"/>
              <a:gd name="connsiteX286" fmla="*/ 4314092 w 6775947"/>
              <a:gd name="connsiteY286" fmla="*/ 83375 h 4268514"/>
              <a:gd name="connsiteX287" fmla="*/ 4302369 w 6775947"/>
              <a:gd name="connsiteY287" fmla="*/ 141991 h 4268514"/>
              <a:gd name="connsiteX0" fmla="*/ 4302369 w 6775947"/>
              <a:gd name="connsiteY0" fmla="*/ 141991 h 4268514"/>
              <a:gd name="connsiteX1" fmla="*/ 4302369 w 6775947"/>
              <a:gd name="connsiteY1" fmla="*/ 141991 h 4268514"/>
              <a:gd name="connsiteX2" fmla="*/ 4232030 w 6775947"/>
              <a:gd name="connsiteY2" fmla="*/ 106821 h 4268514"/>
              <a:gd name="connsiteX3" fmla="*/ 4208584 w 6775947"/>
              <a:gd name="connsiteY3" fmla="*/ 89237 h 4268514"/>
              <a:gd name="connsiteX4" fmla="*/ 4149969 w 6775947"/>
              <a:gd name="connsiteY4" fmla="*/ 71652 h 4268514"/>
              <a:gd name="connsiteX5" fmla="*/ 4097215 w 6775947"/>
              <a:gd name="connsiteY5" fmla="*/ 59929 h 4268514"/>
              <a:gd name="connsiteX6" fmla="*/ 4073769 w 6775947"/>
              <a:gd name="connsiteY6" fmla="*/ 54067 h 4268514"/>
              <a:gd name="connsiteX7" fmla="*/ 3927230 w 6775947"/>
              <a:gd name="connsiteY7" fmla="*/ 42344 h 4268514"/>
              <a:gd name="connsiteX8" fmla="*/ 3745523 w 6775947"/>
              <a:gd name="connsiteY8" fmla="*/ 18898 h 4268514"/>
              <a:gd name="connsiteX9" fmla="*/ 3716215 w 6775947"/>
              <a:gd name="connsiteY9" fmla="*/ 7175 h 4268514"/>
              <a:gd name="connsiteX10" fmla="*/ 3563815 w 6775947"/>
              <a:gd name="connsiteY10" fmla="*/ 7175 h 4268514"/>
              <a:gd name="connsiteX11" fmla="*/ 3499338 w 6775947"/>
              <a:gd name="connsiteY11" fmla="*/ 24760 h 4268514"/>
              <a:gd name="connsiteX12" fmla="*/ 3458307 w 6775947"/>
              <a:gd name="connsiteY12" fmla="*/ 30621 h 4268514"/>
              <a:gd name="connsiteX13" fmla="*/ 3376246 w 6775947"/>
              <a:gd name="connsiteY13" fmla="*/ 42344 h 4268514"/>
              <a:gd name="connsiteX14" fmla="*/ 3352800 w 6775947"/>
              <a:gd name="connsiteY14" fmla="*/ 48206 h 4268514"/>
              <a:gd name="connsiteX15" fmla="*/ 3288323 w 6775947"/>
              <a:gd name="connsiteY15" fmla="*/ 77514 h 4268514"/>
              <a:gd name="connsiteX16" fmla="*/ 3194538 w 6775947"/>
              <a:gd name="connsiteY16" fmla="*/ 95098 h 4268514"/>
              <a:gd name="connsiteX17" fmla="*/ 3112477 w 6775947"/>
              <a:gd name="connsiteY17" fmla="*/ 124406 h 4268514"/>
              <a:gd name="connsiteX18" fmla="*/ 3059723 w 6775947"/>
              <a:gd name="connsiteY18" fmla="*/ 194744 h 4268514"/>
              <a:gd name="connsiteX19" fmla="*/ 2971800 w 6775947"/>
              <a:gd name="connsiteY19" fmla="*/ 335421 h 4268514"/>
              <a:gd name="connsiteX20" fmla="*/ 2960077 w 6775947"/>
              <a:gd name="connsiteY20" fmla="*/ 382314 h 4268514"/>
              <a:gd name="connsiteX21" fmla="*/ 2948354 w 6775947"/>
              <a:gd name="connsiteY21" fmla="*/ 423344 h 4268514"/>
              <a:gd name="connsiteX22" fmla="*/ 2954215 w 6775947"/>
              <a:gd name="connsiteY22" fmla="*/ 698837 h 4268514"/>
              <a:gd name="connsiteX23" fmla="*/ 2971800 w 6775947"/>
              <a:gd name="connsiteY23" fmla="*/ 892267 h 4268514"/>
              <a:gd name="connsiteX24" fmla="*/ 2989384 w 6775947"/>
              <a:gd name="connsiteY24" fmla="*/ 1015360 h 4268514"/>
              <a:gd name="connsiteX25" fmla="*/ 3018692 w 6775947"/>
              <a:gd name="connsiteY25" fmla="*/ 1115006 h 4268514"/>
              <a:gd name="connsiteX26" fmla="*/ 3036277 w 6775947"/>
              <a:gd name="connsiteY26" fmla="*/ 1191206 h 4268514"/>
              <a:gd name="connsiteX27" fmla="*/ 3042138 w 6775947"/>
              <a:gd name="connsiteY27" fmla="*/ 1255683 h 4268514"/>
              <a:gd name="connsiteX28" fmla="*/ 3071446 w 6775947"/>
              <a:gd name="connsiteY28" fmla="*/ 1314298 h 4268514"/>
              <a:gd name="connsiteX29" fmla="*/ 3171092 w 6775947"/>
              <a:gd name="connsiteY29" fmla="*/ 1537037 h 4268514"/>
              <a:gd name="connsiteX30" fmla="*/ 3200400 w 6775947"/>
              <a:gd name="connsiteY30" fmla="*/ 1589791 h 4268514"/>
              <a:gd name="connsiteX31" fmla="*/ 3229707 w 6775947"/>
              <a:gd name="connsiteY31" fmla="*/ 1636683 h 4268514"/>
              <a:gd name="connsiteX32" fmla="*/ 3276600 w 6775947"/>
              <a:gd name="connsiteY32" fmla="*/ 1724606 h 4268514"/>
              <a:gd name="connsiteX33" fmla="*/ 3341077 w 6775947"/>
              <a:gd name="connsiteY33" fmla="*/ 1830114 h 4268514"/>
              <a:gd name="connsiteX34" fmla="*/ 3446584 w 6775947"/>
              <a:gd name="connsiteY34" fmla="*/ 1935621 h 4268514"/>
              <a:gd name="connsiteX35" fmla="*/ 3511061 w 6775947"/>
              <a:gd name="connsiteY35" fmla="*/ 2011821 h 4268514"/>
              <a:gd name="connsiteX36" fmla="*/ 3616569 w 6775947"/>
              <a:gd name="connsiteY36" fmla="*/ 2093883 h 4268514"/>
              <a:gd name="connsiteX37" fmla="*/ 3675184 w 6775947"/>
              <a:gd name="connsiteY37" fmla="*/ 2134914 h 4268514"/>
              <a:gd name="connsiteX38" fmla="*/ 3774830 w 6775947"/>
              <a:gd name="connsiteY38" fmla="*/ 2211114 h 4268514"/>
              <a:gd name="connsiteX39" fmla="*/ 3833446 w 6775947"/>
              <a:gd name="connsiteY39" fmla="*/ 2222837 h 4268514"/>
              <a:gd name="connsiteX40" fmla="*/ 3903784 w 6775947"/>
              <a:gd name="connsiteY40" fmla="*/ 2240421 h 4268514"/>
              <a:gd name="connsiteX41" fmla="*/ 3944815 w 6775947"/>
              <a:gd name="connsiteY41" fmla="*/ 2246283 h 4268514"/>
              <a:gd name="connsiteX42" fmla="*/ 4050323 w 6775947"/>
              <a:gd name="connsiteY42" fmla="*/ 2263867 h 4268514"/>
              <a:gd name="connsiteX43" fmla="*/ 4073769 w 6775947"/>
              <a:gd name="connsiteY43" fmla="*/ 2269729 h 4268514"/>
              <a:gd name="connsiteX44" fmla="*/ 4155830 w 6775947"/>
              <a:gd name="connsiteY44" fmla="*/ 2275591 h 4268514"/>
              <a:gd name="connsiteX45" fmla="*/ 4255477 w 6775947"/>
              <a:gd name="connsiteY45" fmla="*/ 2334206 h 4268514"/>
              <a:gd name="connsiteX46" fmla="*/ 4284784 w 6775947"/>
              <a:gd name="connsiteY46" fmla="*/ 2345929 h 4268514"/>
              <a:gd name="connsiteX47" fmla="*/ 4378569 w 6775947"/>
              <a:gd name="connsiteY47" fmla="*/ 2351791 h 4268514"/>
              <a:gd name="connsiteX48" fmla="*/ 4448907 w 6775947"/>
              <a:gd name="connsiteY48" fmla="*/ 2357652 h 4268514"/>
              <a:gd name="connsiteX49" fmla="*/ 4548554 w 6775947"/>
              <a:gd name="connsiteY49" fmla="*/ 2351791 h 4268514"/>
              <a:gd name="connsiteX50" fmla="*/ 4548553 w 6775947"/>
              <a:gd name="connsiteY50" fmla="*/ 2369375 h 4268514"/>
              <a:gd name="connsiteX51" fmla="*/ 4583722 w 6775947"/>
              <a:gd name="connsiteY51" fmla="*/ 2351791 h 4268514"/>
              <a:gd name="connsiteX52" fmla="*/ 4677507 w 6775947"/>
              <a:gd name="connsiteY52" fmla="*/ 2269729 h 4268514"/>
              <a:gd name="connsiteX53" fmla="*/ 4736123 w 6775947"/>
              <a:gd name="connsiteY53" fmla="*/ 2216976 h 4268514"/>
              <a:gd name="connsiteX54" fmla="*/ 4747846 w 6775947"/>
              <a:gd name="connsiteY54" fmla="*/ 2146637 h 4268514"/>
              <a:gd name="connsiteX55" fmla="*/ 4706815 w 6775947"/>
              <a:gd name="connsiteY55" fmla="*/ 2052852 h 4268514"/>
              <a:gd name="connsiteX56" fmla="*/ 4695092 w 6775947"/>
              <a:gd name="connsiteY56" fmla="*/ 2005960 h 4268514"/>
              <a:gd name="connsiteX57" fmla="*/ 4683369 w 6775947"/>
              <a:gd name="connsiteY57" fmla="*/ 1970791 h 4268514"/>
              <a:gd name="connsiteX58" fmla="*/ 4665784 w 6775947"/>
              <a:gd name="connsiteY58" fmla="*/ 1865283 h 4268514"/>
              <a:gd name="connsiteX59" fmla="*/ 4636477 w 6775947"/>
              <a:gd name="connsiteY59" fmla="*/ 1736329 h 4268514"/>
              <a:gd name="connsiteX60" fmla="*/ 4613030 w 6775947"/>
              <a:gd name="connsiteY60" fmla="*/ 1454975 h 4268514"/>
              <a:gd name="connsiteX61" fmla="*/ 4601307 w 6775947"/>
              <a:gd name="connsiteY61" fmla="*/ 1408083 h 4268514"/>
              <a:gd name="connsiteX62" fmla="*/ 4583723 w 6775947"/>
              <a:gd name="connsiteY62" fmla="*/ 1372914 h 4268514"/>
              <a:gd name="connsiteX63" fmla="*/ 4577861 w 6775947"/>
              <a:gd name="connsiteY63" fmla="*/ 1355329 h 4268514"/>
              <a:gd name="connsiteX64" fmla="*/ 4566138 w 6775947"/>
              <a:gd name="connsiteY64" fmla="*/ 1284991 h 4268514"/>
              <a:gd name="connsiteX65" fmla="*/ 4548554 w 6775947"/>
              <a:gd name="connsiteY65" fmla="*/ 1202929 h 4268514"/>
              <a:gd name="connsiteX66" fmla="*/ 4542692 w 6775947"/>
              <a:gd name="connsiteY66" fmla="*/ 1150175 h 4268514"/>
              <a:gd name="connsiteX67" fmla="*/ 4478215 w 6775947"/>
              <a:gd name="connsiteY67" fmla="*/ 1079837 h 4268514"/>
              <a:gd name="connsiteX68" fmla="*/ 4460630 w 6775947"/>
              <a:gd name="connsiteY68" fmla="*/ 1062252 h 4268514"/>
              <a:gd name="connsiteX69" fmla="*/ 4437184 w 6775947"/>
              <a:gd name="connsiteY69" fmla="*/ 1021221 h 4268514"/>
              <a:gd name="connsiteX70" fmla="*/ 4419600 w 6775947"/>
              <a:gd name="connsiteY70" fmla="*/ 980191 h 4268514"/>
              <a:gd name="connsiteX71" fmla="*/ 4378569 w 6775947"/>
              <a:gd name="connsiteY71" fmla="*/ 862960 h 4268514"/>
              <a:gd name="connsiteX72" fmla="*/ 4325815 w 6775947"/>
              <a:gd name="connsiteY72" fmla="*/ 821929 h 4268514"/>
              <a:gd name="connsiteX73" fmla="*/ 4308230 w 6775947"/>
              <a:gd name="connsiteY73" fmla="*/ 804344 h 4268514"/>
              <a:gd name="connsiteX74" fmla="*/ 4296507 w 6775947"/>
              <a:gd name="connsiteY74" fmla="*/ 757452 h 4268514"/>
              <a:gd name="connsiteX75" fmla="*/ 4308230 w 6775947"/>
              <a:gd name="connsiteY75" fmla="*/ 487821 h 4268514"/>
              <a:gd name="connsiteX76" fmla="*/ 4314092 w 6775947"/>
              <a:gd name="connsiteY76" fmla="*/ 417483 h 4268514"/>
              <a:gd name="connsiteX77" fmla="*/ 4319954 w 6775947"/>
              <a:gd name="connsiteY77" fmla="*/ 394037 h 4268514"/>
              <a:gd name="connsiteX78" fmla="*/ 4337538 w 6775947"/>
              <a:gd name="connsiteY78" fmla="*/ 288529 h 4268514"/>
              <a:gd name="connsiteX79" fmla="*/ 4366846 w 6775947"/>
              <a:gd name="connsiteY79" fmla="*/ 253360 h 4268514"/>
              <a:gd name="connsiteX80" fmla="*/ 4396154 w 6775947"/>
              <a:gd name="connsiteY80" fmla="*/ 224052 h 4268514"/>
              <a:gd name="connsiteX81" fmla="*/ 4413738 w 6775947"/>
              <a:gd name="connsiteY81" fmla="*/ 194744 h 4268514"/>
              <a:gd name="connsiteX82" fmla="*/ 4495800 w 6775947"/>
              <a:gd name="connsiteY82" fmla="*/ 136129 h 4268514"/>
              <a:gd name="connsiteX83" fmla="*/ 4554415 w 6775947"/>
              <a:gd name="connsiteY83" fmla="*/ 106821 h 4268514"/>
              <a:gd name="connsiteX84" fmla="*/ 4613030 w 6775947"/>
              <a:gd name="connsiteY84" fmla="*/ 83375 h 4268514"/>
              <a:gd name="connsiteX85" fmla="*/ 4671646 w 6775947"/>
              <a:gd name="connsiteY85" fmla="*/ 77514 h 4268514"/>
              <a:gd name="connsiteX86" fmla="*/ 5246077 w 6775947"/>
              <a:gd name="connsiteY86" fmla="*/ 71652 h 4268514"/>
              <a:gd name="connsiteX87" fmla="*/ 5304692 w 6775947"/>
              <a:gd name="connsiteY87" fmla="*/ 83375 h 4268514"/>
              <a:gd name="connsiteX88" fmla="*/ 5345723 w 6775947"/>
              <a:gd name="connsiteY88" fmla="*/ 89237 h 4268514"/>
              <a:gd name="connsiteX89" fmla="*/ 5527430 w 6775947"/>
              <a:gd name="connsiteY89" fmla="*/ 95098 h 4268514"/>
              <a:gd name="connsiteX90" fmla="*/ 5545015 w 6775947"/>
              <a:gd name="connsiteY90" fmla="*/ 100960 h 4268514"/>
              <a:gd name="connsiteX91" fmla="*/ 5586046 w 6775947"/>
              <a:gd name="connsiteY91" fmla="*/ 136129 h 4268514"/>
              <a:gd name="connsiteX92" fmla="*/ 5615354 w 6775947"/>
              <a:gd name="connsiteY92" fmla="*/ 159575 h 4268514"/>
              <a:gd name="connsiteX93" fmla="*/ 5632938 w 6775947"/>
              <a:gd name="connsiteY93" fmla="*/ 165437 h 4268514"/>
              <a:gd name="connsiteX94" fmla="*/ 5656384 w 6775947"/>
              <a:gd name="connsiteY94" fmla="*/ 183021 h 4268514"/>
              <a:gd name="connsiteX95" fmla="*/ 5709138 w 6775947"/>
              <a:gd name="connsiteY95" fmla="*/ 218191 h 4268514"/>
              <a:gd name="connsiteX96" fmla="*/ 5738446 w 6775947"/>
              <a:gd name="connsiteY96" fmla="*/ 247498 h 4268514"/>
              <a:gd name="connsiteX97" fmla="*/ 5756030 w 6775947"/>
              <a:gd name="connsiteY97" fmla="*/ 282667 h 4268514"/>
              <a:gd name="connsiteX98" fmla="*/ 5791200 w 6775947"/>
              <a:gd name="connsiteY98" fmla="*/ 341283 h 4268514"/>
              <a:gd name="connsiteX99" fmla="*/ 5756030 w 6775947"/>
              <a:gd name="connsiteY99" fmla="*/ 593329 h 4268514"/>
              <a:gd name="connsiteX100" fmla="*/ 5709138 w 6775947"/>
              <a:gd name="connsiteY100" fmla="*/ 751591 h 4268514"/>
              <a:gd name="connsiteX101" fmla="*/ 5650523 w 6775947"/>
              <a:gd name="connsiteY101" fmla="*/ 880544 h 4268514"/>
              <a:gd name="connsiteX102" fmla="*/ 5597769 w 6775947"/>
              <a:gd name="connsiteY102" fmla="*/ 1009498 h 4268514"/>
              <a:gd name="connsiteX103" fmla="*/ 5591907 w 6775947"/>
              <a:gd name="connsiteY103" fmla="*/ 1038806 h 4268514"/>
              <a:gd name="connsiteX104" fmla="*/ 5586046 w 6775947"/>
              <a:gd name="connsiteY104" fmla="*/ 1056391 h 4268514"/>
              <a:gd name="connsiteX105" fmla="*/ 5556738 w 6775947"/>
              <a:gd name="connsiteY105" fmla="*/ 1173621 h 4268514"/>
              <a:gd name="connsiteX106" fmla="*/ 5515707 w 6775947"/>
              <a:gd name="connsiteY106" fmla="*/ 1279129 h 4268514"/>
              <a:gd name="connsiteX107" fmla="*/ 5480538 w 6775947"/>
              <a:gd name="connsiteY107" fmla="*/ 1396360 h 4268514"/>
              <a:gd name="connsiteX108" fmla="*/ 5468815 w 6775947"/>
              <a:gd name="connsiteY108" fmla="*/ 1425667 h 4268514"/>
              <a:gd name="connsiteX109" fmla="*/ 5439507 w 6775947"/>
              <a:gd name="connsiteY109" fmla="*/ 1478421 h 4268514"/>
              <a:gd name="connsiteX110" fmla="*/ 5421923 w 6775947"/>
              <a:gd name="connsiteY110" fmla="*/ 1531175 h 4268514"/>
              <a:gd name="connsiteX111" fmla="*/ 5392615 w 6775947"/>
              <a:gd name="connsiteY111" fmla="*/ 1607375 h 4268514"/>
              <a:gd name="connsiteX112" fmla="*/ 5369169 w 6775947"/>
              <a:gd name="connsiteY112" fmla="*/ 1677714 h 4268514"/>
              <a:gd name="connsiteX113" fmla="*/ 5351584 w 6775947"/>
              <a:gd name="connsiteY113" fmla="*/ 1835975 h 4268514"/>
              <a:gd name="connsiteX114" fmla="*/ 5339861 w 6775947"/>
              <a:gd name="connsiteY114" fmla="*/ 1865283 h 4268514"/>
              <a:gd name="connsiteX115" fmla="*/ 5334000 w 6775947"/>
              <a:gd name="connsiteY115" fmla="*/ 1888729 h 4268514"/>
              <a:gd name="connsiteX116" fmla="*/ 5316415 w 6775947"/>
              <a:gd name="connsiteY116" fmla="*/ 1970791 h 4268514"/>
              <a:gd name="connsiteX117" fmla="*/ 5292969 w 6775947"/>
              <a:gd name="connsiteY117" fmla="*/ 2005960 h 4268514"/>
              <a:gd name="connsiteX118" fmla="*/ 5269523 w 6775947"/>
              <a:gd name="connsiteY118" fmla="*/ 2052852 h 4268514"/>
              <a:gd name="connsiteX119" fmla="*/ 5257800 w 6775947"/>
              <a:gd name="connsiteY119" fmla="*/ 2076298 h 4268514"/>
              <a:gd name="connsiteX120" fmla="*/ 5240215 w 6775947"/>
              <a:gd name="connsiteY120" fmla="*/ 2099744 h 4268514"/>
              <a:gd name="connsiteX121" fmla="*/ 5234354 w 6775947"/>
              <a:gd name="connsiteY121" fmla="*/ 2129052 h 4268514"/>
              <a:gd name="connsiteX122" fmla="*/ 5222630 w 6775947"/>
              <a:gd name="connsiteY122" fmla="*/ 2140775 h 4268514"/>
              <a:gd name="connsiteX123" fmla="*/ 5210907 w 6775947"/>
              <a:gd name="connsiteY123" fmla="*/ 2164221 h 4268514"/>
              <a:gd name="connsiteX124" fmla="*/ 5193323 w 6775947"/>
              <a:gd name="connsiteY124" fmla="*/ 2187667 h 4268514"/>
              <a:gd name="connsiteX125" fmla="*/ 5175738 w 6775947"/>
              <a:gd name="connsiteY125" fmla="*/ 2263867 h 4268514"/>
              <a:gd name="connsiteX126" fmla="*/ 5216769 w 6775947"/>
              <a:gd name="connsiteY126" fmla="*/ 2304898 h 4268514"/>
              <a:gd name="connsiteX127" fmla="*/ 5210907 w 6775947"/>
              <a:gd name="connsiteY127" fmla="*/ 2357652 h 4268514"/>
              <a:gd name="connsiteX128" fmla="*/ 5251939 w 6775947"/>
              <a:gd name="connsiteY128" fmla="*/ 2357653 h 4268514"/>
              <a:gd name="connsiteX129" fmla="*/ 5281246 w 6775947"/>
              <a:gd name="connsiteY129" fmla="*/ 2427991 h 4268514"/>
              <a:gd name="connsiteX130" fmla="*/ 5287107 w 6775947"/>
              <a:gd name="connsiteY130" fmla="*/ 2556944 h 4268514"/>
              <a:gd name="connsiteX131" fmla="*/ 5298830 w 6775947"/>
              <a:gd name="connsiteY131" fmla="*/ 2615560 h 4268514"/>
              <a:gd name="connsiteX132" fmla="*/ 5310554 w 6775947"/>
              <a:gd name="connsiteY132" fmla="*/ 2721067 h 4268514"/>
              <a:gd name="connsiteX133" fmla="*/ 5316415 w 6775947"/>
              <a:gd name="connsiteY133" fmla="*/ 2885191 h 4268514"/>
              <a:gd name="connsiteX134" fmla="*/ 5357446 w 6775947"/>
              <a:gd name="connsiteY134" fmla="*/ 2978975 h 4268514"/>
              <a:gd name="connsiteX135" fmla="*/ 5363307 w 6775947"/>
              <a:gd name="connsiteY135" fmla="*/ 3014144 h 4268514"/>
              <a:gd name="connsiteX136" fmla="*/ 5380892 w 6775947"/>
              <a:gd name="connsiteY136" fmla="*/ 3037591 h 4268514"/>
              <a:gd name="connsiteX137" fmla="*/ 5386754 w 6775947"/>
              <a:gd name="connsiteY137" fmla="*/ 3084483 h 4268514"/>
              <a:gd name="connsiteX138" fmla="*/ 5404338 w 6775947"/>
              <a:gd name="connsiteY138" fmla="*/ 3131375 h 4268514"/>
              <a:gd name="connsiteX139" fmla="*/ 5404338 w 6775947"/>
              <a:gd name="connsiteY139" fmla="*/ 3324806 h 4268514"/>
              <a:gd name="connsiteX140" fmla="*/ 5398477 w 6775947"/>
              <a:gd name="connsiteY140" fmla="*/ 3823037 h 4268514"/>
              <a:gd name="connsiteX141" fmla="*/ 5380892 w 6775947"/>
              <a:gd name="connsiteY141" fmla="*/ 3881652 h 4268514"/>
              <a:gd name="connsiteX142" fmla="*/ 5369169 w 6775947"/>
              <a:gd name="connsiteY142" fmla="*/ 3916821 h 4268514"/>
              <a:gd name="connsiteX143" fmla="*/ 5339861 w 6775947"/>
              <a:gd name="connsiteY143" fmla="*/ 3946129 h 4268514"/>
              <a:gd name="connsiteX144" fmla="*/ 5322277 w 6775947"/>
              <a:gd name="connsiteY144" fmla="*/ 3981298 h 4268514"/>
              <a:gd name="connsiteX145" fmla="*/ 5257800 w 6775947"/>
              <a:gd name="connsiteY145" fmla="*/ 4057498 h 4268514"/>
              <a:gd name="connsiteX146" fmla="*/ 5228492 w 6775947"/>
              <a:gd name="connsiteY146" fmla="*/ 4080944 h 4268514"/>
              <a:gd name="connsiteX147" fmla="*/ 5146430 w 6775947"/>
              <a:gd name="connsiteY147" fmla="*/ 4121975 h 4268514"/>
              <a:gd name="connsiteX148" fmla="*/ 5117123 w 6775947"/>
              <a:gd name="connsiteY148" fmla="*/ 4139560 h 4268514"/>
              <a:gd name="connsiteX149" fmla="*/ 5087815 w 6775947"/>
              <a:gd name="connsiteY149" fmla="*/ 4145421 h 4268514"/>
              <a:gd name="connsiteX150" fmla="*/ 4988169 w 6775947"/>
              <a:gd name="connsiteY150" fmla="*/ 4163006 h 4268514"/>
              <a:gd name="connsiteX151" fmla="*/ 4753707 w 6775947"/>
              <a:gd name="connsiteY151" fmla="*/ 4151283 h 4268514"/>
              <a:gd name="connsiteX152" fmla="*/ 4695092 w 6775947"/>
              <a:gd name="connsiteY152" fmla="*/ 4139560 h 4268514"/>
              <a:gd name="connsiteX153" fmla="*/ 4589584 w 6775947"/>
              <a:gd name="connsiteY153" fmla="*/ 4151283 h 4268514"/>
              <a:gd name="connsiteX154" fmla="*/ 4560277 w 6775947"/>
              <a:gd name="connsiteY154" fmla="*/ 4163006 h 4268514"/>
              <a:gd name="connsiteX155" fmla="*/ 4484077 w 6775947"/>
              <a:gd name="connsiteY155" fmla="*/ 4180591 h 4268514"/>
              <a:gd name="connsiteX156" fmla="*/ 4443046 w 6775947"/>
              <a:gd name="connsiteY156" fmla="*/ 4198175 h 4268514"/>
              <a:gd name="connsiteX157" fmla="*/ 4413738 w 6775947"/>
              <a:gd name="connsiteY157" fmla="*/ 4204037 h 4268514"/>
              <a:gd name="connsiteX158" fmla="*/ 4355123 w 6775947"/>
              <a:gd name="connsiteY158" fmla="*/ 4215760 h 4268514"/>
              <a:gd name="connsiteX159" fmla="*/ 4273061 w 6775947"/>
              <a:gd name="connsiteY159" fmla="*/ 4209898 h 4268514"/>
              <a:gd name="connsiteX160" fmla="*/ 4185138 w 6775947"/>
              <a:gd name="connsiteY160" fmla="*/ 4198175 h 4268514"/>
              <a:gd name="connsiteX161" fmla="*/ 4155830 w 6775947"/>
              <a:gd name="connsiteY161" fmla="*/ 4209898 h 4268514"/>
              <a:gd name="connsiteX162" fmla="*/ 4138246 w 6775947"/>
              <a:gd name="connsiteY162" fmla="*/ 4215760 h 4268514"/>
              <a:gd name="connsiteX163" fmla="*/ 3991707 w 6775947"/>
              <a:gd name="connsiteY163" fmla="*/ 4227483 h 4268514"/>
              <a:gd name="connsiteX164" fmla="*/ 3933092 w 6775947"/>
              <a:gd name="connsiteY164" fmla="*/ 4250929 h 4268514"/>
              <a:gd name="connsiteX165" fmla="*/ 3915507 w 6775947"/>
              <a:gd name="connsiteY165" fmla="*/ 4262652 h 4268514"/>
              <a:gd name="connsiteX166" fmla="*/ 3704492 w 6775947"/>
              <a:gd name="connsiteY166" fmla="*/ 4268514 h 4268514"/>
              <a:gd name="connsiteX167" fmla="*/ 3552092 w 6775947"/>
              <a:gd name="connsiteY167" fmla="*/ 4233344 h 4268514"/>
              <a:gd name="connsiteX168" fmla="*/ 3452446 w 6775947"/>
              <a:gd name="connsiteY168" fmla="*/ 4227483 h 4268514"/>
              <a:gd name="connsiteX169" fmla="*/ 3264877 w 6775947"/>
              <a:gd name="connsiteY169" fmla="*/ 4192314 h 4268514"/>
              <a:gd name="connsiteX170" fmla="*/ 3253154 w 6775947"/>
              <a:gd name="connsiteY170" fmla="*/ 4069221 h 4268514"/>
              <a:gd name="connsiteX171" fmla="*/ 3276600 w 6775947"/>
              <a:gd name="connsiteY171" fmla="*/ 3828898 h 4268514"/>
              <a:gd name="connsiteX172" fmla="*/ 3264877 w 6775947"/>
              <a:gd name="connsiteY172" fmla="*/ 3664775 h 4268514"/>
              <a:gd name="connsiteX173" fmla="*/ 3259015 w 6775947"/>
              <a:gd name="connsiteY173" fmla="*/ 3623744 h 4268514"/>
              <a:gd name="connsiteX174" fmla="*/ 3247292 w 6775947"/>
              <a:gd name="connsiteY174" fmla="*/ 3600298 h 4268514"/>
              <a:gd name="connsiteX175" fmla="*/ 3229707 w 6775947"/>
              <a:gd name="connsiteY175" fmla="*/ 3535821 h 4268514"/>
              <a:gd name="connsiteX176" fmla="*/ 3194538 w 6775947"/>
              <a:gd name="connsiteY176" fmla="*/ 3459621 h 4268514"/>
              <a:gd name="connsiteX177" fmla="*/ 3153507 w 6775947"/>
              <a:gd name="connsiteY177" fmla="*/ 3354114 h 4268514"/>
              <a:gd name="connsiteX178" fmla="*/ 3135923 w 6775947"/>
              <a:gd name="connsiteY178" fmla="*/ 3231021 h 4268514"/>
              <a:gd name="connsiteX179" fmla="*/ 3118338 w 6775947"/>
              <a:gd name="connsiteY179" fmla="*/ 3184129 h 4268514"/>
              <a:gd name="connsiteX180" fmla="*/ 3094892 w 6775947"/>
              <a:gd name="connsiteY180" fmla="*/ 2633144 h 4268514"/>
              <a:gd name="connsiteX181" fmla="*/ 3048000 w 6775947"/>
              <a:gd name="connsiteY181" fmla="*/ 2498329 h 4268514"/>
              <a:gd name="connsiteX182" fmla="*/ 3012830 w 6775947"/>
              <a:gd name="connsiteY182" fmla="*/ 2386960 h 4268514"/>
              <a:gd name="connsiteX183" fmla="*/ 3006969 w 6775947"/>
              <a:gd name="connsiteY183" fmla="*/ 2299037 h 4268514"/>
              <a:gd name="connsiteX184" fmla="*/ 2995246 w 6775947"/>
              <a:gd name="connsiteY184" fmla="*/ 1988375 h 4268514"/>
              <a:gd name="connsiteX185" fmla="*/ 2965938 w 6775947"/>
              <a:gd name="connsiteY185" fmla="*/ 1818391 h 4268514"/>
              <a:gd name="connsiteX186" fmla="*/ 2960077 w 6775947"/>
              <a:gd name="connsiteY186" fmla="*/ 1689437 h 4268514"/>
              <a:gd name="connsiteX187" fmla="*/ 2936630 w 6775947"/>
              <a:gd name="connsiteY187" fmla="*/ 1583929 h 4268514"/>
              <a:gd name="connsiteX188" fmla="*/ 2924907 w 6775947"/>
              <a:gd name="connsiteY188" fmla="*/ 1542898 h 4268514"/>
              <a:gd name="connsiteX189" fmla="*/ 2901461 w 6775947"/>
              <a:gd name="connsiteY189" fmla="*/ 1425667 h 4268514"/>
              <a:gd name="connsiteX190" fmla="*/ 2872154 w 6775947"/>
              <a:gd name="connsiteY190" fmla="*/ 1302575 h 4268514"/>
              <a:gd name="connsiteX191" fmla="*/ 2848707 w 6775947"/>
              <a:gd name="connsiteY191" fmla="*/ 1191206 h 4268514"/>
              <a:gd name="connsiteX192" fmla="*/ 2836984 w 6775947"/>
              <a:gd name="connsiteY192" fmla="*/ 1056391 h 4268514"/>
              <a:gd name="connsiteX193" fmla="*/ 2819400 w 6775947"/>
              <a:gd name="connsiteY193" fmla="*/ 968467 h 4268514"/>
              <a:gd name="connsiteX194" fmla="*/ 2813538 w 6775947"/>
              <a:gd name="connsiteY194" fmla="*/ 909852 h 4268514"/>
              <a:gd name="connsiteX195" fmla="*/ 2801815 w 6775947"/>
              <a:gd name="connsiteY195" fmla="*/ 816067 h 4268514"/>
              <a:gd name="connsiteX196" fmla="*/ 2795954 w 6775947"/>
              <a:gd name="connsiteY196" fmla="*/ 476098 h 4268514"/>
              <a:gd name="connsiteX197" fmla="*/ 2784230 w 6775947"/>
              <a:gd name="connsiteY197" fmla="*/ 335421 h 4268514"/>
              <a:gd name="connsiteX198" fmla="*/ 2754923 w 6775947"/>
              <a:gd name="connsiteY198" fmla="*/ 276806 h 4268514"/>
              <a:gd name="connsiteX199" fmla="*/ 2708030 w 6775947"/>
              <a:gd name="connsiteY199" fmla="*/ 177160 h 4268514"/>
              <a:gd name="connsiteX200" fmla="*/ 2702169 w 6775947"/>
              <a:gd name="connsiteY200" fmla="*/ 159575 h 4268514"/>
              <a:gd name="connsiteX201" fmla="*/ 2678723 w 6775947"/>
              <a:gd name="connsiteY201" fmla="*/ 130267 h 4268514"/>
              <a:gd name="connsiteX202" fmla="*/ 2602523 w 6775947"/>
              <a:gd name="connsiteY202" fmla="*/ 112683 h 4268514"/>
              <a:gd name="connsiteX203" fmla="*/ 2584938 w 6775947"/>
              <a:gd name="connsiteY203" fmla="*/ 106821 h 4268514"/>
              <a:gd name="connsiteX204" fmla="*/ 2514600 w 6775947"/>
              <a:gd name="connsiteY204" fmla="*/ 100960 h 4268514"/>
              <a:gd name="connsiteX205" fmla="*/ 2467707 w 6775947"/>
              <a:gd name="connsiteY205" fmla="*/ 36483 h 4268514"/>
              <a:gd name="connsiteX206" fmla="*/ 2403230 w 6775947"/>
              <a:gd name="connsiteY206" fmla="*/ 30621 h 4268514"/>
              <a:gd name="connsiteX207" fmla="*/ 2321169 w 6775947"/>
              <a:gd name="connsiteY207" fmla="*/ 24760 h 4268514"/>
              <a:gd name="connsiteX208" fmla="*/ 1793630 w 6775947"/>
              <a:gd name="connsiteY208" fmla="*/ 30621 h 4268514"/>
              <a:gd name="connsiteX209" fmla="*/ 1752600 w 6775947"/>
              <a:gd name="connsiteY209" fmla="*/ 42344 h 4268514"/>
              <a:gd name="connsiteX210" fmla="*/ 1717430 w 6775947"/>
              <a:gd name="connsiteY210" fmla="*/ 59929 h 4268514"/>
              <a:gd name="connsiteX211" fmla="*/ 1652954 w 6775947"/>
              <a:gd name="connsiteY211" fmla="*/ 65791 h 4268514"/>
              <a:gd name="connsiteX212" fmla="*/ 1371600 w 6775947"/>
              <a:gd name="connsiteY212" fmla="*/ 54067 h 4268514"/>
              <a:gd name="connsiteX213" fmla="*/ 826477 w 6775947"/>
              <a:gd name="connsiteY213" fmla="*/ 36483 h 4268514"/>
              <a:gd name="connsiteX214" fmla="*/ 451338 w 6775947"/>
              <a:gd name="connsiteY214" fmla="*/ 42344 h 4268514"/>
              <a:gd name="connsiteX215" fmla="*/ 375138 w 6775947"/>
              <a:gd name="connsiteY215" fmla="*/ 65791 h 4268514"/>
              <a:gd name="connsiteX216" fmla="*/ 199292 w 6775947"/>
              <a:gd name="connsiteY216" fmla="*/ 159575 h 4268514"/>
              <a:gd name="connsiteX217" fmla="*/ 146538 w 6775947"/>
              <a:gd name="connsiteY217" fmla="*/ 194744 h 4268514"/>
              <a:gd name="connsiteX218" fmla="*/ 29307 w 6775947"/>
              <a:gd name="connsiteY218" fmla="*/ 528852 h 4268514"/>
              <a:gd name="connsiteX219" fmla="*/ 0 w 6775947"/>
              <a:gd name="connsiteY219" fmla="*/ 898129 h 4268514"/>
              <a:gd name="connsiteX220" fmla="*/ 23446 w 6775947"/>
              <a:gd name="connsiteY220" fmla="*/ 2041129 h 4268514"/>
              <a:gd name="connsiteX221" fmla="*/ 93784 w 6775947"/>
              <a:gd name="connsiteY221" fmla="*/ 2316621 h 4268514"/>
              <a:gd name="connsiteX222" fmla="*/ 433754 w 6775947"/>
              <a:gd name="connsiteY222" fmla="*/ 2937944 h 4268514"/>
              <a:gd name="connsiteX223" fmla="*/ 662354 w 6775947"/>
              <a:gd name="connsiteY223" fmla="*/ 3231021 h 4268514"/>
              <a:gd name="connsiteX224" fmla="*/ 785446 w 6775947"/>
              <a:gd name="connsiteY224" fmla="*/ 3395144 h 4268514"/>
              <a:gd name="connsiteX225" fmla="*/ 1066800 w 6775947"/>
              <a:gd name="connsiteY225" fmla="*/ 3746837 h 4268514"/>
              <a:gd name="connsiteX226" fmla="*/ 1436077 w 6775947"/>
              <a:gd name="connsiteY226" fmla="*/ 4004744 h 4268514"/>
              <a:gd name="connsiteX227" fmla="*/ 1735015 w 6775947"/>
              <a:gd name="connsiteY227" fmla="*/ 4139560 h 4268514"/>
              <a:gd name="connsiteX228" fmla="*/ 1817077 w 6775947"/>
              <a:gd name="connsiteY228" fmla="*/ 4174729 h 4268514"/>
              <a:gd name="connsiteX229" fmla="*/ 1893277 w 6775947"/>
              <a:gd name="connsiteY229" fmla="*/ 4209898 h 4268514"/>
              <a:gd name="connsiteX230" fmla="*/ 2039815 w 6775947"/>
              <a:gd name="connsiteY230" fmla="*/ 4221621 h 4268514"/>
              <a:gd name="connsiteX231" fmla="*/ 2250830 w 6775947"/>
              <a:gd name="connsiteY231" fmla="*/ 4198175 h 4268514"/>
              <a:gd name="connsiteX232" fmla="*/ 2286000 w 6775947"/>
              <a:gd name="connsiteY232" fmla="*/ 4192314 h 4268514"/>
              <a:gd name="connsiteX233" fmla="*/ 2450123 w 6775947"/>
              <a:gd name="connsiteY233" fmla="*/ 4198175 h 4268514"/>
              <a:gd name="connsiteX234" fmla="*/ 2567354 w 6775947"/>
              <a:gd name="connsiteY234" fmla="*/ 4209898 h 4268514"/>
              <a:gd name="connsiteX235" fmla="*/ 2608384 w 6775947"/>
              <a:gd name="connsiteY235" fmla="*/ 4215760 h 4268514"/>
              <a:gd name="connsiteX236" fmla="*/ 2813538 w 6775947"/>
              <a:gd name="connsiteY236" fmla="*/ 4221621 h 4268514"/>
              <a:gd name="connsiteX237" fmla="*/ 2924907 w 6775947"/>
              <a:gd name="connsiteY237" fmla="*/ 4233344 h 4268514"/>
              <a:gd name="connsiteX238" fmla="*/ 2960077 w 6775947"/>
              <a:gd name="connsiteY238" fmla="*/ 4239206 h 4268514"/>
              <a:gd name="connsiteX239" fmla="*/ 3006969 w 6775947"/>
              <a:gd name="connsiteY239" fmla="*/ 4245067 h 4268514"/>
              <a:gd name="connsiteX240" fmla="*/ 3106615 w 6775947"/>
              <a:gd name="connsiteY240" fmla="*/ 4262652 h 4268514"/>
              <a:gd name="connsiteX241" fmla="*/ 3130061 w 6775947"/>
              <a:gd name="connsiteY241" fmla="*/ 4268514 h 4268514"/>
              <a:gd name="connsiteX242" fmla="*/ 3294184 w 6775947"/>
              <a:gd name="connsiteY242" fmla="*/ 4262652 h 4268514"/>
              <a:gd name="connsiteX243" fmla="*/ 3323492 w 6775947"/>
              <a:gd name="connsiteY243" fmla="*/ 4256791 h 4268514"/>
              <a:gd name="connsiteX244" fmla="*/ 3364523 w 6775947"/>
              <a:gd name="connsiteY244" fmla="*/ 4250929 h 4268514"/>
              <a:gd name="connsiteX245" fmla="*/ 4525107 w 6775947"/>
              <a:gd name="connsiteY245" fmla="*/ 4256791 h 4268514"/>
              <a:gd name="connsiteX246" fmla="*/ 4759569 w 6775947"/>
              <a:gd name="connsiteY246" fmla="*/ 4209898 h 4268514"/>
              <a:gd name="connsiteX247" fmla="*/ 5175738 w 6775947"/>
              <a:gd name="connsiteY247" fmla="*/ 4186452 h 4268514"/>
              <a:gd name="connsiteX248" fmla="*/ 5216769 w 6775947"/>
              <a:gd name="connsiteY248" fmla="*/ 4157144 h 4268514"/>
              <a:gd name="connsiteX249" fmla="*/ 5234354 w 6775947"/>
              <a:gd name="connsiteY249" fmla="*/ 4133698 h 4268514"/>
              <a:gd name="connsiteX250" fmla="*/ 5251938 w 6775947"/>
              <a:gd name="connsiteY250" fmla="*/ 4116114 h 4268514"/>
              <a:gd name="connsiteX251" fmla="*/ 5275384 w 6775947"/>
              <a:gd name="connsiteY251" fmla="*/ 4086806 h 4268514"/>
              <a:gd name="connsiteX252" fmla="*/ 5404338 w 6775947"/>
              <a:gd name="connsiteY252" fmla="*/ 3998883 h 4268514"/>
              <a:gd name="connsiteX253" fmla="*/ 5498123 w 6775947"/>
              <a:gd name="connsiteY253" fmla="*/ 3910960 h 4268514"/>
              <a:gd name="connsiteX254" fmla="*/ 5550877 w 6775947"/>
              <a:gd name="connsiteY254" fmla="*/ 3875791 h 4268514"/>
              <a:gd name="connsiteX255" fmla="*/ 5715000 w 6775947"/>
              <a:gd name="connsiteY255" fmla="*/ 3699944 h 4268514"/>
              <a:gd name="connsiteX256" fmla="*/ 5802923 w 6775947"/>
              <a:gd name="connsiteY256" fmla="*/ 3594437 h 4268514"/>
              <a:gd name="connsiteX257" fmla="*/ 5838092 w 6775947"/>
              <a:gd name="connsiteY257" fmla="*/ 3524098 h 4268514"/>
              <a:gd name="connsiteX258" fmla="*/ 5879123 w 6775947"/>
              <a:gd name="connsiteY258" fmla="*/ 3453760 h 4268514"/>
              <a:gd name="connsiteX259" fmla="*/ 5908430 w 6775947"/>
              <a:gd name="connsiteY259" fmla="*/ 3424452 h 4268514"/>
              <a:gd name="connsiteX260" fmla="*/ 5926015 w 6775947"/>
              <a:gd name="connsiteY260" fmla="*/ 3389283 h 4268514"/>
              <a:gd name="connsiteX261" fmla="*/ 6119446 w 6775947"/>
              <a:gd name="connsiteY261" fmla="*/ 3195852 h 4268514"/>
              <a:gd name="connsiteX262" fmla="*/ 6236677 w 6775947"/>
              <a:gd name="connsiteY262" fmla="*/ 3072760 h 4268514"/>
              <a:gd name="connsiteX263" fmla="*/ 6318738 w 6775947"/>
              <a:gd name="connsiteY263" fmla="*/ 2937944 h 4268514"/>
              <a:gd name="connsiteX264" fmla="*/ 6330461 w 6775947"/>
              <a:gd name="connsiteY264" fmla="*/ 2879329 h 4268514"/>
              <a:gd name="connsiteX265" fmla="*/ 6453554 w 6775947"/>
              <a:gd name="connsiteY265" fmla="*/ 2551083 h 4268514"/>
              <a:gd name="connsiteX266" fmla="*/ 6547338 w 6775947"/>
              <a:gd name="connsiteY266" fmla="*/ 2375237 h 4268514"/>
              <a:gd name="connsiteX267" fmla="*/ 6629400 w 6775947"/>
              <a:gd name="connsiteY267" fmla="*/ 2240421 h 4268514"/>
              <a:gd name="connsiteX268" fmla="*/ 6646984 w 6775947"/>
              <a:gd name="connsiteY268" fmla="*/ 2205252 h 4268514"/>
              <a:gd name="connsiteX269" fmla="*/ 6705600 w 6775947"/>
              <a:gd name="connsiteY269" fmla="*/ 2152498 h 4268514"/>
              <a:gd name="connsiteX270" fmla="*/ 6723184 w 6775947"/>
              <a:gd name="connsiteY270" fmla="*/ 2099744 h 4268514"/>
              <a:gd name="connsiteX271" fmla="*/ 6764215 w 6775947"/>
              <a:gd name="connsiteY271" fmla="*/ 1859421 h 4268514"/>
              <a:gd name="connsiteX272" fmla="*/ 6764215 w 6775947"/>
              <a:gd name="connsiteY272" fmla="*/ 804344 h 4268514"/>
              <a:gd name="connsiteX273" fmla="*/ 6740769 w 6775947"/>
              <a:gd name="connsiteY273" fmla="*/ 218191 h 4268514"/>
              <a:gd name="connsiteX274" fmla="*/ 6729046 w 6775947"/>
              <a:gd name="connsiteY274" fmla="*/ 147852 h 4268514"/>
              <a:gd name="connsiteX275" fmla="*/ 6723184 w 6775947"/>
              <a:gd name="connsiteY275" fmla="*/ 124406 h 4268514"/>
              <a:gd name="connsiteX276" fmla="*/ 6670430 w 6775947"/>
              <a:gd name="connsiteY276" fmla="*/ 77514 h 4268514"/>
              <a:gd name="connsiteX277" fmla="*/ 6559061 w 6775947"/>
              <a:gd name="connsiteY277" fmla="*/ 48206 h 4268514"/>
              <a:gd name="connsiteX278" fmla="*/ 6506307 w 6775947"/>
              <a:gd name="connsiteY278" fmla="*/ 18898 h 4268514"/>
              <a:gd name="connsiteX279" fmla="*/ 6477000 w 6775947"/>
              <a:gd name="connsiteY279" fmla="*/ 7175 h 4268514"/>
              <a:gd name="connsiteX280" fmla="*/ 6371492 w 6775947"/>
              <a:gd name="connsiteY280" fmla="*/ 36483 h 4268514"/>
              <a:gd name="connsiteX281" fmla="*/ 5597769 w 6775947"/>
              <a:gd name="connsiteY281" fmla="*/ 7175 h 4268514"/>
              <a:gd name="connsiteX282" fmla="*/ 5533292 w 6775947"/>
              <a:gd name="connsiteY282" fmla="*/ 1314 h 4268514"/>
              <a:gd name="connsiteX283" fmla="*/ 5175738 w 6775947"/>
              <a:gd name="connsiteY283" fmla="*/ 7175 h 4268514"/>
              <a:gd name="connsiteX284" fmla="*/ 5064369 w 6775947"/>
              <a:gd name="connsiteY284" fmla="*/ 18898 h 4268514"/>
              <a:gd name="connsiteX285" fmla="*/ 4360984 w 6775947"/>
              <a:gd name="connsiteY285" fmla="*/ 30621 h 4268514"/>
              <a:gd name="connsiteX286" fmla="*/ 4314092 w 6775947"/>
              <a:gd name="connsiteY286" fmla="*/ 83375 h 4268514"/>
              <a:gd name="connsiteX287" fmla="*/ 4302369 w 6775947"/>
              <a:gd name="connsiteY287" fmla="*/ 141991 h 4268514"/>
              <a:gd name="connsiteX0" fmla="*/ 4302369 w 6775947"/>
              <a:gd name="connsiteY0" fmla="*/ 141991 h 4268514"/>
              <a:gd name="connsiteX1" fmla="*/ 4302369 w 6775947"/>
              <a:gd name="connsiteY1" fmla="*/ 141991 h 4268514"/>
              <a:gd name="connsiteX2" fmla="*/ 4232030 w 6775947"/>
              <a:gd name="connsiteY2" fmla="*/ 106821 h 4268514"/>
              <a:gd name="connsiteX3" fmla="*/ 4208584 w 6775947"/>
              <a:gd name="connsiteY3" fmla="*/ 89237 h 4268514"/>
              <a:gd name="connsiteX4" fmla="*/ 4149969 w 6775947"/>
              <a:gd name="connsiteY4" fmla="*/ 71652 h 4268514"/>
              <a:gd name="connsiteX5" fmla="*/ 4097215 w 6775947"/>
              <a:gd name="connsiteY5" fmla="*/ 59929 h 4268514"/>
              <a:gd name="connsiteX6" fmla="*/ 4073769 w 6775947"/>
              <a:gd name="connsiteY6" fmla="*/ 54067 h 4268514"/>
              <a:gd name="connsiteX7" fmla="*/ 3927230 w 6775947"/>
              <a:gd name="connsiteY7" fmla="*/ 42344 h 4268514"/>
              <a:gd name="connsiteX8" fmla="*/ 3745523 w 6775947"/>
              <a:gd name="connsiteY8" fmla="*/ 18898 h 4268514"/>
              <a:gd name="connsiteX9" fmla="*/ 3716215 w 6775947"/>
              <a:gd name="connsiteY9" fmla="*/ 7175 h 4268514"/>
              <a:gd name="connsiteX10" fmla="*/ 3563815 w 6775947"/>
              <a:gd name="connsiteY10" fmla="*/ 7175 h 4268514"/>
              <a:gd name="connsiteX11" fmla="*/ 3499338 w 6775947"/>
              <a:gd name="connsiteY11" fmla="*/ 24760 h 4268514"/>
              <a:gd name="connsiteX12" fmla="*/ 3458307 w 6775947"/>
              <a:gd name="connsiteY12" fmla="*/ 30621 h 4268514"/>
              <a:gd name="connsiteX13" fmla="*/ 3376246 w 6775947"/>
              <a:gd name="connsiteY13" fmla="*/ 42344 h 4268514"/>
              <a:gd name="connsiteX14" fmla="*/ 3352800 w 6775947"/>
              <a:gd name="connsiteY14" fmla="*/ 48206 h 4268514"/>
              <a:gd name="connsiteX15" fmla="*/ 3288323 w 6775947"/>
              <a:gd name="connsiteY15" fmla="*/ 77514 h 4268514"/>
              <a:gd name="connsiteX16" fmla="*/ 3194538 w 6775947"/>
              <a:gd name="connsiteY16" fmla="*/ 95098 h 4268514"/>
              <a:gd name="connsiteX17" fmla="*/ 3112477 w 6775947"/>
              <a:gd name="connsiteY17" fmla="*/ 124406 h 4268514"/>
              <a:gd name="connsiteX18" fmla="*/ 3059723 w 6775947"/>
              <a:gd name="connsiteY18" fmla="*/ 194744 h 4268514"/>
              <a:gd name="connsiteX19" fmla="*/ 2971800 w 6775947"/>
              <a:gd name="connsiteY19" fmla="*/ 335421 h 4268514"/>
              <a:gd name="connsiteX20" fmla="*/ 2960077 w 6775947"/>
              <a:gd name="connsiteY20" fmla="*/ 382314 h 4268514"/>
              <a:gd name="connsiteX21" fmla="*/ 2948354 w 6775947"/>
              <a:gd name="connsiteY21" fmla="*/ 423344 h 4268514"/>
              <a:gd name="connsiteX22" fmla="*/ 2954215 w 6775947"/>
              <a:gd name="connsiteY22" fmla="*/ 698837 h 4268514"/>
              <a:gd name="connsiteX23" fmla="*/ 2971800 w 6775947"/>
              <a:gd name="connsiteY23" fmla="*/ 892267 h 4268514"/>
              <a:gd name="connsiteX24" fmla="*/ 2989384 w 6775947"/>
              <a:gd name="connsiteY24" fmla="*/ 1015360 h 4268514"/>
              <a:gd name="connsiteX25" fmla="*/ 3018692 w 6775947"/>
              <a:gd name="connsiteY25" fmla="*/ 1115006 h 4268514"/>
              <a:gd name="connsiteX26" fmla="*/ 3036277 w 6775947"/>
              <a:gd name="connsiteY26" fmla="*/ 1191206 h 4268514"/>
              <a:gd name="connsiteX27" fmla="*/ 3042138 w 6775947"/>
              <a:gd name="connsiteY27" fmla="*/ 1255683 h 4268514"/>
              <a:gd name="connsiteX28" fmla="*/ 3071446 w 6775947"/>
              <a:gd name="connsiteY28" fmla="*/ 1314298 h 4268514"/>
              <a:gd name="connsiteX29" fmla="*/ 3171092 w 6775947"/>
              <a:gd name="connsiteY29" fmla="*/ 1537037 h 4268514"/>
              <a:gd name="connsiteX30" fmla="*/ 3200400 w 6775947"/>
              <a:gd name="connsiteY30" fmla="*/ 1589791 h 4268514"/>
              <a:gd name="connsiteX31" fmla="*/ 3229707 w 6775947"/>
              <a:gd name="connsiteY31" fmla="*/ 1636683 h 4268514"/>
              <a:gd name="connsiteX32" fmla="*/ 3276600 w 6775947"/>
              <a:gd name="connsiteY32" fmla="*/ 1724606 h 4268514"/>
              <a:gd name="connsiteX33" fmla="*/ 3341077 w 6775947"/>
              <a:gd name="connsiteY33" fmla="*/ 1830114 h 4268514"/>
              <a:gd name="connsiteX34" fmla="*/ 3446584 w 6775947"/>
              <a:gd name="connsiteY34" fmla="*/ 1935621 h 4268514"/>
              <a:gd name="connsiteX35" fmla="*/ 3511061 w 6775947"/>
              <a:gd name="connsiteY35" fmla="*/ 2011821 h 4268514"/>
              <a:gd name="connsiteX36" fmla="*/ 3616569 w 6775947"/>
              <a:gd name="connsiteY36" fmla="*/ 2093883 h 4268514"/>
              <a:gd name="connsiteX37" fmla="*/ 3675184 w 6775947"/>
              <a:gd name="connsiteY37" fmla="*/ 2134914 h 4268514"/>
              <a:gd name="connsiteX38" fmla="*/ 3774830 w 6775947"/>
              <a:gd name="connsiteY38" fmla="*/ 2211114 h 4268514"/>
              <a:gd name="connsiteX39" fmla="*/ 3833446 w 6775947"/>
              <a:gd name="connsiteY39" fmla="*/ 2222837 h 4268514"/>
              <a:gd name="connsiteX40" fmla="*/ 3903784 w 6775947"/>
              <a:gd name="connsiteY40" fmla="*/ 2240421 h 4268514"/>
              <a:gd name="connsiteX41" fmla="*/ 3944815 w 6775947"/>
              <a:gd name="connsiteY41" fmla="*/ 2246283 h 4268514"/>
              <a:gd name="connsiteX42" fmla="*/ 4050323 w 6775947"/>
              <a:gd name="connsiteY42" fmla="*/ 2263867 h 4268514"/>
              <a:gd name="connsiteX43" fmla="*/ 4073769 w 6775947"/>
              <a:gd name="connsiteY43" fmla="*/ 2269729 h 4268514"/>
              <a:gd name="connsiteX44" fmla="*/ 4155830 w 6775947"/>
              <a:gd name="connsiteY44" fmla="*/ 2275591 h 4268514"/>
              <a:gd name="connsiteX45" fmla="*/ 4255477 w 6775947"/>
              <a:gd name="connsiteY45" fmla="*/ 2334206 h 4268514"/>
              <a:gd name="connsiteX46" fmla="*/ 4284784 w 6775947"/>
              <a:gd name="connsiteY46" fmla="*/ 2345929 h 4268514"/>
              <a:gd name="connsiteX47" fmla="*/ 4378569 w 6775947"/>
              <a:gd name="connsiteY47" fmla="*/ 2351791 h 4268514"/>
              <a:gd name="connsiteX48" fmla="*/ 4448907 w 6775947"/>
              <a:gd name="connsiteY48" fmla="*/ 2357652 h 4268514"/>
              <a:gd name="connsiteX49" fmla="*/ 4548554 w 6775947"/>
              <a:gd name="connsiteY49" fmla="*/ 2351791 h 4268514"/>
              <a:gd name="connsiteX50" fmla="*/ 4548553 w 6775947"/>
              <a:gd name="connsiteY50" fmla="*/ 2369375 h 4268514"/>
              <a:gd name="connsiteX51" fmla="*/ 4583722 w 6775947"/>
              <a:gd name="connsiteY51" fmla="*/ 2351791 h 4268514"/>
              <a:gd name="connsiteX52" fmla="*/ 4677507 w 6775947"/>
              <a:gd name="connsiteY52" fmla="*/ 2269729 h 4268514"/>
              <a:gd name="connsiteX53" fmla="*/ 4736123 w 6775947"/>
              <a:gd name="connsiteY53" fmla="*/ 2216976 h 4268514"/>
              <a:gd name="connsiteX54" fmla="*/ 4747846 w 6775947"/>
              <a:gd name="connsiteY54" fmla="*/ 2146637 h 4268514"/>
              <a:gd name="connsiteX55" fmla="*/ 4706815 w 6775947"/>
              <a:gd name="connsiteY55" fmla="*/ 2052852 h 4268514"/>
              <a:gd name="connsiteX56" fmla="*/ 4695092 w 6775947"/>
              <a:gd name="connsiteY56" fmla="*/ 2005960 h 4268514"/>
              <a:gd name="connsiteX57" fmla="*/ 4683369 w 6775947"/>
              <a:gd name="connsiteY57" fmla="*/ 1970791 h 4268514"/>
              <a:gd name="connsiteX58" fmla="*/ 4665784 w 6775947"/>
              <a:gd name="connsiteY58" fmla="*/ 1865283 h 4268514"/>
              <a:gd name="connsiteX59" fmla="*/ 4636477 w 6775947"/>
              <a:gd name="connsiteY59" fmla="*/ 1736329 h 4268514"/>
              <a:gd name="connsiteX60" fmla="*/ 4613030 w 6775947"/>
              <a:gd name="connsiteY60" fmla="*/ 1454975 h 4268514"/>
              <a:gd name="connsiteX61" fmla="*/ 4601307 w 6775947"/>
              <a:gd name="connsiteY61" fmla="*/ 1408083 h 4268514"/>
              <a:gd name="connsiteX62" fmla="*/ 4583723 w 6775947"/>
              <a:gd name="connsiteY62" fmla="*/ 1372914 h 4268514"/>
              <a:gd name="connsiteX63" fmla="*/ 4577861 w 6775947"/>
              <a:gd name="connsiteY63" fmla="*/ 1355329 h 4268514"/>
              <a:gd name="connsiteX64" fmla="*/ 4566138 w 6775947"/>
              <a:gd name="connsiteY64" fmla="*/ 1284991 h 4268514"/>
              <a:gd name="connsiteX65" fmla="*/ 4548554 w 6775947"/>
              <a:gd name="connsiteY65" fmla="*/ 1202929 h 4268514"/>
              <a:gd name="connsiteX66" fmla="*/ 4542692 w 6775947"/>
              <a:gd name="connsiteY66" fmla="*/ 1150175 h 4268514"/>
              <a:gd name="connsiteX67" fmla="*/ 4478215 w 6775947"/>
              <a:gd name="connsiteY67" fmla="*/ 1079837 h 4268514"/>
              <a:gd name="connsiteX68" fmla="*/ 4460630 w 6775947"/>
              <a:gd name="connsiteY68" fmla="*/ 1062252 h 4268514"/>
              <a:gd name="connsiteX69" fmla="*/ 4437184 w 6775947"/>
              <a:gd name="connsiteY69" fmla="*/ 1021221 h 4268514"/>
              <a:gd name="connsiteX70" fmla="*/ 4419600 w 6775947"/>
              <a:gd name="connsiteY70" fmla="*/ 980191 h 4268514"/>
              <a:gd name="connsiteX71" fmla="*/ 4378569 w 6775947"/>
              <a:gd name="connsiteY71" fmla="*/ 862960 h 4268514"/>
              <a:gd name="connsiteX72" fmla="*/ 4325815 w 6775947"/>
              <a:gd name="connsiteY72" fmla="*/ 821929 h 4268514"/>
              <a:gd name="connsiteX73" fmla="*/ 4308230 w 6775947"/>
              <a:gd name="connsiteY73" fmla="*/ 804344 h 4268514"/>
              <a:gd name="connsiteX74" fmla="*/ 4296507 w 6775947"/>
              <a:gd name="connsiteY74" fmla="*/ 757452 h 4268514"/>
              <a:gd name="connsiteX75" fmla="*/ 4308230 w 6775947"/>
              <a:gd name="connsiteY75" fmla="*/ 487821 h 4268514"/>
              <a:gd name="connsiteX76" fmla="*/ 4314092 w 6775947"/>
              <a:gd name="connsiteY76" fmla="*/ 417483 h 4268514"/>
              <a:gd name="connsiteX77" fmla="*/ 4319954 w 6775947"/>
              <a:gd name="connsiteY77" fmla="*/ 394037 h 4268514"/>
              <a:gd name="connsiteX78" fmla="*/ 4337538 w 6775947"/>
              <a:gd name="connsiteY78" fmla="*/ 288529 h 4268514"/>
              <a:gd name="connsiteX79" fmla="*/ 4366846 w 6775947"/>
              <a:gd name="connsiteY79" fmla="*/ 253360 h 4268514"/>
              <a:gd name="connsiteX80" fmla="*/ 4396154 w 6775947"/>
              <a:gd name="connsiteY80" fmla="*/ 224052 h 4268514"/>
              <a:gd name="connsiteX81" fmla="*/ 4413738 w 6775947"/>
              <a:gd name="connsiteY81" fmla="*/ 194744 h 4268514"/>
              <a:gd name="connsiteX82" fmla="*/ 4495800 w 6775947"/>
              <a:gd name="connsiteY82" fmla="*/ 136129 h 4268514"/>
              <a:gd name="connsiteX83" fmla="*/ 4554415 w 6775947"/>
              <a:gd name="connsiteY83" fmla="*/ 106821 h 4268514"/>
              <a:gd name="connsiteX84" fmla="*/ 4613030 w 6775947"/>
              <a:gd name="connsiteY84" fmla="*/ 83375 h 4268514"/>
              <a:gd name="connsiteX85" fmla="*/ 4671646 w 6775947"/>
              <a:gd name="connsiteY85" fmla="*/ 77514 h 4268514"/>
              <a:gd name="connsiteX86" fmla="*/ 5246077 w 6775947"/>
              <a:gd name="connsiteY86" fmla="*/ 71652 h 4268514"/>
              <a:gd name="connsiteX87" fmla="*/ 5304692 w 6775947"/>
              <a:gd name="connsiteY87" fmla="*/ 83375 h 4268514"/>
              <a:gd name="connsiteX88" fmla="*/ 5345723 w 6775947"/>
              <a:gd name="connsiteY88" fmla="*/ 89237 h 4268514"/>
              <a:gd name="connsiteX89" fmla="*/ 5527430 w 6775947"/>
              <a:gd name="connsiteY89" fmla="*/ 95098 h 4268514"/>
              <a:gd name="connsiteX90" fmla="*/ 5545015 w 6775947"/>
              <a:gd name="connsiteY90" fmla="*/ 100960 h 4268514"/>
              <a:gd name="connsiteX91" fmla="*/ 5586046 w 6775947"/>
              <a:gd name="connsiteY91" fmla="*/ 136129 h 4268514"/>
              <a:gd name="connsiteX92" fmla="*/ 5615354 w 6775947"/>
              <a:gd name="connsiteY92" fmla="*/ 159575 h 4268514"/>
              <a:gd name="connsiteX93" fmla="*/ 5632938 w 6775947"/>
              <a:gd name="connsiteY93" fmla="*/ 165437 h 4268514"/>
              <a:gd name="connsiteX94" fmla="*/ 5656384 w 6775947"/>
              <a:gd name="connsiteY94" fmla="*/ 183021 h 4268514"/>
              <a:gd name="connsiteX95" fmla="*/ 5709138 w 6775947"/>
              <a:gd name="connsiteY95" fmla="*/ 218191 h 4268514"/>
              <a:gd name="connsiteX96" fmla="*/ 5738446 w 6775947"/>
              <a:gd name="connsiteY96" fmla="*/ 247498 h 4268514"/>
              <a:gd name="connsiteX97" fmla="*/ 5756030 w 6775947"/>
              <a:gd name="connsiteY97" fmla="*/ 282667 h 4268514"/>
              <a:gd name="connsiteX98" fmla="*/ 5791200 w 6775947"/>
              <a:gd name="connsiteY98" fmla="*/ 341283 h 4268514"/>
              <a:gd name="connsiteX99" fmla="*/ 5756030 w 6775947"/>
              <a:gd name="connsiteY99" fmla="*/ 593329 h 4268514"/>
              <a:gd name="connsiteX100" fmla="*/ 5709138 w 6775947"/>
              <a:gd name="connsiteY100" fmla="*/ 751591 h 4268514"/>
              <a:gd name="connsiteX101" fmla="*/ 5650523 w 6775947"/>
              <a:gd name="connsiteY101" fmla="*/ 880544 h 4268514"/>
              <a:gd name="connsiteX102" fmla="*/ 5597769 w 6775947"/>
              <a:gd name="connsiteY102" fmla="*/ 1009498 h 4268514"/>
              <a:gd name="connsiteX103" fmla="*/ 5591907 w 6775947"/>
              <a:gd name="connsiteY103" fmla="*/ 1038806 h 4268514"/>
              <a:gd name="connsiteX104" fmla="*/ 5586046 w 6775947"/>
              <a:gd name="connsiteY104" fmla="*/ 1056391 h 4268514"/>
              <a:gd name="connsiteX105" fmla="*/ 5556738 w 6775947"/>
              <a:gd name="connsiteY105" fmla="*/ 1173621 h 4268514"/>
              <a:gd name="connsiteX106" fmla="*/ 5515707 w 6775947"/>
              <a:gd name="connsiteY106" fmla="*/ 1279129 h 4268514"/>
              <a:gd name="connsiteX107" fmla="*/ 5480538 w 6775947"/>
              <a:gd name="connsiteY107" fmla="*/ 1396360 h 4268514"/>
              <a:gd name="connsiteX108" fmla="*/ 5468815 w 6775947"/>
              <a:gd name="connsiteY108" fmla="*/ 1425667 h 4268514"/>
              <a:gd name="connsiteX109" fmla="*/ 5439507 w 6775947"/>
              <a:gd name="connsiteY109" fmla="*/ 1478421 h 4268514"/>
              <a:gd name="connsiteX110" fmla="*/ 5421923 w 6775947"/>
              <a:gd name="connsiteY110" fmla="*/ 1531175 h 4268514"/>
              <a:gd name="connsiteX111" fmla="*/ 5392615 w 6775947"/>
              <a:gd name="connsiteY111" fmla="*/ 1607375 h 4268514"/>
              <a:gd name="connsiteX112" fmla="*/ 5369169 w 6775947"/>
              <a:gd name="connsiteY112" fmla="*/ 1677714 h 4268514"/>
              <a:gd name="connsiteX113" fmla="*/ 5351584 w 6775947"/>
              <a:gd name="connsiteY113" fmla="*/ 1835975 h 4268514"/>
              <a:gd name="connsiteX114" fmla="*/ 5339861 w 6775947"/>
              <a:gd name="connsiteY114" fmla="*/ 1865283 h 4268514"/>
              <a:gd name="connsiteX115" fmla="*/ 5334000 w 6775947"/>
              <a:gd name="connsiteY115" fmla="*/ 1888729 h 4268514"/>
              <a:gd name="connsiteX116" fmla="*/ 5316415 w 6775947"/>
              <a:gd name="connsiteY116" fmla="*/ 1970791 h 4268514"/>
              <a:gd name="connsiteX117" fmla="*/ 5292969 w 6775947"/>
              <a:gd name="connsiteY117" fmla="*/ 2005960 h 4268514"/>
              <a:gd name="connsiteX118" fmla="*/ 5269523 w 6775947"/>
              <a:gd name="connsiteY118" fmla="*/ 2052852 h 4268514"/>
              <a:gd name="connsiteX119" fmla="*/ 5257800 w 6775947"/>
              <a:gd name="connsiteY119" fmla="*/ 2076298 h 4268514"/>
              <a:gd name="connsiteX120" fmla="*/ 5240215 w 6775947"/>
              <a:gd name="connsiteY120" fmla="*/ 2099744 h 4268514"/>
              <a:gd name="connsiteX121" fmla="*/ 5234354 w 6775947"/>
              <a:gd name="connsiteY121" fmla="*/ 2129052 h 4268514"/>
              <a:gd name="connsiteX122" fmla="*/ 5222630 w 6775947"/>
              <a:gd name="connsiteY122" fmla="*/ 2140775 h 4268514"/>
              <a:gd name="connsiteX123" fmla="*/ 5210907 w 6775947"/>
              <a:gd name="connsiteY123" fmla="*/ 2164221 h 4268514"/>
              <a:gd name="connsiteX124" fmla="*/ 5193323 w 6775947"/>
              <a:gd name="connsiteY124" fmla="*/ 2187667 h 4268514"/>
              <a:gd name="connsiteX125" fmla="*/ 5175738 w 6775947"/>
              <a:gd name="connsiteY125" fmla="*/ 2263867 h 4268514"/>
              <a:gd name="connsiteX126" fmla="*/ 5216769 w 6775947"/>
              <a:gd name="connsiteY126" fmla="*/ 2304898 h 4268514"/>
              <a:gd name="connsiteX127" fmla="*/ 5234353 w 6775947"/>
              <a:gd name="connsiteY127" fmla="*/ 2345928 h 4268514"/>
              <a:gd name="connsiteX128" fmla="*/ 5251939 w 6775947"/>
              <a:gd name="connsiteY128" fmla="*/ 2357653 h 4268514"/>
              <a:gd name="connsiteX129" fmla="*/ 5281246 w 6775947"/>
              <a:gd name="connsiteY129" fmla="*/ 2427991 h 4268514"/>
              <a:gd name="connsiteX130" fmla="*/ 5287107 w 6775947"/>
              <a:gd name="connsiteY130" fmla="*/ 2556944 h 4268514"/>
              <a:gd name="connsiteX131" fmla="*/ 5298830 w 6775947"/>
              <a:gd name="connsiteY131" fmla="*/ 2615560 h 4268514"/>
              <a:gd name="connsiteX132" fmla="*/ 5310554 w 6775947"/>
              <a:gd name="connsiteY132" fmla="*/ 2721067 h 4268514"/>
              <a:gd name="connsiteX133" fmla="*/ 5316415 w 6775947"/>
              <a:gd name="connsiteY133" fmla="*/ 2885191 h 4268514"/>
              <a:gd name="connsiteX134" fmla="*/ 5357446 w 6775947"/>
              <a:gd name="connsiteY134" fmla="*/ 2978975 h 4268514"/>
              <a:gd name="connsiteX135" fmla="*/ 5363307 w 6775947"/>
              <a:gd name="connsiteY135" fmla="*/ 3014144 h 4268514"/>
              <a:gd name="connsiteX136" fmla="*/ 5380892 w 6775947"/>
              <a:gd name="connsiteY136" fmla="*/ 3037591 h 4268514"/>
              <a:gd name="connsiteX137" fmla="*/ 5386754 w 6775947"/>
              <a:gd name="connsiteY137" fmla="*/ 3084483 h 4268514"/>
              <a:gd name="connsiteX138" fmla="*/ 5404338 w 6775947"/>
              <a:gd name="connsiteY138" fmla="*/ 3131375 h 4268514"/>
              <a:gd name="connsiteX139" fmla="*/ 5404338 w 6775947"/>
              <a:gd name="connsiteY139" fmla="*/ 3324806 h 4268514"/>
              <a:gd name="connsiteX140" fmla="*/ 5398477 w 6775947"/>
              <a:gd name="connsiteY140" fmla="*/ 3823037 h 4268514"/>
              <a:gd name="connsiteX141" fmla="*/ 5380892 w 6775947"/>
              <a:gd name="connsiteY141" fmla="*/ 3881652 h 4268514"/>
              <a:gd name="connsiteX142" fmla="*/ 5369169 w 6775947"/>
              <a:gd name="connsiteY142" fmla="*/ 3916821 h 4268514"/>
              <a:gd name="connsiteX143" fmla="*/ 5339861 w 6775947"/>
              <a:gd name="connsiteY143" fmla="*/ 3946129 h 4268514"/>
              <a:gd name="connsiteX144" fmla="*/ 5322277 w 6775947"/>
              <a:gd name="connsiteY144" fmla="*/ 3981298 h 4268514"/>
              <a:gd name="connsiteX145" fmla="*/ 5257800 w 6775947"/>
              <a:gd name="connsiteY145" fmla="*/ 4057498 h 4268514"/>
              <a:gd name="connsiteX146" fmla="*/ 5228492 w 6775947"/>
              <a:gd name="connsiteY146" fmla="*/ 4080944 h 4268514"/>
              <a:gd name="connsiteX147" fmla="*/ 5146430 w 6775947"/>
              <a:gd name="connsiteY147" fmla="*/ 4121975 h 4268514"/>
              <a:gd name="connsiteX148" fmla="*/ 5117123 w 6775947"/>
              <a:gd name="connsiteY148" fmla="*/ 4139560 h 4268514"/>
              <a:gd name="connsiteX149" fmla="*/ 5087815 w 6775947"/>
              <a:gd name="connsiteY149" fmla="*/ 4145421 h 4268514"/>
              <a:gd name="connsiteX150" fmla="*/ 4988169 w 6775947"/>
              <a:gd name="connsiteY150" fmla="*/ 4163006 h 4268514"/>
              <a:gd name="connsiteX151" fmla="*/ 4753707 w 6775947"/>
              <a:gd name="connsiteY151" fmla="*/ 4151283 h 4268514"/>
              <a:gd name="connsiteX152" fmla="*/ 4695092 w 6775947"/>
              <a:gd name="connsiteY152" fmla="*/ 4139560 h 4268514"/>
              <a:gd name="connsiteX153" fmla="*/ 4589584 w 6775947"/>
              <a:gd name="connsiteY153" fmla="*/ 4151283 h 4268514"/>
              <a:gd name="connsiteX154" fmla="*/ 4560277 w 6775947"/>
              <a:gd name="connsiteY154" fmla="*/ 4163006 h 4268514"/>
              <a:gd name="connsiteX155" fmla="*/ 4484077 w 6775947"/>
              <a:gd name="connsiteY155" fmla="*/ 4180591 h 4268514"/>
              <a:gd name="connsiteX156" fmla="*/ 4443046 w 6775947"/>
              <a:gd name="connsiteY156" fmla="*/ 4198175 h 4268514"/>
              <a:gd name="connsiteX157" fmla="*/ 4413738 w 6775947"/>
              <a:gd name="connsiteY157" fmla="*/ 4204037 h 4268514"/>
              <a:gd name="connsiteX158" fmla="*/ 4355123 w 6775947"/>
              <a:gd name="connsiteY158" fmla="*/ 4215760 h 4268514"/>
              <a:gd name="connsiteX159" fmla="*/ 4273061 w 6775947"/>
              <a:gd name="connsiteY159" fmla="*/ 4209898 h 4268514"/>
              <a:gd name="connsiteX160" fmla="*/ 4185138 w 6775947"/>
              <a:gd name="connsiteY160" fmla="*/ 4198175 h 4268514"/>
              <a:gd name="connsiteX161" fmla="*/ 4155830 w 6775947"/>
              <a:gd name="connsiteY161" fmla="*/ 4209898 h 4268514"/>
              <a:gd name="connsiteX162" fmla="*/ 4138246 w 6775947"/>
              <a:gd name="connsiteY162" fmla="*/ 4215760 h 4268514"/>
              <a:gd name="connsiteX163" fmla="*/ 3991707 w 6775947"/>
              <a:gd name="connsiteY163" fmla="*/ 4227483 h 4268514"/>
              <a:gd name="connsiteX164" fmla="*/ 3933092 w 6775947"/>
              <a:gd name="connsiteY164" fmla="*/ 4250929 h 4268514"/>
              <a:gd name="connsiteX165" fmla="*/ 3915507 w 6775947"/>
              <a:gd name="connsiteY165" fmla="*/ 4262652 h 4268514"/>
              <a:gd name="connsiteX166" fmla="*/ 3704492 w 6775947"/>
              <a:gd name="connsiteY166" fmla="*/ 4268514 h 4268514"/>
              <a:gd name="connsiteX167" fmla="*/ 3552092 w 6775947"/>
              <a:gd name="connsiteY167" fmla="*/ 4233344 h 4268514"/>
              <a:gd name="connsiteX168" fmla="*/ 3452446 w 6775947"/>
              <a:gd name="connsiteY168" fmla="*/ 4227483 h 4268514"/>
              <a:gd name="connsiteX169" fmla="*/ 3264877 w 6775947"/>
              <a:gd name="connsiteY169" fmla="*/ 4192314 h 4268514"/>
              <a:gd name="connsiteX170" fmla="*/ 3253154 w 6775947"/>
              <a:gd name="connsiteY170" fmla="*/ 4069221 h 4268514"/>
              <a:gd name="connsiteX171" fmla="*/ 3276600 w 6775947"/>
              <a:gd name="connsiteY171" fmla="*/ 3828898 h 4268514"/>
              <a:gd name="connsiteX172" fmla="*/ 3264877 w 6775947"/>
              <a:gd name="connsiteY172" fmla="*/ 3664775 h 4268514"/>
              <a:gd name="connsiteX173" fmla="*/ 3259015 w 6775947"/>
              <a:gd name="connsiteY173" fmla="*/ 3623744 h 4268514"/>
              <a:gd name="connsiteX174" fmla="*/ 3247292 w 6775947"/>
              <a:gd name="connsiteY174" fmla="*/ 3600298 h 4268514"/>
              <a:gd name="connsiteX175" fmla="*/ 3229707 w 6775947"/>
              <a:gd name="connsiteY175" fmla="*/ 3535821 h 4268514"/>
              <a:gd name="connsiteX176" fmla="*/ 3194538 w 6775947"/>
              <a:gd name="connsiteY176" fmla="*/ 3459621 h 4268514"/>
              <a:gd name="connsiteX177" fmla="*/ 3153507 w 6775947"/>
              <a:gd name="connsiteY177" fmla="*/ 3354114 h 4268514"/>
              <a:gd name="connsiteX178" fmla="*/ 3135923 w 6775947"/>
              <a:gd name="connsiteY178" fmla="*/ 3231021 h 4268514"/>
              <a:gd name="connsiteX179" fmla="*/ 3118338 w 6775947"/>
              <a:gd name="connsiteY179" fmla="*/ 3184129 h 4268514"/>
              <a:gd name="connsiteX180" fmla="*/ 3094892 w 6775947"/>
              <a:gd name="connsiteY180" fmla="*/ 2633144 h 4268514"/>
              <a:gd name="connsiteX181" fmla="*/ 3048000 w 6775947"/>
              <a:gd name="connsiteY181" fmla="*/ 2498329 h 4268514"/>
              <a:gd name="connsiteX182" fmla="*/ 3012830 w 6775947"/>
              <a:gd name="connsiteY182" fmla="*/ 2386960 h 4268514"/>
              <a:gd name="connsiteX183" fmla="*/ 3006969 w 6775947"/>
              <a:gd name="connsiteY183" fmla="*/ 2299037 h 4268514"/>
              <a:gd name="connsiteX184" fmla="*/ 2995246 w 6775947"/>
              <a:gd name="connsiteY184" fmla="*/ 1988375 h 4268514"/>
              <a:gd name="connsiteX185" fmla="*/ 2965938 w 6775947"/>
              <a:gd name="connsiteY185" fmla="*/ 1818391 h 4268514"/>
              <a:gd name="connsiteX186" fmla="*/ 2960077 w 6775947"/>
              <a:gd name="connsiteY186" fmla="*/ 1689437 h 4268514"/>
              <a:gd name="connsiteX187" fmla="*/ 2936630 w 6775947"/>
              <a:gd name="connsiteY187" fmla="*/ 1583929 h 4268514"/>
              <a:gd name="connsiteX188" fmla="*/ 2924907 w 6775947"/>
              <a:gd name="connsiteY188" fmla="*/ 1542898 h 4268514"/>
              <a:gd name="connsiteX189" fmla="*/ 2901461 w 6775947"/>
              <a:gd name="connsiteY189" fmla="*/ 1425667 h 4268514"/>
              <a:gd name="connsiteX190" fmla="*/ 2872154 w 6775947"/>
              <a:gd name="connsiteY190" fmla="*/ 1302575 h 4268514"/>
              <a:gd name="connsiteX191" fmla="*/ 2848707 w 6775947"/>
              <a:gd name="connsiteY191" fmla="*/ 1191206 h 4268514"/>
              <a:gd name="connsiteX192" fmla="*/ 2836984 w 6775947"/>
              <a:gd name="connsiteY192" fmla="*/ 1056391 h 4268514"/>
              <a:gd name="connsiteX193" fmla="*/ 2819400 w 6775947"/>
              <a:gd name="connsiteY193" fmla="*/ 968467 h 4268514"/>
              <a:gd name="connsiteX194" fmla="*/ 2813538 w 6775947"/>
              <a:gd name="connsiteY194" fmla="*/ 909852 h 4268514"/>
              <a:gd name="connsiteX195" fmla="*/ 2801815 w 6775947"/>
              <a:gd name="connsiteY195" fmla="*/ 816067 h 4268514"/>
              <a:gd name="connsiteX196" fmla="*/ 2795954 w 6775947"/>
              <a:gd name="connsiteY196" fmla="*/ 476098 h 4268514"/>
              <a:gd name="connsiteX197" fmla="*/ 2784230 w 6775947"/>
              <a:gd name="connsiteY197" fmla="*/ 335421 h 4268514"/>
              <a:gd name="connsiteX198" fmla="*/ 2754923 w 6775947"/>
              <a:gd name="connsiteY198" fmla="*/ 276806 h 4268514"/>
              <a:gd name="connsiteX199" fmla="*/ 2708030 w 6775947"/>
              <a:gd name="connsiteY199" fmla="*/ 177160 h 4268514"/>
              <a:gd name="connsiteX200" fmla="*/ 2702169 w 6775947"/>
              <a:gd name="connsiteY200" fmla="*/ 159575 h 4268514"/>
              <a:gd name="connsiteX201" fmla="*/ 2678723 w 6775947"/>
              <a:gd name="connsiteY201" fmla="*/ 130267 h 4268514"/>
              <a:gd name="connsiteX202" fmla="*/ 2602523 w 6775947"/>
              <a:gd name="connsiteY202" fmla="*/ 112683 h 4268514"/>
              <a:gd name="connsiteX203" fmla="*/ 2584938 w 6775947"/>
              <a:gd name="connsiteY203" fmla="*/ 106821 h 4268514"/>
              <a:gd name="connsiteX204" fmla="*/ 2514600 w 6775947"/>
              <a:gd name="connsiteY204" fmla="*/ 100960 h 4268514"/>
              <a:gd name="connsiteX205" fmla="*/ 2467707 w 6775947"/>
              <a:gd name="connsiteY205" fmla="*/ 36483 h 4268514"/>
              <a:gd name="connsiteX206" fmla="*/ 2403230 w 6775947"/>
              <a:gd name="connsiteY206" fmla="*/ 30621 h 4268514"/>
              <a:gd name="connsiteX207" fmla="*/ 2321169 w 6775947"/>
              <a:gd name="connsiteY207" fmla="*/ 24760 h 4268514"/>
              <a:gd name="connsiteX208" fmla="*/ 1793630 w 6775947"/>
              <a:gd name="connsiteY208" fmla="*/ 30621 h 4268514"/>
              <a:gd name="connsiteX209" fmla="*/ 1752600 w 6775947"/>
              <a:gd name="connsiteY209" fmla="*/ 42344 h 4268514"/>
              <a:gd name="connsiteX210" fmla="*/ 1717430 w 6775947"/>
              <a:gd name="connsiteY210" fmla="*/ 59929 h 4268514"/>
              <a:gd name="connsiteX211" fmla="*/ 1652954 w 6775947"/>
              <a:gd name="connsiteY211" fmla="*/ 65791 h 4268514"/>
              <a:gd name="connsiteX212" fmla="*/ 1371600 w 6775947"/>
              <a:gd name="connsiteY212" fmla="*/ 54067 h 4268514"/>
              <a:gd name="connsiteX213" fmla="*/ 826477 w 6775947"/>
              <a:gd name="connsiteY213" fmla="*/ 36483 h 4268514"/>
              <a:gd name="connsiteX214" fmla="*/ 451338 w 6775947"/>
              <a:gd name="connsiteY214" fmla="*/ 42344 h 4268514"/>
              <a:gd name="connsiteX215" fmla="*/ 375138 w 6775947"/>
              <a:gd name="connsiteY215" fmla="*/ 65791 h 4268514"/>
              <a:gd name="connsiteX216" fmla="*/ 199292 w 6775947"/>
              <a:gd name="connsiteY216" fmla="*/ 159575 h 4268514"/>
              <a:gd name="connsiteX217" fmla="*/ 146538 w 6775947"/>
              <a:gd name="connsiteY217" fmla="*/ 194744 h 4268514"/>
              <a:gd name="connsiteX218" fmla="*/ 29307 w 6775947"/>
              <a:gd name="connsiteY218" fmla="*/ 528852 h 4268514"/>
              <a:gd name="connsiteX219" fmla="*/ 0 w 6775947"/>
              <a:gd name="connsiteY219" fmla="*/ 898129 h 4268514"/>
              <a:gd name="connsiteX220" fmla="*/ 23446 w 6775947"/>
              <a:gd name="connsiteY220" fmla="*/ 2041129 h 4268514"/>
              <a:gd name="connsiteX221" fmla="*/ 93784 w 6775947"/>
              <a:gd name="connsiteY221" fmla="*/ 2316621 h 4268514"/>
              <a:gd name="connsiteX222" fmla="*/ 433754 w 6775947"/>
              <a:gd name="connsiteY222" fmla="*/ 2937944 h 4268514"/>
              <a:gd name="connsiteX223" fmla="*/ 662354 w 6775947"/>
              <a:gd name="connsiteY223" fmla="*/ 3231021 h 4268514"/>
              <a:gd name="connsiteX224" fmla="*/ 785446 w 6775947"/>
              <a:gd name="connsiteY224" fmla="*/ 3395144 h 4268514"/>
              <a:gd name="connsiteX225" fmla="*/ 1066800 w 6775947"/>
              <a:gd name="connsiteY225" fmla="*/ 3746837 h 4268514"/>
              <a:gd name="connsiteX226" fmla="*/ 1436077 w 6775947"/>
              <a:gd name="connsiteY226" fmla="*/ 4004744 h 4268514"/>
              <a:gd name="connsiteX227" fmla="*/ 1735015 w 6775947"/>
              <a:gd name="connsiteY227" fmla="*/ 4139560 h 4268514"/>
              <a:gd name="connsiteX228" fmla="*/ 1817077 w 6775947"/>
              <a:gd name="connsiteY228" fmla="*/ 4174729 h 4268514"/>
              <a:gd name="connsiteX229" fmla="*/ 1893277 w 6775947"/>
              <a:gd name="connsiteY229" fmla="*/ 4209898 h 4268514"/>
              <a:gd name="connsiteX230" fmla="*/ 2039815 w 6775947"/>
              <a:gd name="connsiteY230" fmla="*/ 4221621 h 4268514"/>
              <a:gd name="connsiteX231" fmla="*/ 2250830 w 6775947"/>
              <a:gd name="connsiteY231" fmla="*/ 4198175 h 4268514"/>
              <a:gd name="connsiteX232" fmla="*/ 2286000 w 6775947"/>
              <a:gd name="connsiteY232" fmla="*/ 4192314 h 4268514"/>
              <a:gd name="connsiteX233" fmla="*/ 2450123 w 6775947"/>
              <a:gd name="connsiteY233" fmla="*/ 4198175 h 4268514"/>
              <a:gd name="connsiteX234" fmla="*/ 2567354 w 6775947"/>
              <a:gd name="connsiteY234" fmla="*/ 4209898 h 4268514"/>
              <a:gd name="connsiteX235" fmla="*/ 2608384 w 6775947"/>
              <a:gd name="connsiteY235" fmla="*/ 4215760 h 4268514"/>
              <a:gd name="connsiteX236" fmla="*/ 2813538 w 6775947"/>
              <a:gd name="connsiteY236" fmla="*/ 4221621 h 4268514"/>
              <a:gd name="connsiteX237" fmla="*/ 2924907 w 6775947"/>
              <a:gd name="connsiteY237" fmla="*/ 4233344 h 4268514"/>
              <a:gd name="connsiteX238" fmla="*/ 2960077 w 6775947"/>
              <a:gd name="connsiteY238" fmla="*/ 4239206 h 4268514"/>
              <a:gd name="connsiteX239" fmla="*/ 3006969 w 6775947"/>
              <a:gd name="connsiteY239" fmla="*/ 4245067 h 4268514"/>
              <a:gd name="connsiteX240" fmla="*/ 3106615 w 6775947"/>
              <a:gd name="connsiteY240" fmla="*/ 4262652 h 4268514"/>
              <a:gd name="connsiteX241" fmla="*/ 3130061 w 6775947"/>
              <a:gd name="connsiteY241" fmla="*/ 4268514 h 4268514"/>
              <a:gd name="connsiteX242" fmla="*/ 3294184 w 6775947"/>
              <a:gd name="connsiteY242" fmla="*/ 4262652 h 4268514"/>
              <a:gd name="connsiteX243" fmla="*/ 3323492 w 6775947"/>
              <a:gd name="connsiteY243" fmla="*/ 4256791 h 4268514"/>
              <a:gd name="connsiteX244" fmla="*/ 3364523 w 6775947"/>
              <a:gd name="connsiteY244" fmla="*/ 4250929 h 4268514"/>
              <a:gd name="connsiteX245" fmla="*/ 4525107 w 6775947"/>
              <a:gd name="connsiteY245" fmla="*/ 4256791 h 4268514"/>
              <a:gd name="connsiteX246" fmla="*/ 4759569 w 6775947"/>
              <a:gd name="connsiteY246" fmla="*/ 4209898 h 4268514"/>
              <a:gd name="connsiteX247" fmla="*/ 5175738 w 6775947"/>
              <a:gd name="connsiteY247" fmla="*/ 4186452 h 4268514"/>
              <a:gd name="connsiteX248" fmla="*/ 5216769 w 6775947"/>
              <a:gd name="connsiteY248" fmla="*/ 4157144 h 4268514"/>
              <a:gd name="connsiteX249" fmla="*/ 5234354 w 6775947"/>
              <a:gd name="connsiteY249" fmla="*/ 4133698 h 4268514"/>
              <a:gd name="connsiteX250" fmla="*/ 5251938 w 6775947"/>
              <a:gd name="connsiteY250" fmla="*/ 4116114 h 4268514"/>
              <a:gd name="connsiteX251" fmla="*/ 5275384 w 6775947"/>
              <a:gd name="connsiteY251" fmla="*/ 4086806 h 4268514"/>
              <a:gd name="connsiteX252" fmla="*/ 5404338 w 6775947"/>
              <a:gd name="connsiteY252" fmla="*/ 3998883 h 4268514"/>
              <a:gd name="connsiteX253" fmla="*/ 5498123 w 6775947"/>
              <a:gd name="connsiteY253" fmla="*/ 3910960 h 4268514"/>
              <a:gd name="connsiteX254" fmla="*/ 5550877 w 6775947"/>
              <a:gd name="connsiteY254" fmla="*/ 3875791 h 4268514"/>
              <a:gd name="connsiteX255" fmla="*/ 5715000 w 6775947"/>
              <a:gd name="connsiteY255" fmla="*/ 3699944 h 4268514"/>
              <a:gd name="connsiteX256" fmla="*/ 5802923 w 6775947"/>
              <a:gd name="connsiteY256" fmla="*/ 3594437 h 4268514"/>
              <a:gd name="connsiteX257" fmla="*/ 5838092 w 6775947"/>
              <a:gd name="connsiteY257" fmla="*/ 3524098 h 4268514"/>
              <a:gd name="connsiteX258" fmla="*/ 5879123 w 6775947"/>
              <a:gd name="connsiteY258" fmla="*/ 3453760 h 4268514"/>
              <a:gd name="connsiteX259" fmla="*/ 5908430 w 6775947"/>
              <a:gd name="connsiteY259" fmla="*/ 3424452 h 4268514"/>
              <a:gd name="connsiteX260" fmla="*/ 5926015 w 6775947"/>
              <a:gd name="connsiteY260" fmla="*/ 3389283 h 4268514"/>
              <a:gd name="connsiteX261" fmla="*/ 6119446 w 6775947"/>
              <a:gd name="connsiteY261" fmla="*/ 3195852 h 4268514"/>
              <a:gd name="connsiteX262" fmla="*/ 6236677 w 6775947"/>
              <a:gd name="connsiteY262" fmla="*/ 3072760 h 4268514"/>
              <a:gd name="connsiteX263" fmla="*/ 6318738 w 6775947"/>
              <a:gd name="connsiteY263" fmla="*/ 2937944 h 4268514"/>
              <a:gd name="connsiteX264" fmla="*/ 6330461 w 6775947"/>
              <a:gd name="connsiteY264" fmla="*/ 2879329 h 4268514"/>
              <a:gd name="connsiteX265" fmla="*/ 6453554 w 6775947"/>
              <a:gd name="connsiteY265" fmla="*/ 2551083 h 4268514"/>
              <a:gd name="connsiteX266" fmla="*/ 6547338 w 6775947"/>
              <a:gd name="connsiteY266" fmla="*/ 2375237 h 4268514"/>
              <a:gd name="connsiteX267" fmla="*/ 6629400 w 6775947"/>
              <a:gd name="connsiteY267" fmla="*/ 2240421 h 4268514"/>
              <a:gd name="connsiteX268" fmla="*/ 6646984 w 6775947"/>
              <a:gd name="connsiteY268" fmla="*/ 2205252 h 4268514"/>
              <a:gd name="connsiteX269" fmla="*/ 6705600 w 6775947"/>
              <a:gd name="connsiteY269" fmla="*/ 2152498 h 4268514"/>
              <a:gd name="connsiteX270" fmla="*/ 6723184 w 6775947"/>
              <a:gd name="connsiteY270" fmla="*/ 2099744 h 4268514"/>
              <a:gd name="connsiteX271" fmla="*/ 6764215 w 6775947"/>
              <a:gd name="connsiteY271" fmla="*/ 1859421 h 4268514"/>
              <a:gd name="connsiteX272" fmla="*/ 6764215 w 6775947"/>
              <a:gd name="connsiteY272" fmla="*/ 804344 h 4268514"/>
              <a:gd name="connsiteX273" fmla="*/ 6740769 w 6775947"/>
              <a:gd name="connsiteY273" fmla="*/ 218191 h 4268514"/>
              <a:gd name="connsiteX274" fmla="*/ 6729046 w 6775947"/>
              <a:gd name="connsiteY274" fmla="*/ 147852 h 4268514"/>
              <a:gd name="connsiteX275" fmla="*/ 6723184 w 6775947"/>
              <a:gd name="connsiteY275" fmla="*/ 124406 h 4268514"/>
              <a:gd name="connsiteX276" fmla="*/ 6670430 w 6775947"/>
              <a:gd name="connsiteY276" fmla="*/ 77514 h 4268514"/>
              <a:gd name="connsiteX277" fmla="*/ 6559061 w 6775947"/>
              <a:gd name="connsiteY277" fmla="*/ 48206 h 4268514"/>
              <a:gd name="connsiteX278" fmla="*/ 6506307 w 6775947"/>
              <a:gd name="connsiteY278" fmla="*/ 18898 h 4268514"/>
              <a:gd name="connsiteX279" fmla="*/ 6477000 w 6775947"/>
              <a:gd name="connsiteY279" fmla="*/ 7175 h 4268514"/>
              <a:gd name="connsiteX280" fmla="*/ 6371492 w 6775947"/>
              <a:gd name="connsiteY280" fmla="*/ 36483 h 4268514"/>
              <a:gd name="connsiteX281" fmla="*/ 5597769 w 6775947"/>
              <a:gd name="connsiteY281" fmla="*/ 7175 h 4268514"/>
              <a:gd name="connsiteX282" fmla="*/ 5533292 w 6775947"/>
              <a:gd name="connsiteY282" fmla="*/ 1314 h 4268514"/>
              <a:gd name="connsiteX283" fmla="*/ 5175738 w 6775947"/>
              <a:gd name="connsiteY283" fmla="*/ 7175 h 4268514"/>
              <a:gd name="connsiteX284" fmla="*/ 5064369 w 6775947"/>
              <a:gd name="connsiteY284" fmla="*/ 18898 h 4268514"/>
              <a:gd name="connsiteX285" fmla="*/ 4360984 w 6775947"/>
              <a:gd name="connsiteY285" fmla="*/ 30621 h 4268514"/>
              <a:gd name="connsiteX286" fmla="*/ 4314092 w 6775947"/>
              <a:gd name="connsiteY286" fmla="*/ 83375 h 4268514"/>
              <a:gd name="connsiteX287" fmla="*/ 4302369 w 6775947"/>
              <a:gd name="connsiteY287" fmla="*/ 141991 h 4268514"/>
              <a:gd name="connsiteX0" fmla="*/ 4302369 w 6775947"/>
              <a:gd name="connsiteY0" fmla="*/ 141991 h 4268514"/>
              <a:gd name="connsiteX1" fmla="*/ 4302369 w 6775947"/>
              <a:gd name="connsiteY1" fmla="*/ 141991 h 4268514"/>
              <a:gd name="connsiteX2" fmla="*/ 4232030 w 6775947"/>
              <a:gd name="connsiteY2" fmla="*/ 106821 h 4268514"/>
              <a:gd name="connsiteX3" fmla="*/ 4208584 w 6775947"/>
              <a:gd name="connsiteY3" fmla="*/ 89237 h 4268514"/>
              <a:gd name="connsiteX4" fmla="*/ 4149969 w 6775947"/>
              <a:gd name="connsiteY4" fmla="*/ 71652 h 4268514"/>
              <a:gd name="connsiteX5" fmla="*/ 4097215 w 6775947"/>
              <a:gd name="connsiteY5" fmla="*/ 59929 h 4268514"/>
              <a:gd name="connsiteX6" fmla="*/ 4073769 w 6775947"/>
              <a:gd name="connsiteY6" fmla="*/ 54067 h 4268514"/>
              <a:gd name="connsiteX7" fmla="*/ 3927230 w 6775947"/>
              <a:gd name="connsiteY7" fmla="*/ 42344 h 4268514"/>
              <a:gd name="connsiteX8" fmla="*/ 3745523 w 6775947"/>
              <a:gd name="connsiteY8" fmla="*/ 18898 h 4268514"/>
              <a:gd name="connsiteX9" fmla="*/ 3716215 w 6775947"/>
              <a:gd name="connsiteY9" fmla="*/ 7175 h 4268514"/>
              <a:gd name="connsiteX10" fmla="*/ 3563815 w 6775947"/>
              <a:gd name="connsiteY10" fmla="*/ 7175 h 4268514"/>
              <a:gd name="connsiteX11" fmla="*/ 3499338 w 6775947"/>
              <a:gd name="connsiteY11" fmla="*/ 24760 h 4268514"/>
              <a:gd name="connsiteX12" fmla="*/ 3458307 w 6775947"/>
              <a:gd name="connsiteY12" fmla="*/ 30621 h 4268514"/>
              <a:gd name="connsiteX13" fmla="*/ 3376246 w 6775947"/>
              <a:gd name="connsiteY13" fmla="*/ 42344 h 4268514"/>
              <a:gd name="connsiteX14" fmla="*/ 3352800 w 6775947"/>
              <a:gd name="connsiteY14" fmla="*/ 48206 h 4268514"/>
              <a:gd name="connsiteX15" fmla="*/ 3288323 w 6775947"/>
              <a:gd name="connsiteY15" fmla="*/ 77514 h 4268514"/>
              <a:gd name="connsiteX16" fmla="*/ 3194538 w 6775947"/>
              <a:gd name="connsiteY16" fmla="*/ 95098 h 4268514"/>
              <a:gd name="connsiteX17" fmla="*/ 3112477 w 6775947"/>
              <a:gd name="connsiteY17" fmla="*/ 124406 h 4268514"/>
              <a:gd name="connsiteX18" fmla="*/ 3059723 w 6775947"/>
              <a:gd name="connsiteY18" fmla="*/ 194744 h 4268514"/>
              <a:gd name="connsiteX19" fmla="*/ 2971800 w 6775947"/>
              <a:gd name="connsiteY19" fmla="*/ 335421 h 4268514"/>
              <a:gd name="connsiteX20" fmla="*/ 2960077 w 6775947"/>
              <a:gd name="connsiteY20" fmla="*/ 382314 h 4268514"/>
              <a:gd name="connsiteX21" fmla="*/ 2948354 w 6775947"/>
              <a:gd name="connsiteY21" fmla="*/ 423344 h 4268514"/>
              <a:gd name="connsiteX22" fmla="*/ 2954215 w 6775947"/>
              <a:gd name="connsiteY22" fmla="*/ 698837 h 4268514"/>
              <a:gd name="connsiteX23" fmla="*/ 2971800 w 6775947"/>
              <a:gd name="connsiteY23" fmla="*/ 892267 h 4268514"/>
              <a:gd name="connsiteX24" fmla="*/ 2989384 w 6775947"/>
              <a:gd name="connsiteY24" fmla="*/ 1015360 h 4268514"/>
              <a:gd name="connsiteX25" fmla="*/ 3018692 w 6775947"/>
              <a:gd name="connsiteY25" fmla="*/ 1115006 h 4268514"/>
              <a:gd name="connsiteX26" fmla="*/ 3036277 w 6775947"/>
              <a:gd name="connsiteY26" fmla="*/ 1191206 h 4268514"/>
              <a:gd name="connsiteX27" fmla="*/ 3042138 w 6775947"/>
              <a:gd name="connsiteY27" fmla="*/ 1255683 h 4268514"/>
              <a:gd name="connsiteX28" fmla="*/ 3071446 w 6775947"/>
              <a:gd name="connsiteY28" fmla="*/ 1314298 h 4268514"/>
              <a:gd name="connsiteX29" fmla="*/ 3171092 w 6775947"/>
              <a:gd name="connsiteY29" fmla="*/ 1537037 h 4268514"/>
              <a:gd name="connsiteX30" fmla="*/ 3200400 w 6775947"/>
              <a:gd name="connsiteY30" fmla="*/ 1589791 h 4268514"/>
              <a:gd name="connsiteX31" fmla="*/ 3229707 w 6775947"/>
              <a:gd name="connsiteY31" fmla="*/ 1636683 h 4268514"/>
              <a:gd name="connsiteX32" fmla="*/ 3276600 w 6775947"/>
              <a:gd name="connsiteY32" fmla="*/ 1724606 h 4268514"/>
              <a:gd name="connsiteX33" fmla="*/ 3341077 w 6775947"/>
              <a:gd name="connsiteY33" fmla="*/ 1830114 h 4268514"/>
              <a:gd name="connsiteX34" fmla="*/ 3446584 w 6775947"/>
              <a:gd name="connsiteY34" fmla="*/ 1935621 h 4268514"/>
              <a:gd name="connsiteX35" fmla="*/ 3511061 w 6775947"/>
              <a:gd name="connsiteY35" fmla="*/ 2011821 h 4268514"/>
              <a:gd name="connsiteX36" fmla="*/ 3616569 w 6775947"/>
              <a:gd name="connsiteY36" fmla="*/ 2093883 h 4268514"/>
              <a:gd name="connsiteX37" fmla="*/ 3675184 w 6775947"/>
              <a:gd name="connsiteY37" fmla="*/ 2134914 h 4268514"/>
              <a:gd name="connsiteX38" fmla="*/ 3774830 w 6775947"/>
              <a:gd name="connsiteY38" fmla="*/ 2211114 h 4268514"/>
              <a:gd name="connsiteX39" fmla="*/ 3833446 w 6775947"/>
              <a:gd name="connsiteY39" fmla="*/ 2222837 h 4268514"/>
              <a:gd name="connsiteX40" fmla="*/ 3903784 w 6775947"/>
              <a:gd name="connsiteY40" fmla="*/ 2240421 h 4268514"/>
              <a:gd name="connsiteX41" fmla="*/ 3944815 w 6775947"/>
              <a:gd name="connsiteY41" fmla="*/ 2246283 h 4268514"/>
              <a:gd name="connsiteX42" fmla="*/ 4050323 w 6775947"/>
              <a:gd name="connsiteY42" fmla="*/ 2263867 h 4268514"/>
              <a:gd name="connsiteX43" fmla="*/ 4073769 w 6775947"/>
              <a:gd name="connsiteY43" fmla="*/ 2269729 h 4268514"/>
              <a:gd name="connsiteX44" fmla="*/ 4155830 w 6775947"/>
              <a:gd name="connsiteY44" fmla="*/ 2275591 h 4268514"/>
              <a:gd name="connsiteX45" fmla="*/ 4255477 w 6775947"/>
              <a:gd name="connsiteY45" fmla="*/ 2334206 h 4268514"/>
              <a:gd name="connsiteX46" fmla="*/ 4284784 w 6775947"/>
              <a:gd name="connsiteY46" fmla="*/ 2345929 h 4268514"/>
              <a:gd name="connsiteX47" fmla="*/ 4378569 w 6775947"/>
              <a:gd name="connsiteY47" fmla="*/ 2351791 h 4268514"/>
              <a:gd name="connsiteX48" fmla="*/ 4448907 w 6775947"/>
              <a:gd name="connsiteY48" fmla="*/ 2357652 h 4268514"/>
              <a:gd name="connsiteX49" fmla="*/ 4548554 w 6775947"/>
              <a:gd name="connsiteY49" fmla="*/ 2351791 h 4268514"/>
              <a:gd name="connsiteX50" fmla="*/ 4548553 w 6775947"/>
              <a:gd name="connsiteY50" fmla="*/ 2369375 h 4268514"/>
              <a:gd name="connsiteX51" fmla="*/ 4583722 w 6775947"/>
              <a:gd name="connsiteY51" fmla="*/ 2351791 h 4268514"/>
              <a:gd name="connsiteX52" fmla="*/ 4677507 w 6775947"/>
              <a:gd name="connsiteY52" fmla="*/ 2269729 h 4268514"/>
              <a:gd name="connsiteX53" fmla="*/ 4736123 w 6775947"/>
              <a:gd name="connsiteY53" fmla="*/ 2216976 h 4268514"/>
              <a:gd name="connsiteX54" fmla="*/ 4747846 w 6775947"/>
              <a:gd name="connsiteY54" fmla="*/ 2146637 h 4268514"/>
              <a:gd name="connsiteX55" fmla="*/ 4706815 w 6775947"/>
              <a:gd name="connsiteY55" fmla="*/ 2052852 h 4268514"/>
              <a:gd name="connsiteX56" fmla="*/ 4695092 w 6775947"/>
              <a:gd name="connsiteY56" fmla="*/ 2005960 h 4268514"/>
              <a:gd name="connsiteX57" fmla="*/ 4683369 w 6775947"/>
              <a:gd name="connsiteY57" fmla="*/ 1970791 h 4268514"/>
              <a:gd name="connsiteX58" fmla="*/ 4665784 w 6775947"/>
              <a:gd name="connsiteY58" fmla="*/ 1865283 h 4268514"/>
              <a:gd name="connsiteX59" fmla="*/ 4636477 w 6775947"/>
              <a:gd name="connsiteY59" fmla="*/ 1736329 h 4268514"/>
              <a:gd name="connsiteX60" fmla="*/ 4613030 w 6775947"/>
              <a:gd name="connsiteY60" fmla="*/ 1454975 h 4268514"/>
              <a:gd name="connsiteX61" fmla="*/ 4601307 w 6775947"/>
              <a:gd name="connsiteY61" fmla="*/ 1408083 h 4268514"/>
              <a:gd name="connsiteX62" fmla="*/ 4583723 w 6775947"/>
              <a:gd name="connsiteY62" fmla="*/ 1372914 h 4268514"/>
              <a:gd name="connsiteX63" fmla="*/ 4577861 w 6775947"/>
              <a:gd name="connsiteY63" fmla="*/ 1355329 h 4268514"/>
              <a:gd name="connsiteX64" fmla="*/ 4566138 w 6775947"/>
              <a:gd name="connsiteY64" fmla="*/ 1284991 h 4268514"/>
              <a:gd name="connsiteX65" fmla="*/ 4548554 w 6775947"/>
              <a:gd name="connsiteY65" fmla="*/ 1202929 h 4268514"/>
              <a:gd name="connsiteX66" fmla="*/ 4542692 w 6775947"/>
              <a:gd name="connsiteY66" fmla="*/ 1150175 h 4268514"/>
              <a:gd name="connsiteX67" fmla="*/ 4478215 w 6775947"/>
              <a:gd name="connsiteY67" fmla="*/ 1079837 h 4268514"/>
              <a:gd name="connsiteX68" fmla="*/ 4460630 w 6775947"/>
              <a:gd name="connsiteY68" fmla="*/ 1062252 h 4268514"/>
              <a:gd name="connsiteX69" fmla="*/ 4437184 w 6775947"/>
              <a:gd name="connsiteY69" fmla="*/ 1021221 h 4268514"/>
              <a:gd name="connsiteX70" fmla="*/ 4419600 w 6775947"/>
              <a:gd name="connsiteY70" fmla="*/ 980191 h 4268514"/>
              <a:gd name="connsiteX71" fmla="*/ 4378569 w 6775947"/>
              <a:gd name="connsiteY71" fmla="*/ 862960 h 4268514"/>
              <a:gd name="connsiteX72" fmla="*/ 4325815 w 6775947"/>
              <a:gd name="connsiteY72" fmla="*/ 821929 h 4268514"/>
              <a:gd name="connsiteX73" fmla="*/ 4308230 w 6775947"/>
              <a:gd name="connsiteY73" fmla="*/ 804344 h 4268514"/>
              <a:gd name="connsiteX74" fmla="*/ 4296507 w 6775947"/>
              <a:gd name="connsiteY74" fmla="*/ 757452 h 4268514"/>
              <a:gd name="connsiteX75" fmla="*/ 4308230 w 6775947"/>
              <a:gd name="connsiteY75" fmla="*/ 487821 h 4268514"/>
              <a:gd name="connsiteX76" fmla="*/ 4314092 w 6775947"/>
              <a:gd name="connsiteY76" fmla="*/ 417483 h 4268514"/>
              <a:gd name="connsiteX77" fmla="*/ 4319954 w 6775947"/>
              <a:gd name="connsiteY77" fmla="*/ 394037 h 4268514"/>
              <a:gd name="connsiteX78" fmla="*/ 4337538 w 6775947"/>
              <a:gd name="connsiteY78" fmla="*/ 288529 h 4268514"/>
              <a:gd name="connsiteX79" fmla="*/ 4366846 w 6775947"/>
              <a:gd name="connsiteY79" fmla="*/ 253360 h 4268514"/>
              <a:gd name="connsiteX80" fmla="*/ 4396154 w 6775947"/>
              <a:gd name="connsiteY80" fmla="*/ 224052 h 4268514"/>
              <a:gd name="connsiteX81" fmla="*/ 4413738 w 6775947"/>
              <a:gd name="connsiteY81" fmla="*/ 194744 h 4268514"/>
              <a:gd name="connsiteX82" fmla="*/ 4495800 w 6775947"/>
              <a:gd name="connsiteY82" fmla="*/ 136129 h 4268514"/>
              <a:gd name="connsiteX83" fmla="*/ 4554415 w 6775947"/>
              <a:gd name="connsiteY83" fmla="*/ 106821 h 4268514"/>
              <a:gd name="connsiteX84" fmla="*/ 4613030 w 6775947"/>
              <a:gd name="connsiteY84" fmla="*/ 83375 h 4268514"/>
              <a:gd name="connsiteX85" fmla="*/ 4671646 w 6775947"/>
              <a:gd name="connsiteY85" fmla="*/ 77514 h 4268514"/>
              <a:gd name="connsiteX86" fmla="*/ 5246077 w 6775947"/>
              <a:gd name="connsiteY86" fmla="*/ 71652 h 4268514"/>
              <a:gd name="connsiteX87" fmla="*/ 5304692 w 6775947"/>
              <a:gd name="connsiteY87" fmla="*/ 83375 h 4268514"/>
              <a:gd name="connsiteX88" fmla="*/ 5345723 w 6775947"/>
              <a:gd name="connsiteY88" fmla="*/ 89237 h 4268514"/>
              <a:gd name="connsiteX89" fmla="*/ 5527430 w 6775947"/>
              <a:gd name="connsiteY89" fmla="*/ 95098 h 4268514"/>
              <a:gd name="connsiteX90" fmla="*/ 5545015 w 6775947"/>
              <a:gd name="connsiteY90" fmla="*/ 100960 h 4268514"/>
              <a:gd name="connsiteX91" fmla="*/ 5586046 w 6775947"/>
              <a:gd name="connsiteY91" fmla="*/ 136129 h 4268514"/>
              <a:gd name="connsiteX92" fmla="*/ 5615354 w 6775947"/>
              <a:gd name="connsiteY92" fmla="*/ 159575 h 4268514"/>
              <a:gd name="connsiteX93" fmla="*/ 5632938 w 6775947"/>
              <a:gd name="connsiteY93" fmla="*/ 165437 h 4268514"/>
              <a:gd name="connsiteX94" fmla="*/ 5656384 w 6775947"/>
              <a:gd name="connsiteY94" fmla="*/ 183021 h 4268514"/>
              <a:gd name="connsiteX95" fmla="*/ 5709138 w 6775947"/>
              <a:gd name="connsiteY95" fmla="*/ 218191 h 4268514"/>
              <a:gd name="connsiteX96" fmla="*/ 5738446 w 6775947"/>
              <a:gd name="connsiteY96" fmla="*/ 247498 h 4268514"/>
              <a:gd name="connsiteX97" fmla="*/ 5756030 w 6775947"/>
              <a:gd name="connsiteY97" fmla="*/ 282667 h 4268514"/>
              <a:gd name="connsiteX98" fmla="*/ 5791200 w 6775947"/>
              <a:gd name="connsiteY98" fmla="*/ 341283 h 4268514"/>
              <a:gd name="connsiteX99" fmla="*/ 5756030 w 6775947"/>
              <a:gd name="connsiteY99" fmla="*/ 593329 h 4268514"/>
              <a:gd name="connsiteX100" fmla="*/ 5709138 w 6775947"/>
              <a:gd name="connsiteY100" fmla="*/ 751591 h 4268514"/>
              <a:gd name="connsiteX101" fmla="*/ 5650523 w 6775947"/>
              <a:gd name="connsiteY101" fmla="*/ 880544 h 4268514"/>
              <a:gd name="connsiteX102" fmla="*/ 5597769 w 6775947"/>
              <a:gd name="connsiteY102" fmla="*/ 1009498 h 4268514"/>
              <a:gd name="connsiteX103" fmla="*/ 5591907 w 6775947"/>
              <a:gd name="connsiteY103" fmla="*/ 1038806 h 4268514"/>
              <a:gd name="connsiteX104" fmla="*/ 5586046 w 6775947"/>
              <a:gd name="connsiteY104" fmla="*/ 1056391 h 4268514"/>
              <a:gd name="connsiteX105" fmla="*/ 5556738 w 6775947"/>
              <a:gd name="connsiteY105" fmla="*/ 1173621 h 4268514"/>
              <a:gd name="connsiteX106" fmla="*/ 5515707 w 6775947"/>
              <a:gd name="connsiteY106" fmla="*/ 1279129 h 4268514"/>
              <a:gd name="connsiteX107" fmla="*/ 5480538 w 6775947"/>
              <a:gd name="connsiteY107" fmla="*/ 1396360 h 4268514"/>
              <a:gd name="connsiteX108" fmla="*/ 5468815 w 6775947"/>
              <a:gd name="connsiteY108" fmla="*/ 1425667 h 4268514"/>
              <a:gd name="connsiteX109" fmla="*/ 5439507 w 6775947"/>
              <a:gd name="connsiteY109" fmla="*/ 1478421 h 4268514"/>
              <a:gd name="connsiteX110" fmla="*/ 5421923 w 6775947"/>
              <a:gd name="connsiteY110" fmla="*/ 1531175 h 4268514"/>
              <a:gd name="connsiteX111" fmla="*/ 5392615 w 6775947"/>
              <a:gd name="connsiteY111" fmla="*/ 1607375 h 4268514"/>
              <a:gd name="connsiteX112" fmla="*/ 5369169 w 6775947"/>
              <a:gd name="connsiteY112" fmla="*/ 1677714 h 4268514"/>
              <a:gd name="connsiteX113" fmla="*/ 5351584 w 6775947"/>
              <a:gd name="connsiteY113" fmla="*/ 1835975 h 4268514"/>
              <a:gd name="connsiteX114" fmla="*/ 5339861 w 6775947"/>
              <a:gd name="connsiteY114" fmla="*/ 1865283 h 4268514"/>
              <a:gd name="connsiteX115" fmla="*/ 5334000 w 6775947"/>
              <a:gd name="connsiteY115" fmla="*/ 1888729 h 4268514"/>
              <a:gd name="connsiteX116" fmla="*/ 5316415 w 6775947"/>
              <a:gd name="connsiteY116" fmla="*/ 1970791 h 4268514"/>
              <a:gd name="connsiteX117" fmla="*/ 5292969 w 6775947"/>
              <a:gd name="connsiteY117" fmla="*/ 2005960 h 4268514"/>
              <a:gd name="connsiteX118" fmla="*/ 5269523 w 6775947"/>
              <a:gd name="connsiteY118" fmla="*/ 2052852 h 4268514"/>
              <a:gd name="connsiteX119" fmla="*/ 5257800 w 6775947"/>
              <a:gd name="connsiteY119" fmla="*/ 2076298 h 4268514"/>
              <a:gd name="connsiteX120" fmla="*/ 5240215 w 6775947"/>
              <a:gd name="connsiteY120" fmla="*/ 2099744 h 4268514"/>
              <a:gd name="connsiteX121" fmla="*/ 5234354 w 6775947"/>
              <a:gd name="connsiteY121" fmla="*/ 2129052 h 4268514"/>
              <a:gd name="connsiteX122" fmla="*/ 5222630 w 6775947"/>
              <a:gd name="connsiteY122" fmla="*/ 2140775 h 4268514"/>
              <a:gd name="connsiteX123" fmla="*/ 5210907 w 6775947"/>
              <a:gd name="connsiteY123" fmla="*/ 2164221 h 4268514"/>
              <a:gd name="connsiteX124" fmla="*/ 5193323 w 6775947"/>
              <a:gd name="connsiteY124" fmla="*/ 2187667 h 4268514"/>
              <a:gd name="connsiteX125" fmla="*/ 5175738 w 6775947"/>
              <a:gd name="connsiteY125" fmla="*/ 2263867 h 4268514"/>
              <a:gd name="connsiteX126" fmla="*/ 5216769 w 6775947"/>
              <a:gd name="connsiteY126" fmla="*/ 2304898 h 4268514"/>
              <a:gd name="connsiteX127" fmla="*/ 5234353 w 6775947"/>
              <a:gd name="connsiteY127" fmla="*/ 2345928 h 4268514"/>
              <a:gd name="connsiteX128" fmla="*/ 5251939 w 6775947"/>
              <a:gd name="connsiteY128" fmla="*/ 2357653 h 4268514"/>
              <a:gd name="connsiteX129" fmla="*/ 5281246 w 6775947"/>
              <a:gd name="connsiteY129" fmla="*/ 2427991 h 4268514"/>
              <a:gd name="connsiteX130" fmla="*/ 5287107 w 6775947"/>
              <a:gd name="connsiteY130" fmla="*/ 2556944 h 4268514"/>
              <a:gd name="connsiteX131" fmla="*/ 5298830 w 6775947"/>
              <a:gd name="connsiteY131" fmla="*/ 2615560 h 4268514"/>
              <a:gd name="connsiteX132" fmla="*/ 5310554 w 6775947"/>
              <a:gd name="connsiteY132" fmla="*/ 2721067 h 4268514"/>
              <a:gd name="connsiteX133" fmla="*/ 5316415 w 6775947"/>
              <a:gd name="connsiteY133" fmla="*/ 2885191 h 4268514"/>
              <a:gd name="connsiteX134" fmla="*/ 5357446 w 6775947"/>
              <a:gd name="connsiteY134" fmla="*/ 2978975 h 4268514"/>
              <a:gd name="connsiteX135" fmla="*/ 5363307 w 6775947"/>
              <a:gd name="connsiteY135" fmla="*/ 3014144 h 4268514"/>
              <a:gd name="connsiteX136" fmla="*/ 5380892 w 6775947"/>
              <a:gd name="connsiteY136" fmla="*/ 3037591 h 4268514"/>
              <a:gd name="connsiteX137" fmla="*/ 5386754 w 6775947"/>
              <a:gd name="connsiteY137" fmla="*/ 3084483 h 4268514"/>
              <a:gd name="connsiteX138" fmla="*/ 5404338 w 6775947"/>
              <a:gd name="connsiteY138" fmla="*/ 3131375 h 4268514"/>
              <a:gd name="connsiteX139" fmla="*/ 5404338 w 6775947"/>
              <a:gd name="connsiteY139" fmla="*/ 3324806 h 4268514"/>
              <a:gd name="connsiteX140" fmla="*/ 5398477 w 6775947"/>
              <a:gd name="connsiteY140" fmla="*/ 3823037 h 4268514"/>
              <a:gd name="connsiteX141" fmla="*/ 5380892 w 6775947"/>
              <a:gd name="connsiteY141" fmla="*/ 3881652 h 4268514"/>
              <a:gd name="connsiteX142" fmla="*/ 5369169 w 6775947"/>
              <a:gd name="connsiteY142" fmla="*/ 3916821 h 4268514"/>
              <a:gd name="connsiteX143" fmla="*/ 5339861 w 6775947"/>
              <a:gd name="connsiteY143" fmla="*/ 3946129 h 4268514"/>
              <a:gd name="connsiteX144" fmla="*/ 5322277 w 6775947"/>
              <a:gd name="connsiteY144" fmla="*/ 3981298 h 4268514"/>
              <a:gd name="connsiteX145" fmla="*/ 5257800 w 6775947"/>
              <a:gd name="connsiteY145" fmla="*/ 4057498 h 4268514"/>
              <a:gd name="connsiteX146" fmla="*/ 5228492 w 6775947"/>
              <a:gd name="connsiteY146" fmla="*/ 4080944 h 4268514"/>
              <a:gd name="connsiteX147" fmla="*/ 5146430 w 6775947"/>
              <a:gd name="connsiteY147" fmla="*/ 4121975 h 4268514"/>
              <a:gd name="connsiteX148" fmla="*/ 5117123 w 6775947"/>
              <a:gd name="connsiteY148" fmla="*/ 4139560 h 4268514"/>
              <a:gd name="connsiteX149" fmla="*/ 5087815 w 6775947"/>
              <a:gd name="connsiteY149" fmla="*/ 4145421 h 4268514"/>
              <a:gd name="connsiteX150" fmla="*/ 4988169 w 6775947"/>
              <a:gd name="connsiteY150" fmla="*/ 4163006 h 4268514"/>
              <a:gd name="connsiteX151" fmla="*/ 4753707 w 6775947"/>
              <a:gd name="connsiteY151" fmla="*/ 4151283 h 4268514"/>
              <a:gd name="connsiteX152" fmla="*/ 4695092 w 6775947"/>
              <a:gd name="connsiteY152" fmla="*/ 4139560 h 4268514"/>
              <a:gd name="connsiteX153" fmla="*/ 4589584 w 6775947"/>
              <a:gd name="connsiteY153" fmla="*/ 4151283 h 4268514"/>
              <a:gd name="connsiteX154" fmla="*/ 4560277 w 6775947"/>
              <a:gd name="connsiteY154" fmla="*/ 4163006 h 4268514"/>
              <a:gd name="connsiteX155" fmla="*/ 4484077 w 6775947"/>
              <a:gd name="connsiteY155" fmla="*/ 4180591 h 4268514"/>
              <a:gd name="connsiteX156" fmla="*/ 4443046 w 6775947"/>
              <a:gd name="connsiteY156" fmla="*/ 4198175 h 4268514"/>
              <a:gd name="connsiteX157" fmla="*/ 4413738 w 6775947"/>
              <a:gd name="connsiteY157" fmla="*/ 4204037 h 4268514"/>
              <a:gd name="connsiteX158" fmla="*/ 4355123 w 6775947"/>
              <a:gd name="connsiteY158" fmla="*/ 4215760 h 4268514"/>
              <a:gd name="connsiteX159" fmla="*/ 4273061 w 6775947"/>
              <a:gd name="connsiteY159" fmla="*/ 4209898 h 4268514"/>
              <a:gd name="connsiteX160" fmla="*/ 4185138 w 6775947"/>
              <a:gd name="connsiteY160" fmla="*/ 4198175 h 4268514"/>
              <a:gd name="connsiteX161" fmla="*/ 4155830 w 6775947"/>
              <a:gd name="connsiteY161" fmla="*/ 4209898 h 4268514"/>
              <a:gd name="connsiteX162" fmla="*/ 4138246 w 6775947"/>
              <a:gd name="connsiteY162" fmla="*/ 4215760 h 4268514"/>
              <a:gd name="connsiteX163" fmla="*/ 3991707 w 6775947"/>
              <a:gd name="connsiteY163" fmla="*/ 4227483 h 4268514"/>
              <a:gd name="connsiteX164" fmla="*/ 3933092 w 6775947"/>
              <a:gd name="connsiteY164" fmla="*/ 4250929 h 4268514"/>
              <a:gd name="connsiteX165" fmla="*/ 3915507 w 6775947"/>
              <a:gd name="connsiteY165" fmla="*/ 4262652 h 4268514"/>
              <a:gd name="connsiteX166" fmla="*/ 3704492 w 6775947"/>
              <a:gd name="connsiteY166" fmla="*/ 4268514 h 4268514"/>
              <a:gd name="connsiteX167" fmla="*/ 3552092 w 6775947"/>
              <a:gd name="connsiteY167" fmla="*/ 4250929 h 4268514"/>
              <a:gd name="connsiteX168" fmla="*/ 3452446 w 6775947"/>
              <a:gd name="connsiteY168" fmla="*/ 4227483 h 4268514"/>
              <a:gd name="connsiteX169" fmla="*/ 3264877 w 6775947"/>
              <a:gd name="connsiteY169" fmla="*/ 4192314 h 4268514"/>
              <a:gd name="connsiteX170" fmla="*/ 3253154 w 6775947"/>
              <a:gd name="connsiteY170" fmla="*/ 4069221 h 4268514"/>
              <a:gd name="connsiteX171" fmla="*/ 3276600 w 6775947"/>
              <a:gd name="connsiteY171" fmla="*/ 3828898 h 4268514"/>
              <a:gd name="connsiteX172" fmla="*/ 3264877 w 6775947"/>
              <a:gd name="connsiteY172" fmla="*/ 3664775 h 4268514"/>
              <a:gd name="connsiteX173" fmla="*/ 3259015 w 6775947"/>
              <a:gd name="connsiteY173" fmla="*/ 3623744 h 4268514"/>
              <a:gd name="connsiteX174" fmla="*/ 3247292 w 6775947"/>
              <a:gd name="connsiteY174" fmla="*/ 3600298 h 4268514"/>
              <a:gd name="connsiteX175" fmla="*/ 3229707 w 6775947"/>
              <a:gd name="connsiteY175" fmla="*/ 3535821 h 4268514"/>
              <a:gd name="connsiteX176" fmla="*/ 3194538 w 6775947"/>
              <a:gd name="connsiteY176" fmla="*/ 3459621 h 4268514"/>
              <a:gd name="connsiteX177" fmla="*/ 3153507 w 6775947"/>
              <a:gd name="connsiteY177" fmla="*/ 3354114 h 4268514"/>
              <a:gd name="connsiteX178" fmla="*/ 3135923 w 6775947"/>
              <a:gd name="connsiteY178" fmla="*/ 3231021 h 4268514"/>
              <a:gd name="connsiteX179" fmla="*/ 3118338 w 6775947"/>
              <a:gd name="connsiteY179" fmla="*/ 3184129 h 4268514"/>
              <a:gd name="connsiteX180" fmla="*/ 3094892 w 6775947"/>
              <a:gd name="connsiteY180" fmla="*/ 2633144 h 4268514"/>
              <a:gd name="connsiteX181" fmla="*/ 3048000 w 6775947"/>
              <a:gd name="connsiteY181" fmla="*/ 2498329 h 4268514"/>
              <a:gd name="connsiteX182" fmla="*/ 3012830 w 6775947"/>
              <a:gd name="connsiteY182" fmla="*/ 2386960 h 4268514"/>
              <a:gd name="connsiteX183" fmla="*/ 3006969 w 6775947"/>
              <a:gd name="connsiteY183" fmla="*/ 2299037 h 4268514"/>
              <a:gd name="connsiteX184" fmla="*/ 2995246 w 6775947"/>
              <a:gd name="connsiteY184" fmla="*/ 1988375 h 4268514"/>
              <a:gd name="connsiteX185" fmla="*/ 2965938 w 6775947"/>
              <a:gd name="connsiteY185" fmla="*/ 1818391 h 4268514"/>
              <a:gd name="connsiteX186" fmla="*/ 2960077 w 6775947"/>
              <a:gd name="connsiteY186" fmla="*/ 1689437 h 4268514"/>
              <a:gd name="connsiteX187" fmla="*/ 2936630 w 6775947"/>
              <a:gd name="connsiteY187" fmla="*/ 1583929 h 4268514"/>
              <a:gd name="connsiteX188" fmla="*/ 2924907 w 6775947"/>
              <a:gd name="connsiteY188" fmla="*/ 1542898 h 4268514"/>
              <a:gd name="connsiteX189" fmla="*/ 2901461 w 6775947"/>
              <a:gd name="connsiteY189" fmla="*/ 1425667 h 4268514"/>
              <a:gd name="connsiteX190" fmla="*/ 2872154 w 6775947"/>
              <a:gd name="connsiteY190" fmla="*/ 1302575 h 4268514"/>
              <a:gd name="connsiteX191" fmla="*/ 2848707 w 6775947"/>
              <a:gd name="connsiteY191" fmla="*/ 1191206 h 4268514"/>
              <a:gd name="connsiteX192" fmla="*/ 2836984 w 6775947"/>
              <a:gd name="connsiteY192" fmla="*/ 1056391 h 4268514"/>
              <a:gd name="connsiteX193" fmla="*/ 2819400 w 6775947"/>
              <a:gd name="connsiteY193" fmla="*/ 968467 h 4268514"/>
              <a:gd name="connsiteX194" fmla="*/ 2813538 w 6775947"/>
              <a:gd name="connsiteY194" fmla="*/ 909852 h 4268514"/>
              <a:gd name="connsiteX195" fmla="*/ 2801815 w 6775947"/>
              <a:gd name="connsiteY195" fmla="*/ 816067 h 4268514"/>
              <a:gd name="connsiteX196" fmla="*/ 2795954 w 6775947"/>
              <a:gd name="connsiteY196" fmla="*/ 476098 h 4268514"/>
              <a:gd name="connsiteX197" fmla="*/ 2784230 w 6775947"/>
              <a:gd name="connsiteY197" fmla="*/ 335421 h 4268514"/>
              <a:gd name="connsiteX198" fmla="*/ 2754923 w 6775947"/>
              <a:gd name="connsiteY198" fmla="*/ 276806 h 4268514"/>
              <a:gd name="connsiteX199" fmla="*/ 2708030 w 6775947"/>
              <a:gd name="connsiteY199" fmla="*/ 177160 h 4268514"/>
              <a:gd name="connsiteX200" fmla="*/ 2702169 w 6775947"/>
              <a:gd name="connsiteY200" fmla="*/ 159575 h 4268514"/>
              <a:gd name="connsiteX201" fmla="*/ 2678723 w 6775947"/>
              <a:gd name="connsiteY201" fmla="*/ 130267 h 4268514"/>
              <a:gd name="connsiteX202" fmla="*/ 2602523 w 6775947"/>
              <a:gd name="connsiteY202" fmla="*/ 112683 h 4268514"/>
              <a:gd name="connsiteX203" fmla="*/ 2584938 w 6775947"/>
              <a:gd name="connsiteY203" fmla="*/ 106821 h 4268514"/>
              <a:gd name="connsiteX204" fmla="*/ 2514600 w 6775947"/>
              <a:gd name="connsiteY204" fmla="*/ 100960 h 4268514"/>
              <a:gd name="connsiteX205" fmla="*/ 2467707 w 6775947"/>
              <a:gd name="connsiteY205" fmla="*/ 36483 h 4268514"/>
              <a:gd name="connsiteX206" fmla="*/ 2403230 w 6775947"/>
              <a:gd name="connsiteY206" fmla="*/ 30621 h 4268514"/>
              <a:gd name="connsiteX207" fmla="*/ 2321169 w 6775947"/>
              <a:gd name="connsiteY207" fmla="*/ 24760 h 4268514"/>
              <a:gd name="connsiteX208" fmla="*/ 1793630 w 6775947"/>
              <a:gd name="connsiteY208" fmla="*/ 30621 h 4268514"/>
              <a:gd name="connsiteX209" fmla="*/ 1752600 w 6775947"/>
              <a:gd name="connsiteY209" fmla="*/ 42344 h 4268514"/>
              <a:gd name="connsiteX210" fmla="*/ 1717430 w 6775947"/>
              <a:gd name="connsiteY210" fmla="*/ 59929 h 4268514"/>
              <a:gd name="connsiteX211" fmla="*/ 1652954 w 6775947"/>
              <a:gd name="connsiteY211" fmla="*/ 65791 h 4268514"/>
              <a:gd name="connsiteX212" fmla="*/ 1371600 w 6775947"/>
              <a:gd name="connsiteY212" fmla="*/ 54067 h 4268514"/>
              <a:gd name="connsiteX213" fmla="*/ 826477 w 6775947"/>
              <a:gd name="connsiteY213" fmla="*/ 36483 h 4268514"/>
              <a:gd name="connsiteX214" fmla="*/ 451338 w 6775947"/>
              <a:gd name="connsiteY214" fmla="*/ 42344 h 4268514"/>
              <a:gd name="connsiteX215" fmla="*/ 375138 w 6775947"/>
              <a:gd name="connsiteY215" fmla="*/ 65791 h 4268514"/>
              <a:gd name="connsiteX216" fmla="*/ 199292 w 6775947"/>
              <a:gd name="connsiteY216" fmla="*/ 159575 h 4268514"/>
              <a:gd name="connsiteX217" fmla="*/ 146538 w 6775947"/>
              <a:gd name="connsiteY217" fmla="*/ 194744 h 4268514"/>
              <a:gd name="connsiteX218" fmla="*/ 29307 w 6775947"/>
              <a:gd name="connsiteY218" fmla="*/ 528852 h 4268514"/>
              <a:gd name="connsiteX219" fmla="*/ 0 w 6775947"/>
              <a:gd name="connsiteY219" fmla="*/ 898129 h 4268514"/>
              <a:gd name="connsiteX220" fmla="*/ 23446 w 6775947"/>
              <a:gd name="connsiteY220" fmla="*/ 2041129 h 4268514"/>
              <a:gd name="connsiteX221" fmla="*/ 93784 w 6775947"/>
              <a:gd name="connsiteY221" fmla="*/ 2316621 h 4268514"/>
              <a:gd name="connsiteX222" fmla="*/ 433754 w 6775947"/>
              <a:gd name="connsiteY222" fmla="*/ 2937944 h 4268514"/>
              <a:gd name="connsiteX223" fmla="*/ 662354 w 6775947"/>
              <a:gd name="connsiteY223" fmla="*/ 3231021 h 4268514"/>
              <a:gd name="connsiteX224" fmla="*/ 785446 w 6775947"/>
              <a:gd name="connsiteY224" fmla="*/ 3395144 h 4268514"/>
              <a:gd name="connsiteX225" fmla="*/ 1066800 w 6775947"/>
              <a:gd name="connsiteY225" fmla="*/ 3746837 h 4268514"/>
              <a:gd name="connsiteX226" fmla="*/ 1436077 w 6775947"/>
              <a:gd name="connsiteY226" fmla="*/ 4004744 h 4268514"/>
              <a:gd name="connsiteX227" fmla="*/ 1735015 w 6775947"/>
              <a:gd name="connsiteY227" fmla="*/ 4139560 h 4268514"/>
              <a:gd name="connsiteX228" fmla="*/ 1817077 w 6775947"/>
              <a:gd name="connsiteY228" fmla="*/ 4174729 h 4268514"/>
              <a:gd name="connsiteX229" fmla="*/ 1893277 w 6775947"/>
              <a:gd name="connsiteY229" fmla="*/ 4209898 h 4268514"/>
              <a:gd name="connsiteX230" fmla="*/ 2039815 w 6775947"/>
              <a:gd name="connsiteY230" fmla="*/ 4221621 h 4268514"/>
              <a:gd name="connsiteX231" fmla="*/ 2250830 w 6775947"/>
              <a:gd name="connsiteY231" fmla="*/ 4198175 h 4268514"/>
              <a:gd name="connsiteX232" fmla="*/ 2286000 w 6775947"/>
              <a:gd name="connsiteY232" fmla="*/ 4192314 h 4268514"/>
              <a:gd name="connsiteX233" fmla="*/ 2450123 w 6775947"/>
              <a:gd name="connsiteY233" fmla="*/ 4198175 h 4268514"/>
              <a:gd name="connsiteX234" fmla="*/ 2567354 w 6775947"/>
              <a:gd name="connsiteY234" fmla="*/ 4209898 h 4268514"/>
              <a:gd name="connsiteX235" fmla="*/ 2608384 w 6775947"/>
              <a:gd name="connsiteY235" fmla="*/ 4215760 h 4268514"/>
              <a:gd name="connsiteX236" fmla="*/ 2813538 w 6775947"/>
              <a:gd name="connsiteY236" fmla="*/ 4221621 h 4268514"/>
              <a:gd name="connsiteX237" fmla="*/ 2924907 w 6775947"/>
              <a:gd name="connsiteY237" fmla="*/ 4233344 h 4268514"/>
              <a:gd name="connsiteX238" fmla="*/ 2960077 w 6775947"/>
              <a:gd name="connsiteY238" fmla="*/ 4239206 h 4268514"/>
              <a:gd name="connsiteX239" fmla="*/ 3006969 w 6775947"/>
              <a:gd name="connsiteY239" fmla="*/ 4245067 h 4268514"/>
              <a:gd name="connsiteX240" fmla="*/ 3106615 w 6775947"/>
              <a:gd name="connsiteY240" fmla="*/ 4262652 h 4268514"/>
              <a:gd name="connsiteX241" fmla="*/ 3130061 w 6775947"/>
              <a:gd name="connsiteY241" fmla="*/ 4268514 h 4268514"/>
              <a:gd name="connsiteX242" fmla="*/ 3294184 w 6775947"/>
              <a:gd name="connsiteY242" fmla="*/ 4262652 h 4268514"/>
              <a:gd name="connsiteX243" fmla="*/ 3323492 w 6775947"/>
              <a:gd name="connsiteY243" fmla="*/ 4256791 h 4268514"/>
              <a:gd name="connsiteX244" fmla="*/ 3364523 w 6775947"/>
              <a:gd name="connsiteY244" fmla="*/ 4250929 h 4268514"/>
              <a:gd name="connsiteX245" fmla="*/ 4525107 w 6775947"/>
              <a:gd name="connsiteY245" fmla="*/ 4256791 h 4268514"/>
              <a:gd name="connsiteX246" fmla="*/ 4759569 w 6775947"/>
              <a:gd name="connsiteY246" fmla="*/ 4209898 h 4268514"/>
              <a:gd name="connsiteX247" fmla="*/ 5175738 w 6775947"/>
              <a:gd name="connsiteY247" fmla="*/ 4186452 h 4268514"/>
              <a:gd name="connsiteX248" fmla="*/ 5216769 w 6775947"/>
              <a:gd name="connsiteY248" fmla="*/ 4157144 h 4268514"/>
              <a:gd name="connsiteX249" fmla="*/ 5234354 w 6775947"/>
              <a:gd name="connsiteY249" fmla="*/ 4133698 h 4268514"/>
              <a:gd name="connsiteX250" fmla="*/ 5251938 w 6775947"/>
              <a:gd name="connsiteY250" fmla="*/ 4116114 h 4268514"/>
              <a:gd name="connsiteX251" fmla="*/ 5275384 w 6775947"/>
              <a:gd name="connsiteY251" fmla="*/ 4086806 h 4268514"/>
              <a:gd name="connsiteX252" fmla="*/ 5404338 w 6775947"/>
              <a:gd name="connsiteY252" fmla="*/ 3998883 h 4268514"/>
              <a:gd name="connsiteX253" fmla="*/ 5498123 w 6775947"/>
              <a:gd name="connsiteY253" fmla="*/ 3910960 h 4268514"/>
              <a:gd name="connsiteX254" fmla="*/ 5550877 w 6775947"/>
              <a:gd name="connsiteY254" fmla="*/ 3875791 h 4268514"/>
              <a:gd name="connsiteX255" fmla="*/ 5715000 w 6775947"/>
              <a:gd name="connsiteY255" fmla="*/ 3699944 h 4268514"/>
              <a:gd name="connsiteX256" fmla="*/ 5802923 w 6775947"/>
              <a:gd name="connsiteY256" fmla="*/ 3594437 h 4268514"/>
              <a:gd name="connsiteX257" fmla="*/ 5838092 w 6775947"/>
              <a:gd name="connsiteY257" fmla="*/ 3524098 h 4268514"/>
              <a:gd name="connsiteX258" fmla="*/ 5879123 w 6775947"/>
              <a:gd name="connsiteY258" fmla="*/ 3453760 h 4268514"/>
              <a:gd name="connsiteX259" fmla="*/ 5908430 w 6775947"/>
              <a:gd name="connsiteY259" fmla="*/ 3424452 h 4268514"/>
              <a:gd name="connsiteX260" fmla="*/ 5926015 w 6775947"/>
              <a:gd name="connsiteY260" fmla="*/ 3389283 h 4268514"/>
              <a:gd name="connsiteX261" fmla="*/ 6119446 w 6775947"/>
              <a:gd name="connsiteY261" fmla="*/ 3195852 h 4268514"/>
              <a:gd name="connsiteX262" fmla="*/ 6236677 w 6775947"/>
              <a:gd name="connsiteY262" fmla="*/ 3072760 h 4268514"/>
              <a:gd name="connsiteX263" fmla="*/ 6318738 w 6775947"/>
              <a:gd name="connsiteY263" fmla="*/ 2937944 h 4268514"/>
              <a:gd name="connsiteX264" fmla="*/ 6330461 w 6775947"/>
              <a:gd name="connsiteY264" fmla="*/ 2879329 h 4268514"/>
              <a:gd name="connsiteX265" fmla="*/ 6453554 w 6775947"/>
              <a:gd name="connsiteY265" fmla="*/ 2551083 h 4268514"/>
              <a:gd name="connsiteX266" fmla="*/ 6547338 w 6775947"/>
              <a:gd name="connsiteY266" fmla="*/ 2375237 h 4268514"/>
              <a:gd name="connsiteX267" fmla="*/ 6629400 w 6775947"/>
              <a:gd name="connsiteY267" fmla="*/ 2240421 h 4268514"/>
              <a:gd name="connsiteX268" fmla="*/ 6646984 w 6775947"/>
              <a:gd name="connsiteY268" fmla="*/ 2205252 h 4268514"/>
              <a:gd name="connsiteX269" fmla="*/ 6705600 w 6775947"/>
              <a:gd name="connsiteY269" fmla="*/ 2152498 h 4268514"/>
              <a:gd name="connsiteX270" fmla="*/ 6723184 w 6775947"/>
              <a:gd name="connsiteY270" fmla="*/ 2099744 h 4268514"/>
              <a:gd name="connsiteX271" fmla="*/ 6764215 w 6775947"/>
              <a:gd name="connsiteY271" fmla="*/ 1859421 h 4268514"/>
              <a:gd name="connsiteX272" fmla="*/ 6764215 w 6775947"/>
              <a:gd name="connsiteY272" fmla="*/ 804344 h 4268514"/>
              <a:gd name="connsiteX273" fmla="*/ 6740769 w 6775947"/>
              <a:gd name="connsiteY273" fmla="*/ 218191 h 4268514"/>
              <a:gd name="connsiteX274" fmla="*/ 6729046 w 6775947"/>
              <a:gd name="connsiteY274" fmla="*/ 147852 h 4268514"/>
              <a:gd name="connsiteX275" fmla="*/ 6723184 w 6775947"/>
              <a:gd name="connsiteY275" fmla="*/ 124406 h 4268514"/>
              <a:gd name="connsiteX276" fmla="*/ 6670430 w 6775947"/>
              <a:gd name="connsiteY276" fmla="*/ 77514 h 4268514"/>
              <a:gd name="connsiteX277" fmla="*/ 6559061 w 6775947"/>
              <a:gd name="connsiteY277" fmla="*/ 48206 h 4268514"/>
              <a:gd name="connsiteX278" fmla="*/ 6506307 w 6775947"/>
              <a:gd name="connsiteY278" fmla="*/ 18898 h 4268514"/>
              <a:gd name="connsiteX279" fmla="*/ 6477000 w 6775947"/>
              <a:gd name="connsiteY279" fmla="*/ 7175 h 4268514"/>
              <a:gd name="connsiteX280" fmla="*/ 6371492 w 6775947"/>
              <a:gd name="connsiteY280" fmla="*/ 36483 h 4268514"/>
              <a:gd name="connsiteX281" fmla="*/ 5597769 w 6775947"/>
              <a:gd name="connsiteY281" fmla="*/ 7175 h 4268514"/>
              <a:gd name="connsiteX282" fmla="*/ 5533292 w 6775947"/>
              <a:gd name="connsiteY282" fmla="*/ 1314 h 4268514"/>
              <a:gd name="connsiteX283" fmla="*/ 5175738 w 6775947"/>
              <a:gd name="connsiteY283" fmla="*/ 7175 h 4268514"/>
              <a:gd name="connsiteX284" fmla="*/ 5064369 w 6775947"/>
              <a:gd name="connsiteY284" fmla="*/ 18898 h 4268514"/>
              <a:gd name="connsiteX285" fmla="*/ 4360984 w 6775947"/>
              <a:gd name="connsiteY285" fmla="*/ 30621 h 4268514"/>
              <a:gd name="connsiteX286" fmla="*/ 4314092 w 6775947"/>
              <a:gd name="connsiteY286" fmla="*/ 83375 h 4268514"/>
              <a:gd name="connsiteX287" fmla="*/ 4302369 w 6775947"/>
              <a:gd name="connsiteY287" fmla="*/ 141991 h 4268514"/>
              <a:gd name="connsiteX0" fmla="*/ 4302369 w 6775947"/>
              <a:gd name="connsiteY0" fmla="*/ 141991 h 4276073"/>
              <a:gd name="connsiteX1" fmla="*/ 4302369 w 6775947"/>
              <a:gd name="connsiteY1" fmla="*/ 141991 h 4276073"/>
              <a:gd name="connsiteX2" fmla="*/ 4232030 w 6775947"/>
              <a:gd name="connsiteY2" fmla="*/ 106821 h 4276073"/>
              <a:gd name="connsiteX3" fmla="*/ 4208584 w 6775947"/>
              <a:gd name="connsiteY3" fmla="*/ 89237 h 4276073"/>
              <a:gd name="connsiteX4" fmla="*/ 4149969 w 6775947"/>
              <a:gd name="connsiteY4" fmla="*/ 71652 h 4276073"/>
              <a:gd name="connsiteX5" fmla="*/ 4097215 w 6775947"/>
              <a:gd name="connsiteY5" fmla="*/ 59929 h 4276073"/>
              <a:gd name="connsiteX6" fmla="*/ 4073769 w 6775947"/>
              <a:gd name="connsiteY6" fmla="*/ 54067 h 4276073"/>
              <a:gd name="connsiteX7" fmla="*/ 3927230 w 6775947"/>
              <a:gd name="connsiteY7" fmla="*/ 42344 h 4276073"/>
              <a:gd name="connsiteX8" fmla="*/ 3745523 w 6775947"/>
              <a:gd name="connsiteY8" fmla="*/ 18898 h 4276073"/>
              <a:gd name="connsiteX9" fmla="*/ 3716215 w 6775947"/>
              <a:gd name="connsiteY9" fmla="*/ 7175 h 4276073"/>
              <a:gd name="connsiteX10" fmla="*/ 3563815 w 6775947"/>
              <a:gd name="connsiteY10" fmla="*/ 7175 h 4276073"/>
              <a:gd name="connsiteX11" fmla="*/ 3499338 w 6775947"/>
              <a:gd name="connsiteY11" fmla="*/ 24760 h 4276073"/>
              <a:gd name="connsiteX12" fmla="*/ 3458307 w 6775947"/>
              <a:gd name="connsiteY12" fmla="*/ 30621 h 4276073"/>
              <a:gd name="connsiteX13" fmla="*/ 3376246 w 6775947"/>
              <a:gd name="connsiteY13" fmla="*/ 42344 h 4276073"/>
              <a:gd name="connsiteX14" fmla="*/ 3352800 w 6775947"/>
              <a:gd name="connsiteY14" fmla="*/ 48206 h 4276073"/>
              <a:gd name="connsiteX15" fmla="*/ 3288323 w 6775947"/>
              <a:gd name="connsiteY15" fmla="*/ 77514 h 4276073"/>
              <a:gd name="connsiteX16" fmla="*/ 3194538 w 6775947"/>
              <a:gd name="connsiteY16" fmla="*/ 95098 h 4276073"/>
              <a:gd name="connsiteX17" fmla="*/ 3112477 w 6775947"/>
              <a:gd name="connsiteY17" fmla="*/ 124406 h 4276073"/>
              <a:gd name="connsiteX18" fmla="*/ 3059723 w 6775947"/>
              <a:gd name="connsiteY18" fmla="*/ 194744 h 4276073"/>
              <a:gd name="connsiteX19" fmla="*/ 2971800 w 6775947"/>
              <a:gd name="connsiteY19" fmla="*/ 335421 h 4276073"/>
              <a:gd name="connsiteX20" fmla="*/ 2960077 w 6775947"/>
              <a:gd name="connsiteY20" fmla="*/ 382314 h 4276073"/>
              <a:gd name="connsiteX21" fmla="*/ 2948354 w 6775947"/>
              <a:gd name="connsiteY21" fmla="*/ 423344 h 4276073"/>
              <a:gd name="connsiteX22" fmla="*/ 2954215 w 6775947"/>
              <a:gd name="connsiteY22" fmla="*/ 698837 h 4276073"/>
              <a:gd name="connsiteX23" fmla="*/ 2971800 w 6775947"/>
              <a:gd name="connsiteY23" fmla="*/ 892267 h 4276073"/>
              <a:gd name="connsiteX24" fmla="*/ 2989384 w 6775947"/>
              <a:gd name="connsiteY24" fmla="*/ 1015360 h 4276073"/>
              <a:gd name="connsiteX25" fmla="*/ 3018692 w 6775947"/>
              <a:gd name="connsiteY25" fmla="*/ 1115006 h 4276073"/>
              <a:gd name="connsiteX26" fmla="*/ 3036277 w 6775947"/>
              <a:gd name="connsiteY26" fmla="*/ 1191206 h 4276073"/>
              <a:gd name="connsiteX27" fmla="*/ 3042138 w 6775947"/>
              <a:gd name="connsiteY27" fmla="*/ 1255683 h 4276073"/>
              <a:gd name="connsiteX28" fmla="*/ 3071446 w 6775947"/>
              <a:gd name="connsiteY28" fmla="*/ 1314298 h 4276073"/>
              <a:gd name="connsiteX29" fmla="*/ 3171092 w 6775947"/>
              <a:gd name="connsiteY29" fmla="*/ 1537037 h 4276073"/>
              <a:gd name="connsiteX30" fmla="*/ 3200400 w 6775947"/>
              <a:gd name="connsiteY30" fmla="*/ 1589791 h 4276073"/>
              <a:gd name="connsiteX31" fmla="*/ 3229707 w 6775947"/>
              <a:gd name="connsiteY31" fmla="*/ 1636683 h 4276073"/>
              <a:gd name="connsiteX32" fmla="*/ 3276600 w 6775947"/>
              <a:gd name="connsiteY32" fmla="*/ 1724606 h 4276073"/>
              <a:gd name="connsiteX33" fmla="*/ 3341077 w 6775947"/>
              <a:gd name="connsiteY33" fmla="*/ 1830114 h 4276073"/>
              <a:gd name="connsiteX34" fmla="*/ 3446584 w 6775947"/>
              <a:gd name="connsiteY34" fmla="*/ 1935621 h 4276073"/>
              <a:gd name="connsiteX35" fmla="*/ 3511061 w 6775947"/>
              <a:gd name="connsiteY35" fmla="*/ 2011821 h 4276073"/>
              <a:gd name="connsiteX36" fmla="*/ 3616569 w 6775947"/>
              <a:gd name="connsiteY36" fmla="*/ 2093883 h 4276073"/>
              <a:gd name="connsiteX37" fmla="*/ 3675184 w 6775947"/>
              <a:gd name="connsiteY37" fmla="*/ 2134914 h 4276073"/>
              <a:gd name="connsiteX38" fmla="*/ 3774830 w 6775947"/>
              <a:gd name="connsiteY38" fmla="*/ 2211114 h 4276073"/>
              <a:gd name="connsiteX39" fmla="*/ 3833446 w 6775947"/>
              <a:gd name="connsiteY39" fmla="*/ 2222837 h 4276073"/>
              <a:gd name="connsiteX40" fmla="*/ 3903784 w 6775947"/>
              <a:gd name="connsiteY40" fmla="*/ 2240421 h 4276073"/>
              <a:gd name="connsiteX41" fmla="*/ 3944815 w 6775947"/>
              <a:gd name="connsiteY41" fmla="*/ 2246283 h 4276073"/>
              <a:gd name="connsiteX42" fmla="*/ 4050323 w 6775947"/>
              <a:gd name="connsiteY42" fmla="*/ 2263867 h 4276073"/>
              <a:gd name="connsiteX43" fmla="*/ 4073769 w 6775947"/>
              <a:gd name="connsiteY43" fmla="*/ 2269729 h 4276073"/>
              <a:gd name="connsiteX44" fmla="*/ 4155830 w 6775947"/>
              <a:gd name="connsiteY44" fmla="*/ 2275591 h 4276073"/>
              <a:gd name="connsiteX45" fmla="*/ 4255477 w 6775947"/>
              <a:gd name="connsiteY45" fmla="*/ 2334206 h 4276073"/>
              <a:gd name="connsiteX46" fmla="*/ 4284784 w 6775947"/>
              <a:gd name="connsiteY46" fmla="*/ 2345929 h 4276073"/>
              <a:gd name="connsiteX47" fmla="*/ 4378569 w 6775947"/>
              <a:gd name="connsiteY47" fmla="*/ 2351791 h 4276073"/>
              <a:gd name="connsiteX48" fmla="*/ 4448907 w 6775947"/>
              <a:gd name="connsiteY48" fmla="*/ 2357652 h 4276073"/>
              <a:gd name="connsiteX49" fmla="*/ 4548554 w 6775947"/>
              <a:gd name="connsiteY49" fmla="*/ 2351791 h 4276073"/>
              <a:gd name="connsiteX50" fmla="*/ 4548553 w 6775947"/>
              <a:gd name="connsiteY50" fmla="*/ 2369375 h 4276073"/>
              <a:gd name="connsiteX51" fmla="*/ 4583722 w 6775947"/>
              <a:gd name="connsiteY51" fmla="*/ 2351791 h 4276073"/>
              <a:gd name="connsiteX52" fmla="*/ 4677507 w 6775947"/>
              <a:gd name="connsiteY52" fmla="*/ 2269729 h 4276073"/>
              <a:gd name="connsiteX53" fmla="*/ 4736123 w 6775947"/>
              <a:gd name="connsiteY53" fmla="*/ 2216976 h 4276073"/>
              <a:gd name="connsiteX54" fmla="*/ 4747846 w 6775947"/>
              <a:gd name="connsiteY54" fmla="*/ 2146637 h 4276073"/>
              <a:gd name="connsiteX55" fmla="*/ 4706815 w 6775947"/>
              <a:gd name="connsiteY55" fmla="*/ 2052852 h 4276073"/>
              <a:gd name="connsiteX56" fmla="*/ 4695092 w 6775947"/>
              <a:gd name="connsiteY56" fmla="*/ 2005960 h 4276073"/>
              <a:gd name="connsiteX57" fmla="*/ 4683369 w 6775947"/>
              <a:gd name="connsiteY57" fmla="*/ 1970791 h 4276073"/>
              <a:gd name="connsiteX58" fmla="*/ 4665784 w 6775947"/>
              <a:gd name="connsiteY58" fmla="*/ 1865283 h 4276073"/>
              <a:gd name="connsiteX59" fmla="*/ 4636477 w 6775947"/>
              <a:gd name="connsiteY59" fmla="*/ 1736329 h 4276073"/>
              <a:gd name="connsiteX60" fmla="*/ 4613030 w 6775947"/>
              <a:gd name="connsiteY60" fmla="*/ 1454975 h 4276073"/>
              <a:gd name="connsiteX61" fmla="*/ 4601307 w 6775947"/>
              <a:gd name="connsiteY61" fmla="*/ 1408083 h 4276073"/>
              <a:gd name="connsiteX62" fmla="*/ 4583723 w 6775947"/>
              <a:gd name="connsiteY62" fmla="*/ 1372914 h 4276073"/>
              <a:gd name="connsiteX63" fmla="*/ 4577861 w 6775947"/>
              <a:gd name="connsiteY63" fmla="*/ 1355329 h 4276073"/>
              <a:gd name="connsiteX64" fmla="*/ 4566138 w 6775947"/>
              <a:gd name="connsiteY64" fmla="*/ 1284991 h 4276073"/>
              <a:gd name="connsiteX65" fmla="*/ 4548554 w 6775947"/>
              <a:gd name="connsiteY65" fmla="*/ 1202929 h 4276073"/>
              <a:gd name="connsiteX66" fmla="*/ 4542692 w 6775947"/>
              <a:gd name="connsiteY66" fmla="*/ 1150175 h 4276073"/>
              <a:gd name="connsiteX67" fmla="*/ 4478215 w 6775947"/>
              <a:gd name="connsiteY67" fmla="*/ 1079837 h 4276073"/>
              <a:gd name="connsiteX68" fmla="*/ 4460630 w 6775947"/>
              <a:gd name="connsiteY68" fmla="*/ 1062252 h 4276073"/>
              <a:gd name="connsiteX69" fmla="*/ 4437184 w 6775947"/>
              <a:gd name="connsiteY69" fmla="*/ 1021221 h 4276073"/>
              <a:gd name="connsiteX70" fmla="*/ 4419600 w 6775947"/>
              <a:gd name="connsiteY70" fmla="*/ 980191 h 4276073"/>
              <a:gd name="connsiteX71" fmla="*/ 4378569 w 6775947"/>
              <a:gd name="connsiteY71" fmla="*/ 862960 h 4276073"/>
              <a:gd name="connsiteX72" fmla="*/ 4325815 w 6775947"/>
              <a:gd name="connsiteY72" fmla="*/ 821929 h 4276073"/>
              <a:gd name="connsiteX73" fmla="*/ 4308230 w 6775947"/>
              <a:gd name="connsiteY73" fmla="*/ 804344 h 4276073"/>
              <a:gd name="connsiteX74" fmla="*/ 4296507 w 6775947"/>
              <a:gd name="connsiteY74" fmla="*/ 757452 h 4276073"/>
              <a:gd name="connsiteX75" fmla="*/ 4308230 w 6775947"/>
              <a:gd name="connsiteY75" fmla="*/ 487821 h 4276073"/>
              <a:gd name="connsiteX76" fmla="*/ 4314092 w 6775947"/>
              <a:gd name="connsiteY76" fmla="*/ 417483 h 4276073"/>
              <a:gd name="connsiteX77" fmla="*/ 4319954 w 6775947"/>
              <a:gd name="connsiteY77" fmla="*/ 394037 h 4276073"/>
              <a:gd name="connsiteX78" fmla="*/ 4337538 w 6775947"/>
              <a:gd name="connsiteY78" fmla="*/ 288529 h 4276073"/>
              <a:gd name="connsiteX79" fmla="*/ 4366846 w 6775947"/>
              <a:gd name="connsiteY79" fmla="*/ 253360 h 4276073"/>
              <a:gd name="connsiteX80" fmla="*/ 4396154 w 6775947"/>
              <a:gd name="connsiteY80" fmla="*/ 224052 h 4276073"/>
              <a:gd name="connsiteX81" fmla="*/ 4413738 w 6775947"/>
              <a:gd name="connsiteY81" fmla="*/ 194744 h 4276073"/>
              <a:gd name="connsiteX82" fmla="*/ 4495800 w 6775947"/>
              <a:gd name="connsiteY82" fmla="*/ 136129 h 4276073"/>
              <a:gd name="connsiteX83" fmla="*/ 4554415 w 6775947"/>
              <a:gd name="connsiteY83" fmla="*/ 106821 h 4276073"/>
              <a:gd name="connsiteX84" fmla="*/ 4613030 w 6775947"/>
              <a:gd name="connsiteY84" fmla="*/ 83375 h 4276073"/>
              <a:gd name="connsiteX85" fmla="*/ 4671646 w 6775947"/>
              <a:gd name="connsiteY85" fmla="*/ 77514 h 4276073"/>
              <a:gd name="connsiteX86" fmla="*/ 5246077 w 6775947"/>
              <a:gd name="connsiteY86" fmla="*/ 71652 h 4276073"/>
              <a:gd name="connsiteX87" fmla="*/ 5304692 w 6775947"/>
              <a:gd name="connsiteY87" fmla="*/ 83375 h 4276073"/>
              <a:gd name="connsiteX88" fmla="*/ 5345723 w 6775947"/>
              <a:gd name="connsiteY88" fmla="*/ 89237 h 4276073"/>
              <a:gd name="connsiteX89" fmla="*/ 5527430 w 6775947"/>
              <a:gd name="connsiteY89" fmla="*/ 95098 h 4276073"/>
              <a:gd name="connsiteX90" fmla="*/ 5545015 w 6775947"/>
              <a:gd name="connsiteY90" fmla="*/ 100960 h 4276073"/>
              <a:gd name="connsiteX91" fmla="*/ 5586046 w 6775947"/>
              <a:gd name="connsiteY91" fmla="*/ 136129 h 4276073"/>
              <a:gd name="connsiteX92" fmla="*/ 5615354 w 6775947"/>
              <a:gd name="connsiteY92" fmla="*/ 159575 h 4276073"/>
              <a:gd name="connsiteX93" fmla="*/ 5632938 w 6775947"/>
              <a:gd name="connsiteY93" fmla="*/ 165437 h 4276073"/>
              <a:gd name="connsiteX94" fmla="*/ 5656384 w 6775947"/>
              <a:gd name="connsiteY94" fmla="*/ 183021 h 4276073"/>
              <a:gd name="connsiteX95" fmla="*/ 5709138 w 6775947"/>
              <a:gd name="connsiteY95" fmla="*/ 218191 h 4276073"/>
              <a:gd name="connsiteX96" fmla="*/ 5738446 w 6775947"/>
              <a:gd name="connsiteY96" fmla="*/ 247498 h 4276073"/>
              <a:gd name="connsiteX97" fmla="*/ 5756030 w 6775947"/>
              <a:gd name="connsiteY97" fmla="*/ 282667 h 4276073"/>
              <a:gd name="connsiteX98" fmla="*/ 5791200 w 6775947"/>
              <a:gd name="connsiteY98" fmla="*/ 341283 h 4276073"/>
              <a:gd name="connsiteX99" fmla="*/ 5756030 w 6775947"/>
              <a:gd name="connsiteY99" fmla="*/ 593329 h 4276073"/>
              <a:gd name="connsiteX100" fmla="*/ 5709138 w 6775947"/>
              <a:gd name="connsiteY100" fmla="*/ 751591 h 4276073"/>
              <a:gd name="connsiteX101" fmla="*/ 5650523 w 6775947"/>
              <a:gd name="connsiteY101" fmla="*/ 880544 h 4276073"/>
              <a:gd name="connsiteX102" fmla="*/ 5597769 w 6775947"/>
              <a:gd name="connsiteY102" fmla="*/ 1009498 h 4276073"/>
              <a:gd name="connsiteX103" fmla="*/ 5591907 w 6775947"/>
              <a:gd name="connsiteY103" fmla="*/ 1038806 h 4276073"/>
              <a:gd name="connsiteX104" fmla="*/ 5586046 w 6775947"/>
              <a:gd name="connsiteY104" fmla="*/ 1056391 h 4276073"/>
              <a:gd name="connsiteX105" fmla="*/ 5556738 w 6775947"/>
              <a:gd name="connsiteY105" fmla="*/ 1173621 h 4276073"/>
              <a:gd name="connsiteX106" fmla="*/ 5515707 w 6775947"/>
              <a:gd name="connsiteY106" fmla="*/ 1279129 h 4276073"/>
              <a:gd name="connsiteX107" fmla="*/ 5480538 w 6775947"/>
              <a:gd name="connsiteY107" fmla="*/ 1396360 h 4276073"/>
              <a:gd name="connsiteX108" fmla="*/ 5468815 w 6775947"/>
              <a:gd name="connsiteY108" fmla="*/ 1425667 h 4276073"/>
              <a:gd name="connsiteX109" fmla="*/ 5439507 w 6775947"/>
              <a:gd name="connsiteY109" fmla="*/ 1478421 h 4276073"/>
              <a:gd name="connsiteX110" fmla="*/ 5421923 w 6775947"/>
              <a:gd name="connsiteY110" fmla="*/ 1531175 h 4276073"/>
              <a:gd name="connsiteX111" fmla="*/ 5392615 w 6775947"/>
              <a:gd name="connsiteY111" fmla="*/ 1607375 h 4276073"/>
              <a:gd name="connsiteX112" fmla="*/ 5369169 w 6775947"/>
              <a:gd name="connsiteY112" fmla="*/ 1677714 h 4276073"/>
              <a:gd name="connsiteX113" fmla="*/ 5351584 w 6775947"/>
              <a:gd name="connsiteY113" fmla="*/ 1835975 h 4276073"/>
              <a:gd name="connsiteX114" fmla="*/ 5339861 w 6775947"/>
              <a:gd name="connsiteY114" fmla="*/ 1865283 h 4276073"/>
              <a:gd name="connsiteX115" fmla="*/ 5334000 w 6775947"/>
              <a:gd name="connsiteY115" fmla="*/ 1888729 h 4276073"/>
              <a:gd name="connsiteX116" fmla="*/ 5316415 w 6775947"/>
              <a:gd name="connsiteY116" fmla="*/ 1970791 h 4276073"/>
              <a:gd name="connsiteX117" fmla="*/ 5292969 w 6775947"/>
              <a:gd name="connsiteY117" fmla="*/ 2005960 h 4276073"/>
              <a:gd name="connsiteX118" fmla="*/ 5269523 w 6775947"/>
              <a:gd name="connsiteY118" fmla="*/ 2052852 h 4276073"/>
              <a:gd name="connsiteX119" fmla="*/ 5257800 w 6775947"/>
              <a:gd name="connsiteY119" fmla="*/ 2076298 h 4276073"/>
              <a:gd name="connsiteX120" fmla="*/ 5240215 w 6775947"/>
              <a:gd name="connsiteY120" fmla="*/ 2099744 h 4276073"/>
              <a:gd name="connsiteX121" fmla="*/ 5234354 w 6775947"/>
              <a:gd name="connsiteY121" fmla="*/ 2129052 h 4276073"/>
              <a:gd name="connsiteX122" fmla="*/ 5222630 w 6775947"/>
              <a:gd name="connsiteY122" fmla="*/ 2140775 h 4276073"/>
              <a:gd name="connsiteX123" fmla="*/ 5210907 w 6775947"/>
              <a:gd name="connsiteY123" fmla="*/ 2164221 h 4276073"/>
              <a:gd name="connsiteX124" fmla="*/ 5193323 w 6775947"/>
              <a:gd name="connsiteY124" fmla="*/ 2187667 h 4276073"/>
              <a:gd name="connsiteX125" fmla="*/ 5175738 w 6775947"/>
              <a:gd name="connsiteY125" fmla="*/ 2263867 h 4276073"/>
              <a:gd name="connsiteX126" fmla="*/ 5216769 w 6775947"/>
              <a:gd name="connsiteY126" fmla="*/ 2304898 h 4276073"/>
              <a:gd name="connsiteX127" fmla="*/ 5234353 w 6775947"/>
              <a:gd name="connsiteY127" fmla="*/ 2345928 h 4276073"/>
              <a:gd name="connsiteX128" fmla="*/ 5251939 w 6775947"/>
              <a:gd name="connsiteY128" fmla="*/ 2357653 h 4276073"/>
              <a:gd name="connsiteX129" fmla="*/ 5281246 w 6775947"/>
              <a:gd name="connsiteY129" fmla="*/ 2427991 h 4276073"/>
              <a:gd name="connsiteX130" fmla="*/ 5287107 w 6775947"/>
              <a:gd name="connsiteY130" fmla="*/ 2556944 h 4276073"/>
              <a:gd name="connsiteX131" fmla="*/ 5298830 w 6775947"/>
              <a:gd name="connsiteY131" fmla="*/ 2615560 h 4276073"/>
              <a:gd name="connsiteX132" fmla="*/ 5310554 w 6775947"/>
              <a:gd name="connsiteY132" fmla="*/ 2721067 h 4276073"/>
              <a:gd name="connsiteX133" fmla="*/ 5316415 w 6775947"/>
              <a:gd name="connsiteY133" fmla="*/ 2885191 h 4276073"/>
              <a:gd name="connsiteX134" fmla="*/ 5357446 w 6775947"/>
              <a:gd name="connsiteY134" fmla="*/ 2978975 h 4276073"/>
              <a:gd name="connsiteX135" fmla="*/ 5363307 w 6775947"/>
              <a:gd name="connsiteY135" fmla="*/ 3014144 h 4276073"/>
              <a:gd name="connsiteX136" fmla="*/ 5380892 w 6775947"/>
              <a:gd name="connsiteY136" fmla="*/ 3037591 h 4276073"/>
              <a:gd name="connsiteX137" fmla="*/ 5386754 w 6775947"/>
              <a:gd name="connsiteY137" fmla="*/ 3084483 h 4276073"/>
              <a:gd name="connsiteX138" fmla="*/ 5404338 w 6775947"/>
              <a:gd name="connsiteY138" fmla="*/ 3131375 h 4276073"/>
              <a:gd name="connsiteX139" fmla="*/ 5404338 w 6775947"/>
              <a:gd name="connsiteY139" fmla="*/ 3324806 h 4276073"/>
              <a:gd name="connsiteX140" fmla="*/ 5398477 w 6775947"/>
              <a:gd name="connsiteY140" fmla="*/ 3823037 h 4276073"/>
              <a:gd name="connsiteX141" fmla="*/ 5380892 w 6775947"/>
              <a:gd name="connsiteY141" fmla="*/ 3881652 h 4276073"/>
              <a:gd name="connsiteX142" fmla="*/ 5369169 w 6775947"/>
              <a:gd name="connsiteY142" fmla="*/ 3916821 h 4276073"/>
              <a:gd name="connsiteX143" fmla="*/ 5339861 w 6775947"/>
              <a:gd name="connsiteY143" fmla="*/ 3946129 h 4276073"/>
              <a:gd name="connsiteX144" fmla="*/ 5322277 w 6775947"/>
              <a:gd name="connsiteY144" fmla="*/ 3981298 h 4276073"/>
              <a:gd name="connsiteX145" fmla="*/ 5257800 w 6775947"/>
              <a:gd name="connsiteY145" fmla="*/ 4057498 h 4276073"/>
              <a:gd name="connsiteX146" fmla="*/ 5228492 w 6775947"/>
              <a:gd name="connsiteY146" fmla="*/ 4080944 h 4276073"/>
              <a:gd name="connsiteX147" fmla="*/ 5146430 w 6775947"/>
              <a:gd name="connsiteY147" fmla="*/ 4121975 h 4276073"/>
              <a:gd name="connsiteX148" fmla="*/ 5117123 w 6775947"/>
              <a:gd name="connsiteY148" fmla="*/ 4139560 h 4276073"/>
              <a:gd name="connsiteX149" fmla="*/ 5087815 w 6775947"/>
              <a:gd name="connsiteY149" fmla="*/ 4145421 h 4276073"/>
              <a:gd name="connsiteX150" fmla="*/ 4988169 w 6775947"/>
              <a:gd name="connsiteY150" fmla="*/ 4163006 h 4276073"/>
              <a:gd name="connsiteX151" fmla="*/ 4753707 w 6775947"/>
              <a:gd name="connsiteY151" fmla="*/ 4151283 h 4276073"/>
              <a:gd name="connsiteX152" fmla="*/ 4695092 w 6775947"/>
              <a:gd name="connsiteY152" fmla="*/ 4139560 h 4276073"/>
              <a:gd name="connsiteX153" fmla="*/ 4589584 w 6775947"/>
              <a:gd name="connsiteY153" fmla="*/ 4151283 h 4276073"/>
              <a:gd name="connsiteX154" fmla="*/ 4560277 w 6775947"/>
              <a:gd name="connsiteY154" fmla="*/ 4163006 h 4276073"/>
              <a:gd name="connsiteX155" fmla="*/ 4484077 w 6775947"/>
              <a:gd name="connsiteY155" fmla="*/ 4180591 h 4276073"/>
              <a:gd name="connsiteX156" fmla="*/ 4443046 w 6775947"/>
              <a:gd name="connsiteY156" fmla="*/ 4198175 h 4276073"/>
              <a:gd name="connsiteX157" fmla="*/ 4413738 w 6775947"/>
              <a:gd name="connsiteY157" fmla="*/ 4204037 h 4276073"/>
              <a:gd name="connsiteX158" fmla="*/ 4355123 w 6775947"/>
              <a:gd name="connsiteY158" fmla="*/ 4215760 h 4276073"/>
              <a:gd name="connsiteX159" fmla="*/ 4273061 w 6775947"/>
              <a:gd name="connsiteY159" fmla="*/ 4209898 h 4276073"/>
              <a:gd name="connsiteX160" fmla="*/ 4185138 w 6775947"/>
              <a:gd name="connsiteY160" fmla="*/ 4198175 h 4276073"/>
              <a:gd name="connsiteX161" fmla="*/ 4155830 w 6775947"/>
              <a:gd name="connsiteY161" fmla="*/ 4209898 h 4276073"/>
              <a:gd name="connsiteX162" fmla="*/ 4138246 w 6775947"/>
              <a:gd name="connsiteY162" fmla="*/ 4215760 h 4276073"/>
              <a:gd name="connsiteX163" fmla="*/ 3991707 w 6775947"/>
              <a:gd name="connsiteY163" fmla="*/ 4227483 h 4276073"/>
              <a:gd name="connsiteX164" fmla="*/ 3933092 w 6775947"/>
              <a:gd name="connsiteY164" fmla="*/ 4250929 h 4276073"/>
              <a:gd name="connsiteX165" fmla="*/ 3915507 w 6775947"/>
              <a:gd name="connsiteY165" fmla="*/ 4262652 h 4276073"/>
              <a:gd name="connsiteX166" fmla="*/ 3704492 w 6775947"/>
              <a:gd name="connsiteY166" fmla="*/ 4268514 h 4276073"/>
              <a:gd name="connsiteX167" fmla="*/ 3563815 w 6775947"/>
              <a:gd name="connsiteY167" fmla="*/ 4274376 h 4276073"/>
              <a:gd name="connsiteX168" fmla="*/ 3452446 w 6775947"/>
              <a:gd name="connsiteY168" fmla="*/ 4227483 h 4276073"/>
              <a:gd name="connsiteX169" fmla="*/ 3264877 w 6775947"/>
              <a:gd name="connsiteY169" fmla="*/ 4192314 h 4276073"/>
              <a:gd name="connsiteX170" fmla="*/ 3253154 w 6775947"/>
              <a:gd name="connsiteY170" fmla="*/ 4069221 h 4276073"/>
              <a:gd name="connsiteX171" fmla="*/ 3276600 w 6775947"/>
              <a:gd name="connsiteY171" fmla="*/ 3828898 h 4276073"/>
              <a:gd name="connsiteX172" fmla="*/ 3264877 w 6775947"/>
              <a:gd name="connsiteY172" fmla="*/ 3664775 h 4276073"/>
              <a:gd name="connsiteX173" fmla="*/ 3259015 w 6775947"/>
              <a:gd name="connsiteY173" fmla="*/ 3623744 h 4276073"/>
              <a:gd name="connsiteX174" fmla="*/ 3247292 w 6775947"/>
              <a:gd name="connsiteY174" fmla="*/ 3600298 h 4276073"/>
              <a:gd name="connsiteX175" fmla="*/ 3229707 w 6775947"/>
              <a:gd name="connsiteY175" fmla="*/ 3535821 h 4276073"/>
              <a:gd name="connsiteX176" fmla="*/ 3194538 w 6775947"/>
              <a:gd name="connsiteY176" fmla="*/ 3459621 h 4276073"/>
              <a:gd name="connsiteX177" fmla="*/ 3153507 w 6775947"/>
              <a:gd name="connsiteY177" fmla="*/ 3354114 h 4276073"/>
              <a:gd name="connsiteX178" fmla="*/ 3135923 w 6775947"/>
              <a:gd name="connsiteY178" fmla="*/ 3231021 h 4276073"/>
              <a:gd name="connsiteX179" fmla="*/ 3118338 w 6775947"/>
              <a:gd name="connsiteY179" fmla="*/ 3184129 h 4276073"/>
              <a:gd name="connsiteX180" fmla="*/ 3094892 w 6775947"/>
              <a:gd name="connsiteY180" fmla="*/ 2633144 h 4276073"/>
              <a:gd name="connsiteX181" fmla="*/ 3048000 w 6775947"/>
              <a:gd name="connsiteY181" fmla="*/ 2498329 h 4276073"/>
              <a:gd name="connsiteX182" fmla="*/ 3012830 w 6775947"/>
              <a:gd name="connsiteY182" fmla="*/ 2386960 h 4276073"/>
              <a:gd name="connsiteX183" fmla="*/ 3006969 w 6775947"/>
              <a:gd name="connsiteY183" fmla="*/ 2299037 h 4276073"/>
              <a:gd name="connsiteX184" fmla="*/ 2995246 w 6775947"/>
              <a:gd name="connsiteY184" fmla="*/ 1988375 h 4276073"/>
              <a:gd name="connsiteX185" fmla="*/ 2965938 w 6775947"/>
              <a:gd name="connsiteY185" fmla="*/ 1818391 h 4276073"/>
              <a:gd name="connsiteX186" fmla="*/ 2960077 w 6775947"/>
              <a:gd name="connsiteY186" fmla="*/ 1689437 h 4276073"/>
              <a:gd name="connsiteX187" fmla="*/ 2936630 w 6775947"/>
              <a:gd name="connsiteY187" fmla="*/ 1583929 h 4276073"/>
              <a:gd name="connsiteX188" fmla="*/ 2924907 w 6775947"/>
              <a:gd name="connsiteY188" fmla="*/ 1542898 h 4276073"/>
              <a:gd name="connsiteX189" fmla="*/ 2901461 w 6775947"/>
              <a:gd name="connsiteY189" fmla="*/ 1425667 h 4276073"/>
              <a:gd name="connsiteX190" fmla="*/ 2872154 w 6775947"/>
              <a:gd name="connsiteY190" fmla="*/ 1302575 h 4276073"/>
              <a:gd name="connsiteX191" fmla="*/ 2848707 w 6775947"/>
              <a:gd name="connsiteY191" fmla="*/ 1191206 h 4276073"/>
              <a:gd name="connsiteX192" fmla="*/ 2836984 w 6775947"/>
              <a:gd name="connsiteY192" fmla="*/ 1056391 h 4276073"/>
              <a:gd name="connsiteX193" fmla="*/ 2819400 w 6775947"/>
              <a:gd name="connsiteY193" fmla="*/ 968467 h 4276073"/>
              <a:gd name="connsiteX194" fmla="*/ 2813538 w 6775947"/>
              <a:gd name="connsiteY194" fmla="*/ 909852 h 4276073"/>
              <a:gd name="connsiteX195" fmla="*/ 2801815 w 6775947"/>
              <a:gd name="connsiteY195" fmla="*/ 816067 h 4276073"/>
              <a:gd name="connsiteX196" fmla="*/ 2795954 w 6775947"/>
              <a:gd name="connsiteY196" fmla="*/ 476098 h 4276073"/>
              <a:gd name="connsiteX197" fmla="*/ 2784230 w 6775947"/>
              <a:gd name="connsiteY197" fmla="*/ 335421 h 4276073"/>
              <a:gd name="connsiteX198" fmla="*/ 2754923 w 6775947"/>
              <a:gd name="connsiteY198" fmla="*/ 276806 h 4276073"/>
              <a:gd name="connsiteX199" fmla="*/ 2708030 w 6775947"/>
              <a:gd name="connsiteY199" fmla="*/ 177160 h 4276073"/>
              <a:gd name="connsiteX200" fmla="*/ 2702169 w 6775947"/>
              <a:gd name="connsiteY200" fmla="*/ 159575 h 4276073"/>
              <a:gd name="connsiteX201" fmla="*/ 2678723 w 6775947"/>
              <a:gd name="connsiteY201" fmla="*/ 130267 h 4276073"/>
              <a:gd name="connsiteX202" fmla="*/ 2602523 w 6775947"/>
              <a:gd name="connsiteY202" fmla="*/ 112683 h 4276073"/>
              <a:gd name="connsiteX203" fmla="*/ 2584938 w 6775947"/>
              <a:gd name="connsiteY203" fmla="*/ 106821 h 4276073"/>
              <a:gd name="connsiteX204" fmla="*/ 2514600 w 6775947"/>
              <a:gd name="connsiteY204" fmla="*/ 100960 h 4276073"/>
              <a:gd name="connsiteX205" fmla="*/ 2467707 w 6775947"/>
              <a:gd name="connsiteY205" fmla="*/ 36483 h 4276073"/>
              <a:gd name="connsiteX206" fmla="*/ 2403230 w 6775947"/>
              <a:gd name="connsiteY206" fmla="*/ 30621 h 4276073"/>
              <a:gd name="connsiteX207" fmla="*/ 2321169 w 6775947"/>
              <a:gd name="connsiteY207" fmla="*/ 24760 h 4276073"/>
              <a:gd name="connsiteX208" fmla="*/ 1793630 w 6775947"/>
              <a:gd name="connsiteY208" fmla="*/ 30621 h 4276073"/>
              <a:gd name="connsiteX209" fmla="*/ 1752600 w 6775947"/>
              <a:gd name="connsiteY209" fmla="*/ 42344 h 4276073"/>
              <a:gd name="connsiteX210" fmla="*/ 1717430 w 6775947"/>
              <a:gd name="connsiteY210" fmla="*/ 59929 h 4276073"/>
              <a:gd name="connsiteX211" fmla="*/ 1652954 w 6775947"/>
              <a:gd name="connsiteY211" fmla="*/ 65791 h 4276073"/>
              <a:gd name="connsiteX212" fmla="*/ 1371600 w 6775947"/>
              <a:gd name="connsiteY212" fmla="*/ 54067 h 4276073"/>
              <a:gd name="connsiteX213" fmla="*/ 826477 w 6775947"/>
              <a:gd name="connsiteY213" fmla="*/ 36483 h 4276073"/>
              <a:gd name="connsiteX214" fmla="*/ 451338 w 6775947"/>
              <a:gd name="connsiteY214" fmla="*/ 42344 h 4276073"/>
              <a:gd name="connsiteX215" fmla="*/ 375138 w 6775947"/>
              <a:gd name="connsiteY215" fmla="*/ 65791 h 4276073"/>
              <a:gd name="connsiteX216" fmla="*/ 199292 w 6775947"/>
              <a:gd name="connsiteY216" fmla="*/ 159575 h 4276073"/>
              <a:gd name="connsiteX217" fmla="*/ 146538 w 6775947"/>
              <a:gd name="connsiteY217" fmla="*/ 194744 h 4276073"/>
              <a:gd name="connsiteX218" fmla="*/ 29307 w 6775947"/>
              <a:gd name="connsiteY218" fmla="*/ 528852 h 4276073"/>
              <a:gd name="connsiteX219" fmla="*/ 0 w 6775947"/>
              <a:gd name="connsiteY219" fmla="*/ 898129 h 4276073"/>
              <a:gd name="connsiteX220" fmla="*/ 23446 w 6775947"/>
              <a:gd name="connsiteY220" fmla="*/ 2041129 h 4276073"/>
              <a:gd name="connsiteX221" fmla="*/ 93784 w 6775947"/>
              <a:gd name="connsiteY221" fmla="*/ 2316621 h 4276073"/>
              <a:gd name="connsiteX222" fmla="*/ 433754 w 6775947"/>
              <a:gd name="connsiteY222" fmla="*/ 2937944 h 4276073"/>
              <a:gd name="connsiteX223" fmla="*/ 662354 w 6775947"/>
              <a:gd name="connsiteY223" fmla="*/ 3231021 h 4276073"/>
              <a:gd name="connsiteX224" fmla="*/ 785446 w 6775947"/>
              <a:gd name="connsiteY224" fmla="*/ 3395144 h 4276073"/>
              <a:gd name="connsiteX225" fmla="*/ 1066800 w 6775947"/>
              <a:gd name="connsiteY225" fmla="*/ 3746837 h 4276073"/>
              <a:gd name="connsiteX226" fmla="*/ 1436077 w 6775947"/>
              <a:gd name="connsiteY226" fmla="*/ 4004744 h 4276073"/>
              <a:gd name="connsiteX227" fmla="*/ 1735015 w 6775947"/>
              <a:gd name="connsiteY227" fmla="*/ 4139560 h 4276073"/>
              <a:gd name="connsiteX228" fmla="*/ 1817077 w 6775947"/>
              <a:gd name="connsiteY228" fmla="*/ 4174729 h 4276073"/>
              <a:gd name="connsiteX229" fmla="*/ 1893277 w 6775947"/>
              <a:gd name="connsiteY229" fmla="*/ 4209898 h 4276073"/>
              <a:gd name="connsiteX230" fmla="*/ 2039815 w 6775947"/>
              <a:gd name="connsiteY230" fmla="*/ 4221621 h 4276073"/>
              <a:gd name="connsiteX231" fmla="*/ 2250830 w 6775947"/>
              <a:gd name="connsiteY231" fmla="*/ 4198175 h 4276073"/>
              <a:gd name="connsiteX232" fmla="*/ 2286000 w 6775947"/>
              <a:gd name="connsiteY232" fmla="*/ 4192314 h 4276073"/>
              <a:gd name="connsiteX233" fmla="*/ 2450123 w 6775947"/>
              <a:gd name="connsiteY233" fmla="*/ 4198175 h 4276073"/>
              <a:gd name="connsiteX234" fmla="*/ 2567354 w 6775947"/>
              <a:gd name="connsiteY234" fmla="*/ 4209898 h 4276073"/>
              <a:gd name="connsiteX235" fmla="*/ 2608384 w 6775947"/>
              <a:gd name="connsiteY235" fmla="*/ 4215760 h 4276073"/>
              <a:gd name="connsiteX236" fmla="*/ 2813538 w 6775947"/>
              <a:gd name="connsiteY236" fmla="*/ 4221621 h 4276073"/>
              <a:gd name="connsiteX237" fmla="*/ 2924907 w 6775947"/>
              <a:gd name="connsiteY237" fmla="*/ 4233344 h 4276073"/>
              <a:gd name="connsiteX238" fmla="*/ 2960077 w 6775947"/>
              <a:gd name="connsiteY238" fmla="*/ 4239206 h 4276073"/>
              <a:gd name="connsiteX239" fmla="*/ 3006969 w 6775947"/>
              <a:gd name="connsiteY239" fmla="*/ 4245067 h 4276073"/>
              <a:gd name="connsiteX240" fmla="*/ 3106615 w 6775947"/>
              <a:gd name="connsiteY240" fmla="*/ 4262652 h 4276073"/>
              <a:gd name="connsiteX241" fmla="*/ 3130061 w 6775947"/>
              <a:gd name="connsiteY241" fmla="*/ 4268514 h 4276073"/>
              <a:gd name="connsiteX242" fmla="*/ 3294184 w 6775947"/>
              <a:gd name="connsiteY242" fmla="*/ 4262652 h 4276073"/>
              <a:gd name="connsiteX243" fmla="*/ 3323492 w 6775947"/>
              <a:gd name="connsiteY243" fmla="*/ 4256791 h 4276073"/>
              <a:gd name="connsiteX244" fmla="*/ 3364523 w 6775947"/>
              <a:gd name="connsiteY244" fmla="*/ 4250929 h 4276073"/>
              <a:gd name="connsiteX245" fmla="*/ 4525107 w 6775947"/>
              <a:gd name="connsiteY245" fmla="*/ 4256791 h 4276073"/>
              <a:gd name="connsiteX246" fmla="*/ 4759569 w 6775947"/>
              <a:gd name="connsiteY246" fmla="*/ 4209898 h 4276073"/>
              <a:gd name="connsiteX247" fmla="*/ 5175738 w 6775947"/>
              <a:gd name="connsiteY247" fmla="*/ 4186452 h 4276073"/>
              <a:gd name="connsiteX248" fmla="*/ 5216769 w 6775947"/>
              <a:gd name="connsiteY248" fmla="*/ 4157144 h 4276073"/>
              <a:gd name="connsiteX249" fmla="*/ 5234354 w 6775947"/>
              <a:gd name="connsiteY249" fmla="*/ 4133698 h 4276073"/>
              <a:gd name="connsiteX250" fmla="*/ 5251938 w 6775947"/>
              <a:gd name="connsiteY250" fmla="*/ 4116114 h 4276073"/>
              <a:gd name="connsiteX251" fmla="*/ 5275384 w 6775947"/>
              <a:gd name="connsiteY251" fmla="*/ 4086806 h 4276073"/>
              <a:gd name="connsiteX252" fmla="*/ 5404338 w 6775947"/>
              <a:gd name="connsiteY252" fmla="*/ 3998883 h 4276073"/>
              <a:gd name="connsiteX253" fmla="*/ 5498123 w 6775947"/>
              <a:gd name="connsiteY253" fmla="*/ 3910960 h 4276073"/>
              <a:gd name="connsiteX254" fmla="*/ 5550877 w 6775947"/>
              <a:gd name="connsiteY254" fmla="*/ 3875791 h 4276073"/>
              <a:gd name="connsiteX255" fmla="*/ 5715000 w 6775947"/>
              <a:gd name="connsiteY255" fmla="*/ 3699944 h 4276073"/>
              <a:gd name="connsiteX256" fmla="*/ 5802923 w 6775947"/>
              <a:gd name="connsiteY256" fmla="*/ 3594437 h 4276073"/>
              <a:gd name="connsiteX257" fmla="*/ 5838092 w 6775947"/>
              <a:gd name="connsiteY257" fmla="*/ 3524098 h 4276073"/>
              <a:gd name="connsiteX258" fmla="*/ 5879123 w 6775947"/>
              <a:gd name="connsiteY258" fmla="*/ 3453760 h 4276073"/>
              <a:gd name="connsiteX259" fmla="*/ 5908430 w 6775947"/>
              <a:gd name="connsiteY259" fmla="*/ 3424452 h 4276073"/>
              <a:gd name="connsiteX260" fmla="*/ 5926015 w 6775947"/>
              <a:gd name="connsiteY260" fmla="*/ 3389283 h 4276073"/>
              <a:gd name="connsiteX261" fmla="*/ 6119446 w 6775947"/>
              <a:gd name="connsiteY261" fmla="*/ 3195852 h 4276073"/>
              <a:gd name="connsiteX262" fmla="*/ 6236677 w 6775947"/>
              <a:gd name="connsiteY262" fmla="*/ 3072760 h 4276073"/>
              <a:gd name="connsiteX263" fmla="*/ 6318738 w 6775947"/>
              <a:gd name="connsiteY263" fmla="*/ 2937944 h 4276073"/>
              <a:gd name="connsiteX264" fmla="*/ 6330461 w 6775947"/>
              <a:gd name="connsiteY264" fmla="*/ 2879329 h 4276073"/>
              <a:gd name="connsiteX265" fmla="*/ 6453554 w 6775947"/>
              <a:gd name="connsiteY265" fmla="*/ 2551083 h 4276073"/>
              <a:gd name="connsiteX266" fmla="*/ 6547338 w 6775947"/>
              <a:gd name="connsiteY266" fmla="*/ 2375237 h 4276073"/>
              <a:gd name="connsiteX267" fmla="*/ 6629400 w 6775947"/>
              <a:gd name="connsiteY267" fmla="*/ 2240421 h 4276073"/>
              <a:gd name="connsiteX268" fmla="*/ 6646984 w 6775947"/>
              <a:gd name="connsiteY268" fmla="*/ 2205252 h 4276073"/>
              <a:gd name="connsiteX269" fmla="*/ 6705600 w 6775947"/>
              <a:gd name="connsiteY269" fmla="*/ 2152498 h 4276073"/>
              <a:gd name="connsiteX270" fmla="*/ 6723184 w 6775947"/>
              <a:gd name="connsiteY270" fmla="*/ 2099744 h 4276073"/>
              <a:gd name="connsiteX271" fmla="*/ 6764215 w 6775947"/>
              <a:gd name="connsiteY271" fmla="*/ 1859421 h 4276073"/>
              <a:gd name="connsiteX272" fmla="*/ 6764215 w 6775947"/>
              <a:gd name="connsiteY272" fmla="*/ 804344 h 4276073"/>
              <a:gd name="connsiteX273" fmla="*/ 6740769 w 6775947"/>
              <a:gd name="connsiteY273" fmla="*/ 218191 h 4276073"/>
              <a:gd name="connsiteX274" fmla="*/ 6729046 w 6775947"/>
              <a:gd name="connsiteY274" fmla="*/ 147852 h 4276073"/>
              <a:gd name="connsiteX275" fmla="*/ 6723184 w 6775947"/>
              <a:gd name="connsiteY275" fmla="*/ 124406 h 4276073"/>
              <a:gd name="connsiteX276" fmla="*/ 6670430 w 6775947"/>
              <a:gd name="connsiteY276" fmla="*/ 77514 h 4276073"/>
              <a:gd name="connsiteX277" fmla="*/ 6559061 w 6775947"/>
              <a:gd name="connsiteY277" fmla="*/ 48206 h 4276073"/>
              <a:gd name="connsiteX278" fmla="*/ 6506307 w 6775947"/>
              <a:gd name="connsiteY278" fmla="*/ 18898 h 4276073"/>
              <a:gd name="connsiteX279" fmla="*/ 6477000 w 6775947"/>
              <a:gd name="connsiteY279" fmla="*/ 7175 h 4276073"/>
              <a:gd name="connsiteX280" fmla="*/ 6371492 w 6775947"/>
              <a:gd name="connsiteY280" fmla="*/ 36483 h 4276073"/>
              <a:gd name="connsiteX281" fmla="*/ 5597769 w 6775947"/>
              <a:gd name="connsiteY281" fmla="*/ 7175 h 4276073"/>
              <a:gd name="connsiteX282" fmla="*/ 5533292 w 6775947"/>
              <a:gd name="connsiteY282" fmla="*/ 1314 h 4276073"/>
              <a:gd name="connsiteX283" fmla="*/ 5175738 w 6775947"/>
              <a:gd name="connsiteY283" fmla="*/ 7175 h 4276073"/>
              <a:gd name="connsiteX284" fmla="*/ 5064369 w 6775947"/>
              <a:gd name="connsiteY284" fmla="*/ 18898 h 4276073"/>
              <a:gd name="connsiteX285" fmla="*/ 4360984 w 6775947"/>
              <a:gd name="connsiteY285" fmla="*/ 30621 h 4276073"/>
              <a:gd name="connsiteX286" fmla="*/ 4314092 w 6775947"/>
              <a:gd name="connsiteY286" fmla="*/ 83375 h 4276073"/>
              <a:gd name="connsiteX287" fmla="*/ 4302369 w 6775947"/>
              <a:gd name="connsiteY287" fmla="*/ 141991 h 4276073"/>
              <a:gd name="connsiteX0" fmla="*/ 4302369 w 6775947"/>
              <a:gd name="connsiteY0" fmla="*/ 141991 h 4274857"/>
              <a:gd name="connsiteX1" fmla="*/ 4302369 w 6775947"/>
              <a:gd name="connsiteY1" fmla="*/ 141991 h 4274857"/>
              <a:gd name="connsiteX2" fmla="*/ 4232030 w 6775947"/>
              <a:gd name="connsiteY2" fmla="*/ 106821 h 4274857"/>
              <a:gd name="connsiteX3" fmla="*/ 4208584 w 6775947"/>
              <a:gd name="connsiteY3" fmla="*/ 89237 h 4274857"/>
              <a:gd name="connsiteX4" fmla="*/ 4149969 w 6775947"/>
              <a:gd name="connsiteY4" fmla="*/ 71652 h 4274857"/>
              <a:gd name="connsiteX5" fmla="*/ 4097215 w 6775947"/>
              <a:gd name="connsiteY5" fmla="*/ 59929 h 4274857"/>
              <a:gd name="connsiteX6" fmla="*/ 4073769 w 6775947"/>
              <a:gd name="connsiteY6" fmla="*/ 54067 h 4274857"/>
              <a:gd name="connsiteX7" fmla="*/ 3927230 w 6775947"/>
              <a:gd name="connsiteY7" fmla="*/ 42344 h 4274857"/>
              <a:gd name="connsiteX8" fmla="*/ 3745523 w 6775947"/>
              <a:gd name="connsiteY8" fmla="*/ 18898 h 4274857"/>
              <a:gd name="connsiteX9" fmla="*/ 3716215 w 6775947"/>
              <a:gd name="connsiteY9" fmla="*/ 7175 h 4274857"/>
              <a:gd name="connsiteX10" fmla="*/ 3563815 w 6775947"/>
              <a:gd name="connsiteY10" fmla="*/ 7175 h 4274857"/>
              <a:gd name="connsiteX11" fmla="*/ 3499338 w 6775947"/>
              <a:gd name="connsiteY11" fmla="*/ 24760 h 4274857"/>
              <a:gd name="connsiteX12" fmla="*/ 3458307 w 6775947"/>
              <a:gd name="connsiteY12" fmla="*/ 30621 h 4274857"/>
              <a:gd name="connsiteX13" fmla="*/ 3376246 w 6775947"/>
              <a:gd name="connsiteY13" fmla="*/ 42344 h 4274857"/>
              <a:gd name="connsiteX14" fmla="*/ 3352800 w 6775947"/>
              <a:gd name="connsiteY14" fmla="*/ 48206 h 4274857"/>
              <a:gd name="connsiteX15" fmla="*/ 3288323 w 6775947"/>
              <a:gd name="connsiteY15" fmla="*/ 77514 h 4274857"/>
              <a:gd name="connsiteX16" fmla="*/ 3194538 w 6775947"/>
              <a:gd name="connsiteY16" fmla="*/ 95098 h 4274857"/>
              <a:gd name="connsiteX17" fmla="*/ 3112477 w 6775947"/>
              <a:gd name="connsiteY17" fmla="*/ 124406 h 4274857"/>
              <a:gd name="connsiteX18" fmla="*/ 3059723 w 6775947"/>
              <a:gd name="connsiteY18" fmla="*/ 194744 h 4274857"/>
              <a:gd name="connsiteX19" fmla="*/ 2971800 w 6775947"/>
              <a:gd name="connsiteY19" fmla="*/ 335421 h 4274857"/>
              <a:gd name="connsiteX20" fmla="*/ 2960077 w 6775947"/>
              <a:gd name="connsiteY20" fmla="*/ 382314 h 4274857"/>
              <a:gd name="connsiteX21" fmla="*/ 2948354 w 6775947"/>
              <a:gd name="connsiteY21" fmla="*/ 423344 h 4274857"/>
              <a:gd name="connsiteX22" fmla="*/ 2954215 w 6775947"/>
              <a:gd name="connsiteY22" fmla="*/ 698837 h 4274857"/>
              <a:gd name="connsiteX23" fmla="*/ 2971800 w 6775947"/>
              <a:gd name="connsiteY23" fmla="*/ 892267 h 4274857"/>
              <a:gd name="connsiteX24" fmla="*/ 2989384 w 6775947"/>
              <a:gd name="connsiteY24" fmla="*/ 1015360 h 4274857"/>
              <a:gd name="connsiteX25" fmla="*/ 3018692 w 6775947"/>
              <a:gd name="connsiteY25" fmla="*/ 1115006 h 4274857"/>
              <a:gd name="connsiteX26" fmla="*/ 3036277 w 6775947"/>
              <a:gd name="connsiteY26" fmla="*/ 1191206 h 4274857"/>
              <a:gd name="connsiteX27" fmla="*/ 3042138 w 6775947"/>
              <a:gd name="connsiteY27" fmla="*/ 1255683 h 4274857"/>
              <a:gd name="connsiteX28" fmla="*/ 3071446 w 6775947"/>
              <a:gd name="connsiteY28" fmla="*/ 1314298 h 4274857"/>
              <a:gd name="connsiteX29" fmla="*/ 3171092 w 6775947"/>
              <a:gd name="connsiteY29" fmla="*/ 1537037 h 4274857"/>
              <a:gd name="connsiteX30" fmla="*/ 3200400 w 6775947"/>
              <a:gd name="connsiteY30" fmla="*/ 1589791 h 4274857"/>
              <a:gd name="connsiteX31" fmla="*/ 3229707 w 6775947"/>
              <a:gd name="connsiteY31" fmla="*/ 1636683 h 4274857"/>
              <a:gd name="connsiteX32" fmla="*/ 3276600 w 6775947"/>
              <a:gd name="connsiteY32" fmla="*/ 1724606 h 4274857"/>
              <a:gd name="connsiteX33" fmla="*/ 3341077 w 6775947"/>
              <a:gd name="connsiteY33" fmla="*/ 1830114 h 4274857"/>
              <a:gd name="connsiteX34" fmla="*/ 3446584 w 6775947"/>
              <a:gd name="connsiteY34" fmla="*/ 1935621 h 4274857"/>
              <a:gd name="connsiteX35" fmla="*/ 3511061 w 6775947"/>
              <a:gd name="connsiteY35" fmla="*/ 2011821 h 4274857"/>
              <a:gd name="connsiteX36" fmla="*/ 3616569 w 6775947"/>
              <a:gd name="connsiteY36" fmla="*/ 2093883 h 4274857"/>
              <a:gd name="connsiteX37" fmla="*/ 3675184 w 6775947"/>
              <a:gd name="connsiteY37" fmla="*/ 2134914 h 4274857"/>
              <a:gd name="connsiteX38" fmla="*/ 3774830 w 6775947"/>
              <a:gd name="connsiteY38" fmla="*/ 2211114 h 4274857"/>
              <a:gd name="connsiteX39" fmla="*/ 3833446 w 6775947"/>
              <a:gd name="connsiteY39" fmla="*/ 2222837 h 4274857"/>
              <a:gd name="connsiteX40" fmla="*/ 3903784 w 6775947"/>
              <a:gd name="connsiteY40" fmla="*/ 2240421 h 4274857"/>
              <a:gd name="connsiteX41" fmla="*/ 3944815 w 6775947"/>
              <a:gd name="connsiteY41" fmla="*/ 2246283 h 4274857"/>
              <a:gd name="connsiteX42" fmla="*/ 4050323 w 6775947"/>
              <a:gd name="connsiteY42" fmla="*/ 2263867 h 4274857"/>
              <a:gd name="connsiteX43" fmla="*/ 4073769 w 6775947"/>
              <a:gd name="connsiteY43" fmla="*/ 2269729 h 4274857"/>
              <a:gd name="connsiteX44" fmla="*/ 4155830 w 6775947"/>
              <a:gd name="connsiteY44" fmla="*/ 2275591 h 4274857"/>
              <a:gd name="connsiteX45" fmla="*/ 4255477 w 6775947"/>
              <a:gd name="connsiteY45" fmla="*/ 2334206 h 4274857"/>
              <a:gd name="connsiteX46" fmla="*/ 4284784 w 6775947"/>
              <a:gd name="connsiteY46" fmla="*/ 2345929 h 4274857"/>
              <a:gd name="connsiteX47" fmla="*/ 4378569 w 6775947"/>
              <a:gd name="connsiteY47" fmla="*/ 2351791 h 4274857"/>
              <a:gd name="connsiteX48" fmla="*/ 4448907 w 6775947"/>
              <a:gd name="connsiteY48" fmla="*/ 2357652 h 4274857"/>
              <a:gd name="connsiteX49" fmla="*/ 4548554 w 6775947"/>
              <a:gd name="connsiteY49" fmla="*/ 2351791 h 4274857"/>
              <a:gd name="connsiteX50" fmla="*/ 4548553 w 6775947"/>
              <a:gd name="connsiteY50" fmla="*/ 2369375 h 4274857"/>
              <a:gd name="connsiteX51" fmla="*/ 4583722 w 6775947"/>
              <a:gd name="connsiteY51" fmla="*/ 2351791 h 4274857"/>
              <a:gd name="connsiteX52" fmla="*/ 4677507 w 6775947"/>
              <a:gd name="connsiteY52" fmla="*/ 2269729 h 4274857"/>
              <a:gd name="connsiteX53" fmla="*/ 4736123 w 6775947"/>
              <a:gd name="connsiteY53" fmla="*/ 2216976 h 4274857"/>
              <a:gd name="connsiteX54" fmla="*/ 4747846 w 6775947"/>
              <a:gd name="connsiteY54" fmla="*/ 2146637 h 4274857"/>
              <a:gd name="connsiteX55" fmla="*/ 4706815 w 6775947"/>
              <a:gd name="connsiteY55" fmla="*/ 2052852 h 4274857"/>
              <a:gd name="connsiteX56" fmla="*/ 4695092 w 6775947"/>
              <a:gd name="connsiteY56" fmla="*/ 2005960 h 4274857"/>
              <a:gd name="connsiteX57" fmla="*/ 4683369 w 6775947"/>
              <a:gd name="connsiteY57" fmla="*/ 1970791 h 4274857"/>
              <a:gd name="connsiteX58" fmla="*/ 4665784 w 6775947"/>
              <a:gd name="connsiteY58" fmla="*/ 1865283 h 4274857"/>
              <a:gd name="connsiteX59" fmla="*/ 4636477 w 6775947"/>
              <a:gd name="connsiteY59" fmla="*/ 1736329 h 4274857"/>
              <a:gd name="connsiteX60" fmla="*/ 4613030 w 6775947"/>
              <a:gd name="connsiteY60" fmla="*/ 1454975 h 4274857"/>
              <a:gd name="connsiteX61" fmla="*/ 4601307 w 6775947"/>
              <a:gd name="connsiteY61" fmla="*/ 1408083 h 4274857"/>
              <a:gd name="connsiteX62" fmla="*/ 4583723 w 6775947"/>
              <a:gd name="connsiteY62" fmla="*/ 1372914 h 4274857"/>
              <a:gd name="connsiteX63" fmla="*/ 4577861 w 6775947"/>
              <a:gd name="connsiteY63" fmla="*/ 1355329 h 4274857"/>
              <a:gd name="connsiteX64" fmla="*/ 4566138 w 6775947"/>
              <a:gd name="connsiteY64" fmla="*/ 1284991 h 4274857"/>
              <a:gd name="connsiteX65" fmla="*/ 4548554 w 6775947"/>
              <a:gd name="connsiteY65" fmla="*/ 1202929 h 4274857"/>
              <a:gd name="connsiteX66" fmla="*/ 4542692 w 6775947"/>
              <a:gd name="connsiteY66" fmla="*/ 1150175 h 4274857"/>
              <a:gd name="connsiteX67" fmla="*/ 4478215 w 6775947"/>
              <a:gd name="connsiteY67" fmla="*/ 1079837 h 4274857"/>
              <a:gd name="connsiteX68" fmla="*/ 4460630 w 6775947"/>
              <a:gd name="connsiteY68" fmla="*/ 1062252 h 4274857"/>
              <a:gd name="connsiteX69" fmla="*/ 4437184 w 6775947"/>
              <a:gd name="connsiteY69" fmla="*/ 1021221 h 4274857"/>
              <a:gd name="connsiteX70" fmla="*/ 4419600 w 6775947"/>
              <a:gd name="connsiteY70" fmla="*/ 980191 h 4274857"/>
              <a:gd name="connsiteX71" fmla="*/ 4378569 w 6775947"/>
              <a:gd name="connsiteY71" fmla="*/ 862960 h 4274857"/>
              <a:gd name="connsiteX72" fmla="*/ 4325815 w 6775947"/>
              <a:gd name="connsiteY72" fmla="*/ 821929 h 4274857"/>
              <a:gd name="connsiteX73" fmla="*/ 4308230 w 6775947"/>
              <a:gd name="connsiteY73" fmla="*/ 804344 h 4274857"/>
              <a:gd name="connsiteX74" fmla="*/ 4296507 w 6775947"/>
              <a:gd name="connsiteY74" fmla="*/ 757452 h 4274857"/>
              <a:gd name="connsiteX75" fmla="*/ 4308230 w 6775947"/>
              <a:gd name="connsiteY75" fmla="*/ 487821 h 4274857"/>
              <a:gd name="connsiteX76" fmla="*/ 4314092 w 6775947"/>
              <a:gd name="connsiteY76" fmla="*/ 417483 h 4274857"/>
              <a:gd name="connsiteX77" fmla="*/ 4319954 w 6775947"/>
              <a:gd name="connsiteY77" fmla="*/ 394037 h 4274857"/>
              <a:gd name="connsiteX78" fmla="*/ 4337538 w 6775947"/>
              <a:gd name="connsiteY78" fmla="*/ 288529 h 4274857"/>
              <a:gd name="connsiteX79" fmla="*/ 4366846 w 6775947"/>
              <a:gd name="connsiteY79" fmla="*/ 253360 h 4274857"/>
              <a:gd name="connsiteX80" fmla="*/ 4396154 w 6775947"/>
              <a:gd name="connsiteY80" fmla="*/ 224052 h 4274857"/>
              <a:gd name="connsiteX81" fmla="*/ 4413738 w 6775947"/>
              <a:gd name="connsiteY81" fmla="*/ 194744 h 4274857"/>
              <a:gd name="connsiteX82" fmla="*/ 4495800 w 6775947"/>
              <a:gd name="connsiteY82" fmla="*/ 136129 h 4274857"/>
              <a:gd name="connsiteX83" fmla="*/ 4554415 w 6775947"/>
              <a:gd name="connsiteY83" fmla="*/ 106821 h 4274857"/>
              <a:gd name="connsiteX84" fmla="*/ 4613030 w 6775947"/>
              <a:gd name="connsiteY84" fmla="*/ 83375 h 4274857"/>
              <a:gd name="connsiteX85" fmla="*/ 4671646 w 6775947"/>
              <a:gd name="connsiteY85" fmla="*/ 77514 h 4274857"/>
              <a:gd name="connsiteX86" fmla="*/ 5246077 w 6775947"/>
              <a:gd name="connsiteY86" fmla="*/ 71652 h 4274857"/>
              <a:gd name="connsiteX87" fmla="*/ 5304692 w 6775947"/>
              <a:gd name="connsiteY87" fmla="*/ 83375 h 4274857"/>
              <a:gd name="connsiteX88" fmla="*/ 5345723 w 6775947"/>
              <a:gd name="connsiteY88" fmla="*/ 89237 h 4274857"/>
              <a:gd name="connsiteX89" fmla="*/ 5527430 w 6775947"/>
              <a:gd name="connsiteY89" fmla="*/ 95098 h 4274857"/>
              <a:gd name="connsiteX90" fmla="*/ 5545015 w 6775947"/>
              <a:gd name="connsiteY90" fmla="*/ 100960 h 4274857"/>
              <a:gd name="connsiteX91" fmla="*/ 5586046 w 6775947"/>
              <a:gd name="connsiteY91" fmla="*/ 136129 h 4274857"/>
              <a:gd name="connsiteX92" fmla="*/ 5615354 w 6775947"/>
              <a:gd name="connsiteY92" fmla="*/ 159575 h 4274857"/>
              <a:gd name="connsiteX93" fmla="*/ 5632938 w 6775947"/>
              <a:gd name="connsiteY93" fmla="*/ 165437 h 4274857"/>
              <a:gd name="connsiteX94" fmla="*/ 5656384 w 6775947"/>
              <a:gd name="connsiteY94" fmla="*/ 183021 h 4274857"/>
              <a:gd name="connsiteX95" fmla="*/ 5709138 w 6775947"/>
              <a:gd name="connsiteY95" fmla="*/ 218191 h 4274857"/>
              <a:gd name="connsiteX96" fmla="*/ 5738446 w 6775947"/>
              <a:gd name="connsiteY96" fmla="*/ 247498 h 4274857"/>
              <a:gd name="connsiteX97" fmla="*/ 5756030 w 6775947"/>
              <a:gd name="connsiteY97" fmla="*/ 282667 h 4274857"/>
              <a:gd name="connsiteX98" fmla="*/ 5791200 w 6775947"/>
              <a:gd name="connsiteY98" fmla="*/ 341283 h 4274857"/>
              <a:gd name="connsiteX99" fmla="*/ 5756030 w 6775947"/>
              <a:gd name="connsiteY99" fmla="*/ 593329 h 4274857"/>
              <a:gd name="connsiteX100" fmla="*/ 5709138 w 6775947"/>
              <a:gd name="connsiteY100" fmla="*/ 751591 h 4274857"/>
              <a:gd name="connsiteX101" fmla="*/ 5650523 w 6775947"/>
              <a:gd name="connsiteY101" fmla="*/ 880544 h 4274857"/>
              <a:gd name="connsiteX102" fmla="*/ 5597769 w 6775947"/>
              <a:gd name="connsiteY102" fmla="*/ 1009498 h 4274857"/>
              <a:gd name="connsiteX103" fmla="*/ 5591907 w 6775947"/>
              <a:gd name="connsiteY103" fmla="*/ 1038806 h 4274857"/>
              <a:gd name="connsiteX104" fmla="*/ 5586046 w 6775947"/>
              <a:gd name="connsiteY104" fmla="*/ 1056391 h 4274857"/>
              <a:gd name="connsiteX105" fmla="*/ 5556738 w 6775947"/>
              <a:gd name="connsiteY105" fmla="*/ 1173621 h 4274857"/>
              <a:gd name="connsiteX106" fmla="*/ 5515707 w 6775947"/>
              <a:gd name="connsiteY106" fmla="*/ 1279129 h 4274857"/>
              <a:gd name="connsiteX107" fmla="*/ 5480538 w 6775947"/>
              <a:gd name="connsiteY107" fmla="*/ 1396360 h 4274857"/>
              <a:gd name="connsiteX108" fmla="*/ 5468815 w 6775947"/>
              <a:gd name="connsiteY108" fmla="*/ 1425667 h 4274857"/>
              <a:gd name="connsiteX109" fmla="*/ 5439507 w 6775947"/>
              <a:gd name="connsiteY109" fmla="*/ 1478421 h 4274857"/>
              <a:gd name="connsiteX110" fmla="*/ 5421923 w 6775947"/>
              <a:gd name="connsiteY110" fmla="*/ 1531175 h 4274857"/>
              <a:gd name="connsiteX111" fmla="*/ 5392615 w 6775947"/>
              <a:gd name="connsiteY111" fmla="*/ 1607375 h 4274857"/>
              <a:gd name="connsiteX112" fmla="*/ 5369169 w 6775947"/>
              <a:gd name="connsiteY112" fmla="*/ 1677714 h 4274857"/>
              <a:gd name="connsiteX113" fmla="*/ 5351584 w 6775947"/>
              <a:gd name="connsiteY113" fmla="*/ 1835975 h 4274857"/>
              <a:gd name="connsiteX114" fmla="*/ 5339861 w 6775947"/>
              <a:gd name="connsiteY114" fmla="*/ 1865283 h 4274857"/>
              <a:gd name="connsiteX115" fmla="*/ 5334000 w 6775947"/>
              <a:gd name="connsiteY115" fmla="*/ 1888729 h 4274857"/>
              <a:gd name="connsiteX116" fmla="*/ 5316415 w 6775947"/>
              <a:gd name="connsiteY116" fmla="*/ 1970791 h 4274857"/>
              <a:gd name="connsiteX117" fmla="*/ 5292969 w 6775947"/>
              <a:gd name="connsiteY117" fmla="*/ 2005960 h 4274857"/>
              <a:gd name="connsiteX118" fmla="*/ 5269523 w 6775947"/>
              <a:gd name="connsiteY118" fmla="*/ 2052852 h 4274857"/>
              <a:gd name="connsiteX119" fmla="*/ 5257800 w 6775947"/>
              <a:gd name="connsiteY119" fmla="*/ 2076298 h 4274857"/>
              <a:gd name="connsiteX120" fmla="*/ 5240215 w 6775947"/>
              <a:gd name="connsiteY120" fmla="*/ 2099744 h 4274857"/>
              <a:gd name="connsiteX121" fmla="*/ 5234354 w 6775947"/>
              <a:gd name="connsiteY121" fmla="*/ 2129052 h 4274857"/>
              <a:gd name="connsiteX122" fmla="*/ 5222630 w 6775947"/>
              <a:gd name="connsiteY122" fmla="*/ 2140775 h 4274857"/>
              <a:gd name="connsiteX123" fmla="*/ 5210907 w 6775947"/>
              <a:gd name="connsiteY123" fmla="*/ 2164221 h 4274857"/>
              <a:gd name="connsiteX124" fmla="*/ 5193323 w 6775947"/>
              <a:gd name="connsiteY124" fmla="*/ 2187667 h 4274857"/>
              <a:gd name="connsiteX125" fmla="*/ 5175738 w 6775947"/>
              <a:gd name="connsiteY125" fmla="*/ 2263867 h 4274857"/>
              <a:gd name="connsiteX126" fmla="*/ 5216769 w 6775947"/>
              <a:gd name="connsiteY126" fmla="*/ 2304898 h 4274857"/>
              <a:gd name="connsiteX127" fmla="*/ 5234353 w 6775947"/>
              <a:gd name="connsiteY127" fmla="*/ 2345928 h 4274857"/>
              <a:gd name="connsiteX128" fmla="*/ 5251939 w 6775947"/>
              <a:gd name="connsiteY128" fmla="*/ 2357653 h 4274857"/>
              <a:gd name="connsiteX129" fmla="*/ 5281246 w 6775947"/>
              <a:gd name="connsiteY129" fmla="*/ 2427991 h 4274857"/>
              <a:gd name="connsiteX130" fmla="*/ 5287107 w 6775947"/>
              <a:gd name="connsiteY130" fmla="*/ 2556944 h 4274857"/>
              <a:gd name="connsiteX131" fmla="*/ 5298830 w 6775947"/>
              <a:gd name="connsiteY131" fmla="*/ 2615560 h 4274857"/>
              <a:gd name="connsiteX132" fmla="*/ 5310554 w 6775947"/>
              <a:gd name="connsiteY132" fmla="*/ 2721067 h 4274857"/>
              <a:gd name="connsiteX133" fmla="*/ 5316415 w 6775947"/>
              <a:gd name="connsiteY133" fmla="*/ 2885191 h 4274857"/>
              <a:gd name="connsiteX134" fmla="*/ 5357446 w 6775947"/>
              <a:gd name="connsiteY134" fmla="*/ 2978975 h 4274857"/>
              <a:gd name="connsiteX135" fmla="*/ 5363307 w 6775947"/>
              <a:gd name="connsiteY135" fmla="*/ 3014144 h 4274857"/>
              <a:gd name="connsiteX136" fmla="*/ 5380892 w 6775947"/>
              <a:gd name="connsiteY136" fmla="*/ 3037591 h 4274857"/>
              <a:gd name="connsiteX137" fmla="*/ 5386754 w 6775947"/>
              <a:gd name="connsiteY137" fmla="*/ 3084483 h 4274857"/>
              <a:gd name="connsiteX138" fmla="*/ 5404338 w 6775947"/>
              <a:gd name="connsiteY138" fmla="*/ 3131375 h 4274857"/>
              <a:gd name="connsiteX139" fmla="*/ 5404338 w 6775947"/>
              <a:gd name="connsiteY139" fmla="*/ 3324806 h 4274857"/>
              <a:gd name="connsiteX140" fmla="*/ 5398477 w 6775947"/>
              <a:gd name="connsiteY140" fmla="*/ 3823037 h 4274857"/>
              <a:gd name="connsiteX141" fmla="*/ 5380892 w 6775947"/>
              <a:gd name="connsiteY141" fmla="*/ 3881652 h 4274857"/>
              <a:gd name="connsiteX142" fmla="*/ 5369169 w 6775947"/>
              <a:gd name="connsiteY142" fmla="*/ 3916821 h 4274857"/>
              <a:gd name="connsiteX143" fmla="*/ 5339861 w 6775947"/>
              <a:gd name="connsiteY143" fmla="*/ 3946129 h 4274857"/>
              <a:gd name="connsiteX144" fmla="*/ 5322277 w 6775947"/>
              <a:gd name="connsiteY144" fmla="*/ 3981298 h 4274857"/>
              <a:gd name="connsiteX145" fmla="*/ 5257800 w 6775947"/>
              <a:gd name="connsiteY145" fmla="*/ 4057498 h 4274857"/>
              <a:gd name="connsiteX146" fmla="*/ 5228492 w 6775947"/>
              <a:gd name="connsiteY146" fmla="*/ 4080944 h 4274857"/>
              <a:gd name="connsiteX147" fmla="*/ 5146430 w 6775947"/>
              <a:gd name="connsiteY147" fmla="*/ 4121975 h 4274857"/>
              <a:gd name="connsiteX148" fmla="*/ 5117123 w 6775947"/>
              <a:gd name="connsiteY148" fmla="*/ 4139560 h 4274857"/>
              <a:gd name="connsiteX149" fmla="*/ 5087815 w 6775947"/>
              <a:gd name="connsiteY149" fmla="*/ 4145421 h 4274857"/>
              <a:gd name="connsiteX150" fmla="*/ 4988169 w 6775947"/>
              <a:gd name="connsiteY150" fmla="*/ 4163006 h 4274857"/>
              <a:gd name="connsiteX151" fmla="*/ 4753707 w 6775947"/>
              <a:gd name="connsiteY151" fmla="*/ 4151283 h 4274857"/>
              <a:gd name="connsiteX152" fmla="*/ 4695092 w 6775947"/>
              <a:gd name="connsiteY152" fmla="*/ 4139560 h 4274857"/>
              <a:gd name="connsiteX153" fmla="*/ 4589584 w 6775947"/>
              <a:gd name="connsiteY153" fmla="*/ 4151283 h 4274857"/>
              <a:gd name="connsiteX154" fmla="*/ 4560277 w 6775947"/>
              <a:gd name="connsiteY154" fmla="*/ 4163006 h 4274857"/>
              <a:gd name="connsiteX155" fmla="*/ 4484077 w 6775947"/>
              <a:gd name="connsiteY155" fmla="*/ 4180591 h 4274857"/>
              <a:gd name="connsiteX156" fmla="*/ 4443046 w 6775947"/>
              <a:gd name="connsiteY156" fmla="*/ 4198175 h 4274857"/>
              <a:gd name="connsiteX157" fmla="*/ 4413738 w 6775947"/>
              <a:gd name="connsiteY157" fmla="*/ 4204037 h 4274857"/>
              <a:gd name="connsiteX158" fmla="*/ 4355123 w 6775947"/>
              <a:gd name="connsiteY158" fmla="*/ 4215760 h 4274857"/>
              <a:gd name="connsiteX159" fmla="*/ 4273061 w 6775947"/>
              <a:gd name="connsiteY159" fmla="*/ 4209898 h 4274857"/>
              <a:gd name="connsiteX160" fmla="*/ 4185138 w 6775947"/>
              <a:gd name="connsiteY160" fmla="*/ 4198175 h 4274857"/>
              <a:gd name="connsiteX161" fmla="*/ 4155830 w 6775947"/>
              <a:gd name="connsiteY161" fmla="*/ 4209898 h 4274857"/>
              <a:gd name="connsiteX162" fmla="*/ 4138246 w 6775947"/>
              <a:gd name="connsiteY162" fmla="*/ 4215760 h 4274857"/>
              <a:gd name="connsiteX163" fmla="*/ 3991707 w 6775947"/>
              <a:gd name="connsiteY163" fmla="*/ 4227483 h 4274857"/>
              <a:gd name="connsiteX164" fmla="*/ 3933092 w 6775947"/>
              <a:gd name="connsiteY164" fmla="*/ 4250929 h 4274857"/>
              <a:gd name="connsiteX165" fmla="*/ 3915507 w 6775947"/>
              <a:gd name="connsiteY165" fmla="*/ 4262652 h 4274857"/>
              <a:gd name="connsiteX166" fmla="*/ 3704492 w 6775947"/>
              <a:gd name="connsiteY166" fmla="*/ 4268514 h 4274857"/>
              <a:gd name="connsiteX167" fmla="*/ 3563815 w 6775947"/>
              <a:gd name="connsiteY167" fmla="*/ 4274376 h 4274857"/>
              <a:gd name="connsiteX168" fmla="*/ 3452446 w 6775947"/>
              <a:gd name="connsiteY168" fmla="*/ 4245067 h 4274857"/>
              <a:gd name="connsiteX169" fmla="*/ 3264877 w 6775947"/>
              <a:gd name="connsiteY169" fmla="*/ 4192314 h 4274857"/>
              <a:gd name="connsiteX170" fmla="*/ 3253154 w 6775947"/>
              <a:gd name="connsiteY170" fmla="*/ 4069221 h 4274857"/>
              <a:gd name="connsiteX171" fmla="*/ 3276600 w 6775947"/>
              <a:gd name="connsiteY171" fmla="*/ 3828898 h 4274857"/>
              <a:gd name="connsiteX172" fmla="*/ 3264877 w 6775947"/>
              <a:gd name="connsiteY172" fmla="*/ 3664775 h 4274857"/>
              <a:gd name="connsiteX173" fmla="*/ 3259015 w 6775947"/>
              <a:gd name="connsiteY173" fmla="*/ 3623744 h 4274857"/>
              <a:gd name="connsiteX174" fmla="*/ 3247292 w 6775947"/>
              <a:gd name="connsiteY174" fmla="*/ 3600298 h 4274857"/>
              <a:gd name="connsiteX175" fmla="*/ 3229707 w 6775947"/>
              <a:gd name="connsiteY175" fmla="*/ 3535821 h 4274857"/>
              <a:gd name="connsiteX176" fmla="*/ 3194538 w 6775947"/>
              <a:gd name="connsiteY176" fmla="*/ 3459621 h 4274857"/>
              <a:gd name="connsiteX177" fmla="*/ 3153507 w 6775947"/>
              <a:gd name="connsiteY177" fmla="*/ 3354114 h 4274857"/>
              <a:gd name="connsiteX178" fmla="*/ 3135923 w 6775947"/>
              <a:gd name="connsiteY178" fmla="*/ 3231021 h 4274857"/>
              <a:gd name="connsiteX179" fmla="*/ 3118338 w 6775947"/>
              <a:gd name="connsiteY179" fmla="*/ 3184129 h 4274857"/>
              <a:gd name="connsiteX180" fmla="*/ 3094892 w 6775947"/>
              <a:gd name="connsiteY180" fmla="*/ 2633144 h 4274857"/>
              <a:gd name="connsiteX181" fmla="*/ 3048000 w 6775947"/>
              <a:gd name="connsiteY181" fmla="*/ 2498329 h 4274857"/>
              <a:gd name="connsiteX182" fmla="*/ 3012830 w 6775947"/>
              <a:gd name="connsiteY182" fmla="*/ 2386960 h 4274857"/>
              <a:gd name="connsiteX183" fmla="*/ 3006969 w 6775947"/>
              <a:gd name="connsiteY183" fmla="*/ 2299037 h 4274857"/>
              <a:gd name="connsiteX184" fmla="*/ 2995246 w 6775947"/>
              <a:gd name="connsiteY184" fmla="*/ 1988375 h 4274857"/>
              <a:gd name="connsiteX185" fmla="*/ 2965938 w 6775947"/>
              <a:gd name="connsiteY185" fmla="*/ 1818391 h 4274857"/>
              <a:gd name="connsiteX186" fmla="*/ 2960077 w 6775947"/>
              <a:gd name="connsiteY186" fmla="*/ 1689437 h 4274857"/>
              <a:gd name="connsiteX187" fmla="*/ 2936630 w 6775947"/>
              <a:gd name="connsiteY187" fmla="*/ 1583929 h 4274857"/>
              <a:gd name="connsiteX188" fmla="*/ 2924907 w 6775947"/>
              <a:gd name="connsiteY188" fmla="*/ 1542898 h 4274857"/>
              <a:gd name="connsiteX189" fmla="*/ 2901461 w 6775947"/>
              <a:gd name="connsiteY189" fmla="*/ 1425667 h 4274857"/>
              <a:gd name="connsiteX190" fmla="*/ 2872154 w 6775947"/>
              <a:gd name="connsiteY190" fmla="*/ 1302575 h 4274857"/>
              <a:gd name="connsiteX191" fmla="*/ 2848707 w 6775947"/>
              <a:gd name="connsiteY191" fmla="*/ 1191206 h 4274857"/>
              <a:gd name="connsiteX192" fmla="*/ 2836984 w 6775947"/>
              <a:gd name="connsiteY192" fmla="*/ 1056391 h 4274857"/>
              <a:gd name="connsiteX193" fmla="*/ 2819400 w 6775947"/>
              <a:gd name="connsiteY193" fmla="*/ 968467 h 4274857"/>
              <a:gd name="connsiteX194" fmla="*/ 2813538 w 6775947"/>
              <a:gd name="connsiteY194" fmla="*/ 909852 h 4274857"/>
              <a:gd name="connsiteX195" fmla="*/ 2801815 w 6775947"/>
              <a:gd name="connsiteY195" fmla="*/ 816067 h 4274857"/>
              <a:gd name="connsiteX196" fmla="*/ 2795954 w 6775947"/>
              <a:gd name="connsiteY196" fmla="*/ 476098 h 4274857"/>
              <a:gd name="connsiteX197" fmla="*/ 2784230 w 6775947"/>
              <a:gd name="connsiteY197" fmla="*/ 335421 h 4274857"/>
              <a:gd name="connsiteX198" fmla="*/ 2754923 w 6775947"/>
              <a:gd name="connsiteY198" fmla="*/ 276806 h 4274857"/>
              <a:gd name="connsiteX199" fmla="*/ 2708030 w 6775947"/>
              <a:gd name="connsiteY199" fmla="*/ 177160 h 4274857"/>
              <a:gd name="connsiteX200" fmla="*/ 2702169 w 6775947"/>
              <a:gd name="connsiteY200" fmla="*/ 159575 h 4274857"/>
              <a:gd name="connsiteX201" fmla="*/ 2678723 w 6775947"/>
              <a:gd name="connsiteY201" fmla="*/ 130267 h 4274857"/>
              <a:gd name="connsiteX202" fmla="*/ 2602523 w 6775947"/>
              <a:gd name="connsiteY202" fmla="*/ 112683 h 4274857"/>
              <a:gd name="connsiteX203" fmla="*/ 2584938 w 6775947"/>
              <a:gd name="connsiteY203" fmla="*/ 106821 h 4274857"/>
              <a:gd name="connsiteX204" fmla="*/ 2514600 w 6775947"/>
              <a:gd name="connsiteY204" fmla="*/ 100960 h 4274857"/>
              <a:gd name="connsiteX205" fmla="*/ 2467707 w 6775947"/>
              <a:gd name="connsiteY205" fmla="*/ 36483 h 4274857"/>
              <a:gd name="connsiteX206" fmla="*/ 2403230 w 6775947"/>
              <a:gd name="connsiteY206" fmla="*/ 30621 h 4274857"/>
              <a:gd name="connsiteX207" fmla="*/ 2321169 w 6775947"/>
              <a:gd name="connsiteY207" fmla="*/ 24760 h 4274857"/>
              <a:gd name="connsiteX208" fmla="*/ 1793630 w 6775947"/>
              <a:gd name="connsiteY208" fmla="*/ 30621 h 4274857"/>
              <a:gd name="connsiteX209" fmla="*/ 1752600 w 6775947"/>
              <a:gd name="connsiteY209" fmla="*/ 42344 h 4274857"/>
              <a:gd name="connsiteX210" fmla="*/ 1717430 w 6775947"/>
              <a:gd name="connsiteY210" fmla="*/ 59929 h 4274857"/>
              <a:gd name="connsiteX211" fmla="*/ 1652954 w 6775947"/>
              <a:gd name="connsiteY211" fmla="*/ 65791 h 4274857"/>
              <a:gd name="connsiteX212" fmla="*/ 1371600 w 6775947"/>
              <a:gd name="connsiteY212" fmla="*/ 54067 h 4274857"/>
              <a:gd name="connsiteX213" fmla="*/ 826477 w 6775947"/>
              <a:gd name="connsiteY213" fmla="*/ 36483 h 4274857"/>
              <a:gd name="connsiteX214" fmla="*/ 451338 w 6775947"/>
              <a:gd name="connsiteY214" fmla="*/ 42344 h 4274857"/>
              <a:gd name="connsiteX215" fmla="*/ 375138 w 6775947"/>
              <a:gd name="connsiteY215" fmla="*/ 65791 h 4274857"/>
              <a:gd name="connsiteX216" fmla="*/ 199292 w 6775947"/>
              <a:gd name="connsiteY216" fmla="*/ 159575 h 4274857"/>
              <a:gd name="connsiteX217" fmla="*/ 146538 w 6775947"/>
              <a:gd name="connsiteY217" fmla="*/ 194744 h 4274857"/>
              <a:gd name="connsiteX218" fmla="*/ 29307 w 6775947"/>
              <a:gd name="connsiteY218" fmla="*/ 528852 h 4274857"/>
              <a:gd name="connsiteX219" fmla="*/ 0 w 6775947"/>
              <a:gd name="connsiteY219" fmla="*/ 898129 h 4274857"/>
              <a:gd name="connsiteX220" fmla="*/ 23446 w 6775947"/>
              <a:gd name="connsiteY220" fmla="*/ 2041129 h 4274857"/>
              <a:gd name="connsiteX221" fmla="*/ 93784 w 6775947"/>
              <a:gd name="connsiteY221" fmla="*/ 2316621 h 4274857"/>
              <a:gd name="connsiteX222" fmla="*/ 433754 w 6775947"/>
              <a:gd name="connsiteY222" fmla="*/ 2937944 h 4274857"/>
              <a:gd name="connsiteX223" fmla="*/ 662354 w 6775947"/>
              <a:gd name="connsiteY223" fmla="*/ 3231021 h 4274857"/>
              <a:gd name="connsiteX224" fmla="*/ 785446 w 6775947"/>
              <a:gd name="connsiteY224" fmla="*/ 3395144 h 4274857"/>
              <a:gd name="connsiteX225" fmla="*/ 1066800 w 6775947"/>
              <a:gd name="connsiteY225" fmla="*/ 3746837 h 4274857"/>
              <a:gd name="connsiteX226" fmla="*/ 1436077 w 6775947"/>
              <a:gd name="connsiteY226" fmla="*/ 4004744 h 4274857"/>
              <a:gd name="connsiteX227" fmla="*/ 1735015 w 6775947"/>
              <a:gd name="connsiteY227" fmla="*/ 4139560 h 4274857"/>
              <a:gd name="connsiteX228" fmla="*/ 1817077 w 6775947"/>
              <a:gd name="connsiteY228" fmla="*/ 4174729 h 4274857"/>
              <a:gd name="connsiteX229" fmla="*/ 1893277 w 6775947"/>
              <a:gd name="connsiteY229" fmla="*/ 4209898 h 4274857"/>
              <a:gd name="connsiteX230" fmla="*/ 2039815 w 6775947"/>
              <a:gd name="connsiteY230" fmla="*/ 4221621 h 4274857"/>
              <a:gd name="connsiteX231" fmla="*/ 2250830 w 6775947"/>
              <a:gd name="connsiteY231" fmla="*/ 4198175 h 4274857"/>
              <a:gd name="connsiteX232" fmla="*/ 2286000 w 6775947"/>
              <a:gd name="connsiteY232" fmla="*/ 4192314 h 4274857"/>
              <a:gd name="connsiteX233" fmla="*/ 2450123 w 6775947"/>
              <a:gd name="connsiteY233" fmla="*/ 4198175 h 4274857"/>
              <a:gd name="connsiteX234" fmla="*/ 2567354 w 6775947"/>
              <a:gd name="connsiteY234" fmla="*/ 4209898 h 4274857"/>
              <a:gd name="connsiteX235" fmla="*/ 2608384 w 6775947"/>
              <a:gd name="connsiteY235" fmla="*/ 4215760 h 4274857"/>
              <a:gd name="connsiteX236" fmla="*/ 2813538 w 6775947"/>
              <a:gd name="connsiteY236" fmla="*/ 4221621 h 4274857"/>
              <a:gd name="connsiteX237" fmla="*/ 2924907 w 6775947"/>
              <a:gd name="connsiteY237" fmla="*/ 4233344 h 4274857"/>
              <a:gd name="connsiteX238" fmla="*/ 2960077 w 6775947"/>
              <a:gd name="connsiteY238" fmla="*/ 4239206 h 4274857"/>
              <a:gd name="connsiteX239" fmla="*/ 3006969 w 6775947"/>
              <a:gd name="connsiteY239" fmla="*/ 4245067 h 4274857"/>
              <a:gd name="connsiteX240" fmla="*/ 3106615 w 6775947"/>
              <a:gd name="connsiteY240" fmla="*/ 4262652 h 4274857"/>
              <a:gd name="connsiteX241" fmla="*/ 3130061 w 6775947"/>
              <a:gd name="connsiteY241" fmla="*/ 4268514 h 4274857"/>
              <a:gd name="connsiteX242" fmla="*/ 3294184 w 6775947"/>
              <a:gd name="connsiteY242" fmla="*/ 4262652 h 4274857"/>
              <a:gd name="connsiteX243" fmla="*/ 3323492 w 6775947"/>
              <a:gd name="connsiteY243" fmla="*/ 4256791 h 4274857"/>
              <a:gd name="connsiteX244" fmla="*/ 3364523 w 6775947"/>
              <a:gd name="connsiteY244" fmla="*/ 4250929 h 4274857"/>
              <a:gd name="connsiteX245" fmla="*/ 4525107 w 6775947"/>
              <a:gd name="connsiteY245" fmla="*/ 4256791 h 4274857"/>
              <a:gd name="connsiteX246" fmla="*/ 4759569 w 6775947"/>
              <a:gd name="connsiteY246" fmla="*/ 4209898 h 4274857"/>
              <a:gd name="connsiteX247" fmla="*/ 5175738 w 6775947"/>
              <a:gd name="connsiteY247" fmla="*/ 4186452 h 4274857"/>
              <a:gd name="connsiteX248" fmla="*/ 5216769 w 6775947"/>
              <a:gd name="connsiteY248" fmla="*/ 4157144 h 4274857"/>
              <a:gd name="connsiteX249" fmla="*/ 5234354 w 6775947"/>
              <a:gd name="connsiteY249" fmla="*/ 4133698 h 4274857"/>
              <a:gd name="connsiteX250" fmla="*/ 5251938 w 6775947"/>
              <a:gd name="connsiteY250" fmla="*/ 4116114 h 4274857"/>
              <a:gd name="connsiteX251" fmla="*/ 5275384 w 6775947"/>
              <a:gd name="connsiteY251" fmla="*/ 4086806 h 4274857"/>
              <a:gd name="connsiteX252" fmla="*/ 5404338 w 6775947"/>
              <a:gd name="connsiteY252" fmla="*/ 3998883 h 4274857"/>
              <a:gd name="connsiteX253" fmla="*/ 5498123 w 6775947"/>
              <a:gd name="connsiteY253" fmla="*/ 3910960 h 4274857"/>
              <a:gd name="connsiteX254" fmla="*/ 5550877 w 6775947"/>
              <a:gd name="connsiteY254" fmla="*/ 3875791 h 4274857"/>
              <a:gd name="connsiteX255" fmla="*/ 5715000 w 6775947"/>
              <a:gd name="connsiteY255" fmla="*/ 3699944 h 4274857"/>
              <a:gd name="connsiteX256" fmla="*/ 5802923 w 6775947"/>
              <a:gd name="connsiteY256" fmla="*/ 3594437 h 4274857"/>
              <a:gd name="connsiteX257" fmla="*/ 5838092 w 6775947"/>
              <a:gd name="connsiteY257" fmla="*/ 3524098 h 4274857"/>
              <a:gd name="connsiteX258" fmla="*/ 5879123 w 6775947"/>
              <a:gd name="connsiteY258" fmla="*/ 3453760 h 4274857"/>
              <a:gd name="connsiteX259" fmla="*/ 5908430 w 6775947"/>
              <a:gd name="connsiteY259" fmla="*/ 3424452 h 4274857"/>
              <a:gd name="connsiteX260" fmla="*/ 5926015 w 6775947"/>
              <a:gd name="connsiteY260" fmla="*/ 3389283 h 4274857"/>
              <a:gd name="connsiteX261" fmla="*/ 6119446 w 6775947"/>
              <a:gd name="connsiteY261" fmla="*/ 3195852 h 4274857"/>
              <a:gd name="connsiteX262" fmla="*/ 6236677 w 6775947"/>
              <a:gd name="connsiteY262" fmla="*/ 3072760 h 4274857"/>
              <a:gd name="connsiteX263" fmla="*/ 6318738 w 6775947"/>
              <a:gd name="connsiteY263" fmla="*/ 2937944 h 4274857"/>
              <a:gd name="connsiteX264" fmla="*/ 6330461 w 6775947"/>
              <a:gd name="connsiteY264" fmla="*/ 2879329 h 4274857"/>
              <a:gd name="connsiteX265" fmla="*/ 6453554 w 6775947"/>
              <a:gd name="connsiteY265" fmla="*/ 2551083 h 4274857"/>
              <a:gd name="connsiteX266" fmla="*/ 6547338 w 6775947"/>
              <a:gd name="connsiteY266" fmla="*/ 2375237 h 4274857"/>
              <a:gd name="connsiteX267" fmla="*/ 6629400 w 6775947"/>
              <a:gd name="connsiteY267" fmla="*/ 2240421 h 4274857"/>
              <a:gd name="connsiteX268" fmla="*/ 6646984 w 6775947"/>
              <a:gd name="connsiteY268" fmla="*/ 2205252 h 4274857"/>
              <a:gd name="connsiteX269" fmla="*/ 6705600 w 6775947"/>
              <a:gd name="connsiteY269" fmla="*/ 2152498 h 4274857"/>
              <a:gd name="connsiteX270" fmla="*/ 6723184 w 6775947"/>
              <a:gd name="connsiteY270" fmla="*/ 2099744 h 4274857"/>
              <a:gd name="connsiteX271" fmla="*/ 6764215 w 6775947"/>
              <a:gd name="connsiteY271" fmla="*/ 1859421 h 4274857"/>
              <a:gd name="connsiteX272" fmla="*/ 6764215 w 6775947"/>
              <a:gd name="connsiteY272" fmla="*/ 804344 h 4274857"/>
              <a:gd name="connsiteX273" fmla="*/ 6740769 w 6775947"/>
              <a:gd name="connsiteY273" fmla="*/ 218191 h 4274857"/>
              <a:gd name="connsiteX274" fmla="*/ 6729046 w 6775947"/>
              <a:gd name="connsiteY274" fmla="*/ 147852 h 4274857"/>
              <a:gd name="connsiteX275" fmla="*/ 6723184 w 6775947"/>
              <a:gd name="connsiteY275" fmla="*/ 124406 h 4274857"/>
              <a:gd name="connsiteX276" fmla="*/ 6670430 w 6775947"/>
              <a:gd name="connsiteY276" fmla="*/ 77514 h 4274857"/>
              <a:gd name="connsiteX277" fmla="*/ 6559061 w 6775947"/>
              <a:gd name="connsiteY277" fmla="*/ 48206 h 4274857"/>
              <a:gd name="connsiteX278" fmla="*/ 6506307 w 6775947"/>
              <a:gd name="connsiteY278" fmla="*/ 18898 h 4274857"/>
              <a:gd name="connsiteX279" fmla="*/ 6477000 w 6775947"/>
              <a:gd name="connsiteY279" fmla="*/ 7175 h 4274857"/>
              <a:gd name="connsiteX280" fmla="*/ 6371492 w 6775947"/>
              <a:gd name="connsiteY280" fmla="*/ 36483 h 4274857"/>
              <a:gd name="connsiteX281" fmla="*/ 5597769 w 6775947"/>
              <a:gd name="connsiteY281" fmla="*/ 7175 h 4274857"/>
              <a:gd name="connsiteX282" fmla="*/ 5533292 w 6775947"/>
              <a:gd name="connsiteY282" fmla="*/ 1314 h 4274857"/>
              <a:gd name="connsiteX283" fmla="*/ 5175738 w 6775947"/>
              <a:gd name="connsiteY283" fmla="*/ 7175 h 4274857"/>
              <a:gd name="connsiteX284" fmla="*/ 5064369 w 6775947"/>
              <a:gd name="connsiteY284" fmla="*/ 18898 h 4274857"/>
              <a:gd name="connsiteX285" fmla="*/ 4360984 w 6775947"/>
              <a:gd name="connsiteY285" fmla="*/ 30621 h 4274857"/>
              <a:gd name="connsiteX286" fmla="*/ 4314092 w 6775947"/>
              <a:gd name="connsiteY286" fmla="*/ 83375 h 4274857"/>
              <a:gd name="connsiteX287" fmla="*/ 4302369 w 6775947"/>
              <a:gd name="connsiteY287" fmla="*/ 141991 h 4274857"/>
              <a:gd name="connsiteX0" fmla="*/ 4302369 w 6775947"/>
              <a:gd name="connsiteY0" fmla="*/ 141991 h 4274857"/>
              <a:gd name="connsiteX1" fmla="*/ 4302369 w 6775947"/>
              <a:gd name="connsiteY1" fmla="*/ 141991 h 4274857"/>
              <a:gd name="connsiteX2" fmla="*/ 4232030 w 6775947"/>
              <a:gd name="connsiteY2" fmla="*/ 106821 h 4274857"/>
              <a:gd name="connsiteX3" fmla="*/ 4208584 w 6775947"/>
              <a:gd name="connsiteY3" fmla="*/ 89237 h 4274857"/>
              <a:gd name="connsiteX4" fmla="*/ 4149969 w 6775947"/>
              <a:gd name="connsiteY4" fmla="*/ 71652 h 4274857"/>
              <a:gd name="connsiteX5" fmla="*/ 4097215 w 6775947"/>
              <a:gd name="connsiteY5" fmla="*/ 59929 h 4274857"/>
              <a:gd name="connsiteX6" fmla="*/ 4073769 w 6775947"/>
              <a:gd name="connsiteY6" fmla="*/ 54067 h 4274857"/>
              <a:gd name="connsiteX7" fmla="*/ 3927230 w 6775947"/>
              <a:gd name="connsiteY7" fmla="*/ 42344 h 4274857"/>
              <a:gd name="connsiteX8" fmla="*/ 3745523 w 6775947"/>
              <a:gd name="connsiteY8" fmla="*/ 18898 h 4274857"/>
              <a:gd name="connsiteX9" fmla="*/ 3716215 w 6775947"/>
              <a:gd name="connsiteY9" fmla="*/ 7175 h 4274857"/>
              <a:gd name="connsiteX10" fmla="*/ 3563815 w 6775947"/>
              <a:gd name="connsiteY10" fmla="*/ 7175 h 4274857"/>
              <a:gd name="connsiteX11" fmla="*/ 3499338 w 6775947"/>
              <a:gd name="connsiteY11" fmla="*/ 24760 h 4274857"/>
              <a:gd name="connsiteX12" fmla="*/ 3458307 w 6775947"/>
              <a:gd name="connsiteY12" fmla="*/ 30621 h 4274857"/>
              <a:gd name="connsiteX13" fmla="*/ 3376246 w 6775947"/>
              <a:gd name="connsiteY13" fmla="*/ 42344 h 4274857"/>
              <a:gd name="connsiteX14" fmla="*/ 3352800 w 6775947"/>
              <a:gd name="connsiteY14" fmla="*/ 48206 h 4274857"/>
              <a:gd name="connsiteX15" fmla="*/ 3288323 w 6775947"/>
              <a:gd name="connsiteY15" fmla="*/ 77514 h 4274857"/>
              <a:gd name="connsiteX16" fmla="*/ 3194538 w 6775947"/>
              <a:gd name="connsiteY16" fmla="*/ 95098 h 4274857"/>
              <a:gd name="connsiteX17" fmla="*/ 3112477 w 6775947"/>
              <a:gd name="connsiteY17" fmla="*/ 124406 h 4274857"/>
              <a:gd name="connsiteX18" fmla="*/ 3059723 w 6775947"/>
              <a:gd name="connsiteY18" fmla="*/ 194744 h 4274857"/>
              <a:gd name="connsiteX19" fmla="*/ 2971800 w 6775947"/>
              <a:gd name="connsiteY19" fmla="*/ 335421 h 4274857"/>
              <a:gd name="connsiteX20" fmla="*/ 2960077 w 6775947"/>
              <a:gd name="connsiteY20" fmla="*/ 382314 h 4274857"/>
              <a:gd name="connsiteX21" fmla="*/ 2948354 w 6775947"/>
              <a:gd name="connsiteY21" fmla="*/ 423344 h 4274857"/>
              <a:gd name="connsiteX22" fmla="*/ 2954215 w 6775947"/>
              <a:gd name="connsiteY22" fmla="*/ 698837 h 4274857"/>
              <a:gd name="connsiteX23" fmla="*/ 2971800 w 6775947"/>
              <a:gd name="connsiteY23" fmla="*/ 892267 h 4274857"/>
              <a:gd name="connsiteX24" fmla="*/ 2989384 w 6775947"/>
              <a:gd name="connsiteY24" fmla="*/ 1015360 h 4274857"/>
              <a:gd name="connsiteX25" fmla="*/ 3018692 w 6775947"/>
              <a:gd name="connsiteY25" fmla="*/ 1115006 h 4274857"/>
              <a:gd name="connsiteX26" fmla="*/ 3036277 w 6775947"/>
              <a:gd name="connsiteY26" fmla="*/ 1191206 h 4274857"/>
              <a:gd name="connsiteX27" fmla="*/ 3042138 w 6775947"/>
              <a:gd name="connsiteY27" fmla="*/ 1255683 h 4274857"/>
              <a:gd name="connsiteX28" fmla="*/ 3071446 w 6775947"/>
              <a:gd name="connsiteY28" fmla="*/ 1314298 h 4274857"/>
              <a:gd name="connsiteX29" fmla="*/ 3171092 w 6775947"/>
              <a:gd name="connsiteY29" fmla="*/ 1537037 h 4274857"/>
              <a:gd name="connsiteX30" fmla="*/ 3200400 w 6775947"/>
              <a:gd name="connsiteY30" fmla="*/ 1589791 h 4274857"/>
              <a:gd name="connsiteX31" fmla="*/ 3229707 w 6775947"/>
              <a:gd name="connsiteY31" fmla="*/ 1636683 h 4274857"/>
              <a:gd name="connsiteX32" fmla="*/ 3276600 w 6775947"/>
              <a:gd name="connsiteY32" fmla="*/ 1724606 h 4274857"/>
              <a:gd name="connsiteX33" fmla="*/ 3341077 w 6775947"/>
              <a:gd name="connsiteY33" fmla="*/ 1830114 h 4274857"/>
              <a:gd name="connsiteX34" fmla="*/ 3446584 w 6775947"/>
              <a:gd name="connsiteY34" fmla="*/ 1935621 h 4274857"/>
              <a:gd name="connsiteX35" fmla="*/ 3511061 w 6775947"/>
              <a:gd name="connsiteY35" fmla="*/ 2011821 h 4274857"/>
              <a:gd name="connsiteX36" fmla="*/ 3616569 w 6775947"/>
              <a:gd name="connsiteY36" fmla="*/ 2093883 h 4274857"/>
              <a:gd name="connsiteX37" fmla="*/ 3675184 w 6775947"/>
              <a:gd name="connsiteY37" fmla="*/ 2134914 h 4274857"/>
              <a:gd name="connsiteX38" fmla="*/ 3774830 w 6775947"/>
              <a:gd name="connsiteY38" fmla="*/ 2211114 h 4274857"/>
              <a:gd name="connsiteX39" fmla="*/ 3833446 w 6775947"/>
              <a:gd name="connsiteY39" fmla="*/ 2222837 h 4274857"/>
              <a:gd name="connsiteX40" fmla="*/ 3903784 w 6775947"/>
              <a:gd name="connsiteY40" fmla="*/ 2240421 h 4274857"/>
              <a:gd name="connsiteX41" fmla="*/ 3944815 w 6775947"/>
              <a:gd name="connsiteY41" fmla="*/ 2246283 h 4274857"/>
              <a:gd name="connsiteX42" fmla="*/ 4050323 w 6775947"/>
              <a:gd name="connsiteY42" fmla="*/ 2263867 h 4274857"/>
              <a:gd name="connsiteX43" fmla="*/ 4073769 w 6775947"/>
              <a:gd name="connsiteY43" fmla="*/ 2269729 h 4274857"/>
              <a:gd name="connsiteX44" fmla="*/ 4155830 w 6775947"/>
              <a:gd name="connsiteY44" fmla="*/ 2275591 h 4274857"/>
              <a:gd name="connsiteX45" fmla="*/ 4255477 w 6775947"/>
              <a:gd name="connsiteY45" fmla="*/ 2334206 h 4274857"/>
              <a:gd name="connsiteX46" fmla="*/ 4284784 w 6775947"/>
              <a:gd name="connsiteY46" fmla="*/ 2345929 h 4274857"/>
              <a:gd name="connsiteX47" fmla="*/ 4378569 w 6775947"/>
              <a:gd name="connsiteY47" fmla="*/ 2351791 h 4274857"/>
              <a:gd name="connsiteX48" fmla="*/ 4448907 w 6775947"/>
              <a:gd name="connsiteY48" fmla="*/ 2357652 h 4274857"/>
              <a:gd name="connsiteX49" fmla="*/ 4548554 w 6775947"/>
              <a:gd name="connsiteY49" fmla="*/ 2351791 h 4274857"/>
              <a:gd name="connsiteX50" fmla="*/ 4548553 w 6775947"/>
              <a:gd name="connsiteY50" fmla="*/ 2369375 h 4274857"/>
              <a:gd name="connsiteX51" fmla="*/ 4583722 w 6775947"/>
              <a:gd name="connsiteY51" fmla="*/ 2351791 h 4274857"/>
              <a:gd name="connsiteX52" fmla="*/ 4677507 w 6775947"/>
              <a:gd name="connsiteY52" fmla="*/ 2269729 h 4274857"/>
              <a:gd name="connsiteX53" fmla="*/ 4736123 w 6775947"/>
              <a:gd name="connsiteY53" fmla="*/ 2216976 h 4274857"/>
              <a:gd name="connsiteX54" fmla="*/ 4747846 w 6775947"/>
              <a:gd name="connsiteY54" fmla="*/ 2146637 h 4274857"/>
              <a:gd name="connsiteX55" fmla="*/ 4706815 w 6775947"/>
              <a:gd name="connsiteY55" fmla="*/ 2052852 h 4274857"/>
              <a:gd name="connsiteX56" fmla="*/ 4695092 w 6775947"/>
              <a:gd name="connsiteY56" fmla="*/ 2005960 h 4274857"/>
              <a:gd name="connsiteX57" fmla="*/ 4683369 w 6775947"/>
              <a:gd name="connsiteY57" fmla="*/ 1970791 h 4274857"/>
              <a:gd name="connsiteX58" fmla="*/ 4665784 w 6775947"/>
              <a:gd name="connsiteY58" fmla="*/ 1865283 h 4274857"/>
              <a:gd name="connsiteX59" fmla="*/ 4636477 w 6775947"/>
              <a:gd name="connsiteY59" fmla="*/ 1736329 h 4274857"/>
              <a:gd name="connsiteX60" fmla="*/ 4613030 w 6775947"/>
              <a:gd name="connsiteY60" fmla="*/ 1454975 h 4274857"/>
              <a:gd name="connsiteX61" fmla="*/ 4601307 w 6775947"/>
              <a:gd name="connsiteY61" fmla="*/ 1408083 h 4274857"/>
              <a:gd name="connsiteX62" fmla="*/ 4583723 w 6775947"/>
              <a:gd name="connsiteY62" fmla="*/ 1372914 h 4274857"/>
              <a:gd name="connsiteX63" fmla="*/ 4577861 w 6775947"/>
              <a:gd name="connsiteY63" fmla="*/ 1355329 h 4274857"/>
              <a:gd name="connsiteX64" fmla="*/ 4566138 w 6775947"/>
              <a:gd name="connsiteY64" fmla="*/ 1284991 h 4274857"/>
              <a:gd name="connsiteX65" fmla="*/ 4548554 w 6775947"/>
              <a:gd name="connsiteY65" fmla="*/ 1202929 h 4274857"/>
              <a:gd name="connsiteX66" fmla="*/ 4542692 w 6775947"/>
              <a:gd name="connsiteY66" fmla="*/ 1150175 h 4274857"/>
              <a:gd name="connsiteX67" fmla="*/ 4478215 w 6775947"/>
              <a:gd name="connsiteY67" fmla="*/ 1079837 h 4274857"/>
              <a:gd name="connsiteX68" fmla="*/ 4460630 w 6775947"/>
              <a:gd name="connsiteY68" fmla="*/ 1062252 h 4274857"/>
              <a:gd name="connsiteX69" fmla="*/ 4437184 w 6775947"/>
              <a:gd name="connsiteY69" fmla="*/ 1021221 h 4274857"/>
              <a:gd name="connsiteX70" fmla="*/ 4419600 w 6775947"/>
              <a:gd name="connsiteY70" fmla="*/ 980191 h 4274857"/>
              <a:gd name="connsiteX71" fmla="*/ 4378569 w 6775947"/>
              <a:gd name="connsiteY71" fmla="*/ 862960 h 4274857"/>
              <a:gd name="connsiteX72" fmla="*/ 4325815 w 6775947"/>
              <a:gd name="connsiteY72" fmla="*/ 821929 h 4274857"/>
              <a:gd name="connsiteX73" fmla="*/ 4308230 w 6775947"/>
              <a:gd name="connsiteY73" fmla="*/ 804344 h 4274857"/>
              <a:gd name="connsiteX74" fmla="*/ 4296507 w 6775947"/>
              <a:gd name="connsiteY74" fmla="*/ 757452 h 4274857"/>
              <a:gd name="connsiteX75" fmla="*/ 4308230 w 6775947"/>
              <a:gd name="connsiteY75" fmla="*/ 487821 h 4274857"/>
              <a:gd name="connsiteX76" fmla="*/ 4314092 w 6775947"/>
              <a:gd name="connsiteY76" fmla="*/ 417483 h 4274857"/>
              <a:gd name="connsiteX77" fmla="*/ 4319954 w 6775947"/>
              <a:gd name="connsiteY77" fmla="*/ 394037 h 4274857"/>
              <a:gd name="connsiteX78" fmla="*/ 4337538 w 6775947"/>
              <a:gd name="connsiteY78" fmla="*/ 288529 h 4274857"/>
              <a:gd name="connsiteX79" fmla="*/ 4343400 w 6775947"/>
              <a:gd name="connsiteY79" fmla="*/ 253360 h 4274857"/>
              <a:gd name="connsiteX80" fmla="*/ 4396154 w 6775947"/>
              <a:gd name="connsiteY80" fmla="*/ 224052 h 4274857"/>
              <a:gd name="connsiteX81" fmla="*/ 4413738 w 6775947"/>
              <a:gd name="connsiteY81" fmla="*/ 194744 h 4274857"/>
              <a:gd name="connsiteX82" fmla="*/ 4495800 w 6775947"/>
              <a:gd name="connsiteY82" fmla="*/ 136129 h 4274857"/>
              <a:gd name="connsiteX83" fmla="*/ 4554415 w 6775947"/>
              <a:gd name="connsiteY83" fmla="*/ 106821 h 4274857"/>
              <a:gd name="connsiteX84" fmla="*/ 4613030 w 6775947"/>
              <a:gd name="connsiteY84" fmla="*/ 83375 h 4274857"/>
              <a:gd name="connsiteX85" fmla="*/ 4671646 w 6775947"/>
              <a:gd name="connsiteY85" fmla="*/ 77514 h 4274857"/>
              <a:gd name="connsiteX86" fmla="*/ 5246077 w 6775947"/>
              <a:gd name="connsiteY86" fmla="*/ 71652 h 4274857"/>
              <a:gd name="connsiteX87" fmla="*/ 5304692 w 6775947"/>
              <a:gd name="connsiteY87" fmla="*/ 83375 h 4274857"/>
              <a:gd name="connsiteX88" fmla="*/ 5345723 w 6775947"/>
              <a:gd name="connsiteY88" fmla="*/ 89237 h 4274857"/>
              <a:gd name="connsiteX89" fmla="*/ 5527430 w 6775947"/>
              <a:gd name="connsiteY89" fmla="*/ 95098 h 4274857"/>
              <a:gd name="connsiteX90" fmla="*/ 5545015 w 6775947"/>
              <a:gd name="connsiteY90" fmla="*/ 100960 h 4274857"/>
              <a:gd name="connsiteX91" fmla="*/ 5586046 w 6775947"/>
              <a:gd name="connsiteY91" fmla="*/ 136129 h 4274857"/>
              <a:gd name="connsiteX92" fmla="*/ 5615354 w 6775947"/>
              <a:gd name="connsiteY92" fmla="*/ 159575 h 4274857"/>
              <a:gd name="connsiteX93" fmla="*/ 5632938 w 6775947"/>
              <a:gd name="connsiteY93" fmla="*/ 165437 h 4274857"/>
              <a:gd name="connsiteX94" fmla="*/ 5656384 w 6775947"/>
              <a:gd name="connsiteY94" fmla="*/ 183021 h 4274857"/>
              <a:gd name="connsiteX95" fmla="*/ 5709138 w 6775947"/>
              <a:gd name="connsiteY95" fmla="*/ 218191 h 4274857"/>
              <a:gd name="connsiteX96" fmla="*/ 5738446 w 6775947"/>
              <a:gd name="connsiteY96" fmla="*/ 247498 h 4274857"/>
              <a:gd name="connsiteX97" fmla="*/ 5756030 w 6775947"/>
              <a:gd name="connsiteY97" fmla="*/ 282667 h 4274857"/>
              <a:gd name="connsiteX98" fmla="*/ 5791200 w 6775947"/>
              <a:gd name="connsiteY98" fmla="*/ 341283 h 4274857"/>
              <a:gd name="connsiteX99" fmla="*/ 5756030 w 6775947"/>
              <a:gd name="connsiteY99" fmla="*/ 593329 h 4274857"/>
              <a:gd name="connsiteX100" fmla="*/ 5709138 w 6775947"/>
              <a:gd name="connsiteY100" fmla="*/ 751591 h 4274857"/>
              <a:gd name="connsiteX101" fmla="*/ 5650523 w 6775947"/>
              <a:gd name="connsiteY101" fmla="*/ 880544 h 4274857"/>
              <a:gd name="connsiteX102" fmla="*/ 5597769 w 6775947"/>
              <a:gd name="connsiteY102" fmla="*/ 1009498 h 4274857"/>
              <a:gd name="connsiteX103" fmla="*/ 5591907 w 6775947"/>
              <a:gd name="connsiteY103" fmla="*/ 1038806 h 4274857"/>
              <a:gd name="connsiteX104" fmla="*/ 5586046 w 6775947"/>
              <a:gd name="connsiteY104" fmla="*/ 1056391 h 4274857"/>
              <a:gd name="connsiteX105" fmla="*/ 5556738 w 6775947"/>
              <a:gd name="connsiteY105" fmla="*/ 1173621 h 4274857"/>
              <a:gd name="connsiteX106" fmla="*/ 5515707 w 6775947"/>
              <a:gd name="connsiteY106" fmla="*/ 1279129 h 4274857"/>
              <a:gd name="connsiteX107" fmla="*/ 5480538 w 6775947"/>
              <a:gd name="connsiteY107" fmla="*/ 1396360 h 4274857"/>
              <a:gd name="connsiteX108" fmla="*/ 5468815 w 6775947"/>
              <a:gd name="connsiteY108" fmla="*/ 1425667 h 4274857"/>
              <a:gd name="connsiteX109" fmla="*/ 5439507 w 6775947"/>
              <a:gd name="connsiteY109" fmla="*/ 1478421 h 4274857"/>
              <a:gd name="connsiteX110" fmla="*/ 5421923 w 6775947"/>
              <a:gd name="connsiteY110" fmla="*/ 1531175 h 4274857"/>
              <a:gd name="connsiteX111" fmla="*/ 5392615 w 6775947"/>
              <a:gd name="connsiteY111" fmla="*/ 1607375 h 4274857"/>
              <a:gd name="connsiteX112" fmla="*/ 5369169 w 6775947"/>
              <a:gd name="connsiteY112" fmla="*/ 1677714 h 4274857"/>
              <a:gd name="connsiteX113" fmla="*/ 5351584 w 6775947"/>
              <a:gd name="connsiteY113" fmla="*/ 1835975 h 4274857"/>
              <a:gd name="connsiteX114" fmla="*/ 5339861 w 6775947"/>
              <a:gd name="connsiteY114" fmla="*/ 1865283 h 4274857"/>
              <a:gd name="connsiteX115" fmla="*/ 5334000 w 6775947"/>
              <a:gd name="connsiteY115" fmla="*/ 1888729 h 4274857"/>
              <a:gd name="connsiteX116" fmla="*/ 5316415 w 6775947"/>
              <a:gd name="connsiteY116" fmla="*/ 1970791 h 4274857"/>
              <a:gd name="connsiteX117" fmla="*/ 5292969 w 6775947"/>
              <a:gd name="connsiteY117" fmla="*/ 2005960 h 4274857"/>
              <a:gd name="connsiteX118" fmla="*/ 5269523 w 6775947"/>
              <a:gd name="connsiteY118" fmla="*/ 2052852 h 4274857"/>
              <a:gd name="connsiteX119" fmla="*/ 5257800 w 6775947"/>
              <a:gd name="connsiteY119" fmla="*/ 2076298 h 4274857"/>
              <a:gd name="connsiteX120" fmla="*/ 5240215 w 6775947"/>
              <a:gd name="connsiteY120" fmla="*/ 2099744 h 4274857"/>
              <a:gd name="connsiteX121" fmla="*/ 5234354 w 6775947"/>
              <a:gd name="connsiteY121" fmla="*/ 2129052 h 4274857"/>
              <a:gd name="connsiteX122" fmla="*/ 5222630 w 6775947"/>
              <a:gd name="connsiteY122" fmla="*/ 2140775 h 4274857"/>
              <a:gd name="connsiteX123" fmla="*/ 5210907 w 6775947"/>
              <a:gd name="connsiteY123" fmla="*/ 2164221 h 4274857"/>
              <a:gd name="connsiteX124" fmla="*/ 5193323 w 6775947"/>
              <a:gd name="connsiteY124" fmla="*/ 2187667 h 4274857"/>
              <a:gd name="connsiteX125" fmla="*/ 5175738 w 6775947"/>
              <a:gd name="connsiteY125" fmla="*/ 2263867 h 4274857"/>
              <a:gd name="connsiteX126" fmla="*/ 5216769 w 6775947"/>
              <a:gd name="connsiteY126" fmla="*/ 2304898 h 4274857"/>
              <a:gd name="connsiteX127" fmla="*/ 5234353 w 6775947"/>
              <a:gd name="connsiteY127" fmla="*/ 2345928 h 4274857"/>
              <a:gd name="connsiteX128" fmla="*/ 5251939 w 6775947"/>
              <a:gd name="connsiteY128" fmla="*/ 2357653 h 4274857"/>
              <a:gd name="connsiteX129" fmla="*/ 5281246 w 6775947"/>
              <a:gd name="connsiteY129" fmla="*/ 2427991 h 4274857"/>
              <a:gd name="connsiteX130" fmla="*/ 5287107 w 6775947"/>
              <a:gd name="connsiteY130" fmla="*/ 2556944 h 4274857"/>
              <a:gd name="connsiteX131" fmla="*/ 5298830 w 6775947"/>
              <a:gd name="connsiteY131" fmla="*/ 2615560 h 4274857"/>
              <a:gd name="connsiteX132" fmla="*/ 5310554 w 6775947"/>
              <a:gd name="connsiteY132" fmla="*/ 2721067 h 4274857"/>
              <a:gd name="connsiteX133" fmla="*/ 5316415 w 6775947"/>
              <a:gd name="connsiteY133" fmla="*/ 2885191 h 4274857"/>
              <a:gd name="connsiteX134" fmla="*/ 5357446 w 6775947"/>
              <a:gd name="connsiteY134" fmla="*/ 2978975 h 4274857"/>
              <a:gd name="connsiteX135" fmla="*/ 5363307 w 6775947"/>
              <a:gd name="connsiteY135" fmla="*/ 3014144 h 4274857"/>
              <a:gd name="connsiteX136" fmla="*/ 5380892 w 6775947"/>
              <a:gd name="connsiteY136" fmla="*/ 3037591 h 4274857"/>
              <a:gd name="connsiteX137" fmla="*/ 5386754 w 6775947"/>
              <a:gd name="connsiteY137" fmla="*/ 3084483 h 4274857"/>
              <a:gd name="connsiteX138" fmla="*/ 5404338 w 6775947"/>
              <a:gd name="connsiteY138" fmla="*/ 3131375 h 4274857"/>
              <a:gd name="connsiteX139" fmla="*/ 5404338 w 6775947"/>
              <a:gd name="connsiteY139" fmla="*/ 3324806 h 4274857"/>
              <a:gd name="connsiteX140" fmla="*/ 5398477 w 6775947"/>
              <a:gd name="connsiteY140" fmla="*/ 3823037 h 4274857"/>
              <a:gd name="connsiteX141" fmla="*/ 5380892 w 6775947"/>
              <a:gd name="connsiteY141" fmla="*/ 3881652 h 4274857"/>
              <a:gd name="connsiteX142" fmla="*/ 5369169 w 6775947"/>
              <a:gd name="connsiteY142" fmla="*/ 3916821 h 4274857"/>
              <a:gd name="connsiteX143" fmla="*/ 5339861 w 6775947"/>
              <a:gd name="connsiteY143" fmla="*/ 3946129 h 4274857"/>
              <a:gd name="connsiteX144" fmla="*/ 5322277 w 6775947"/>
              <a:gd name="connsiteY144" fmla="*/ 3981298 h 4274857"/>
              <a:gd name="connsiteX145" fmla="*/ 5257800 w 6775947"/>
              <a:gd name="connsiteY145" fmla="*/ 4057498 h 4274857"/>
              <a:gd name="connsiteX146" fmla="*/ 5228492 w 6775947"/>
              <a:gd name="connsiteY146" fmla="*/ 4080944 h 4274857"/>
              <a:gd name="connsiteX147" fmla="*/ 5146430 w 6775947"/>
              <a:gd name="connsiteY147" fmla="*/ 4121975 h 4274857"/>
              <a:gd name="connsiteX148" fmla="*/ 5117123 w 6775947"/>
              <a:gd name="connsiteY148" fmla="*/ 4139560 h 4274857"/>
              <a:gd name="connsiteX149" fmla="*/ 5087815 w 6775947"/>
              <a:gd name="connsiteY149" fmla="*/ 4145421 h 4274857"/>
              <a:gd name="connsiteX150" fmla="*/ 4988169 w 6775947"/>
              <a:gd name="connsiteY150" fmla="*/ 4163006 h 4274857"/>
              <a:gd name="connsiteX151" fmla="*/ 4753707 w 6775947"/>
              <a:gd name="connsiteY151" fmla="*/ 4151283 h 4274857"/>
              <a:gd name="connsiteX152" fmla="*/ 4695092 w 6775947"/>
              <a:gd name="connsiteY152" fmla="*/ 4139560 h 4274857"/>
              <a:gd name="connsiteX153" fmla="*/ 4589584 w 6775947"/>
              <a:gd name="connsiteY153" fmla="*/ 4151283 h 4274857"/>
              <a:gd name="connsiteX154" fmla="*/ 4560277 w 6775947"/>
              <a:gd name="connsiteY154" fmla="*/ 4163006 h 4274857"/>
              <a:gd name="connsiteX155" fmla="*/ 4484077 w 6775947"/>
              <a:gd name="connsiteY155" fmla="*/ 4180591 h 4274857"/>
              <a:gd name="connsiteX156" fmla="*/ 4443046 w 6775947"/>
              <a:gd name="connsiteY156" fmla="*/ 4198175 h 4274857"/>
              <a:gd name="connsiteX157" fmla="*/ 4413738 w 6775947"/>
              <a:gd name="connsiteY157" fmla="*/ 4204037 h 4274857"/>
              <a:gd name="connsiteX158" fmla="*/ 4355123 w 6775947"/>
              <a:gd name="connsiteY158" fmla="*/ 4215760 h 4274857"/>
              <a:gd name="connsiteX159" fmla="*/ 4273061 w 6775947"/>
              <a:gd name="connsiteY159" fmla="*/ 4209898 h 4274857"/>
              <a:gd name="connsiteX160" fmla="*/ 4185138 w 6775947"/>
              <a:gd name="connsiteY160" fmla="*/ 4198175 h 4274857"/>
              <a:gd name="connsiteX161" fmla="*/ 4155830 w 6775947"/>
              <a:gd name="connsiteY161" fmla="*/ 4209898 h 4274857"/>
              <a:gd name="connsiteX162" fmla="*/ 4138246 w 6775947"/>
              <a:gd name="connsiteY162" fmla="*/ 4215760 h 4274857"/>
              <a:gd name="connsiteX163" fmla="*/ 3991707 w 6775947"/>
              <a:gd name="connsiteY163" fmla="*/ 4227483 h 4274857"/>
              <a:gd name="connsiteX164" fmla="*/ 3933092 w 6775947"/>
              <a:gd name="connsiteY164" fmla="*/ 4250929 h 4274857"/>
              <a:gd name="connsiteX165" fmla="*/ 3915507 w 6775947"/>
              <a:gd name="connsiteY165" fmla="*/ 4262652 h 4274857"/>
              <a:gd name="connsiteX166" fmla="*/ 3704492 w 6775947"/>
              <a:gd name="connsiteY166" fmla="*/ 4268514 h 4274857"/>
              <a:gd name="connsiteX167" fmla="*/ 3563815 w 6775947"/>
              <a:gd name="connsiteY167" fmla="*/ 4274376 h 4274857"/>
              <a:gd name="connsiteX168" fmla="*/ 3452446 w 6775947"/>
              <a:gd name="connsiteY168" fmla="*/ 4245067 h 4274857"/>
              <a:gd name="connsiteX169" fmla="*/ 3264877 w 6775947"/>
              <a:gd name="connsiteY169" fmla="*/ 4192314 h 4274857"/>
              <a:gd name="connsiteX170" fmla="*/ 3253154 w 6775947"/>
              <a:gd name="connsiteY170" fmla="*/ 4069221 h 4274857"/>
              <a:gd name="connsiteX171" fmla="*/ 3276600 w 6775947"/>
              <a:gd name="connsiteY171" fmla="*/ 3828898 h 4274857"/>
              <a:gd name="connsiteX172" fmla="*/ 3264877 w 6775947"/>
              <a:gd name="connsiteY172" fmla="*/ 3664775 h 4274857"/>
              <a:gd name="connsiteX173" fmla="*/ 3259015 w 6775947"/>
              <a:gd name="connsiteY173" fmla="*/ 3623744 h 4274857"/>
              <a:gd name="connsiteX174" fmla="*/ 3247292 w 6775947"/>
              <a:gd name="connsiteY174" fmla="*/ 3600298 h 4274857"/>
              <a:gd name="connsiteX175" fmla="*/ 3229707 w 6775947"/>
              <a:gd name="connsiteY175" fmla="*/ 3535821 h 4274857"/>
              <a:gd name="connsiteX176" fmla="*/ 3194538 w 6775947"/>
              <a:gd name="connsiteY176" fmla="*/ 3459621 h 4274857"/>
              <a:gd name="connsiteX177" fmla="*/ 3153507 w 6775947"/>
              <a:gd name="connsiteY177" fmla="*/ 3354114 h 4274857"/>
              <a:gd name="connsiteX178" fmla="*/ 3135923 w 6775947"/>
              <a:gd name="connsiteY178" fmla="*/ 3231021 h 4274857"/>
              <a:gd name="connsiteX179" fmla="*/ 3118338 w 6775947"/>
              <a:gd name="connsiteY179" fmla="*/ 3184129 h 4274857"/>
              <a:gd name="connsiteX180" fmla="*/ 3094892 w 6775947"/>
              <a:gd name="connsiteY180" fmla="*/ 2633144 h 4274857"/>
              <a:gd name="connsiteX181" fmla="*/ 3048000 w 6775947"/>
              <a:gd name="connsiteY181" fmla="*/ 2498329 h 4274857"/>
              <a:gd name="connsiteX182" fmla="*/ 3012830 w 6775947"/>
              <a:gd name="connsiteY182" fmla="*/ 2386960 h 4274857"/>
              <a:gd name="connsiteX183" fmla="*/ 3006969 w 6775947"/>
              <a:gd name="connsiteY183" fmla="*/ 2299037 h 4274857"/>
              <a:gd name="connsiteX184" fmla="*/ 2995246 w 6775947"/>
              <a:gd name="connsiteY184" fmla="*/ 1988375 h 4274857"/>
              <a:gd name="connsiteX185" fmla="*/ 2965938 w 6775947"/>
              <a:gd name="connsiteY185" fmla="*/ 1818391 h 4274857"/>
              <a:gd name="connsiteX186" fmla="*/ 2960077 w 6775947"/>
              <a:gd name="connsiteY186" fmla="*/ 1689437 h 4274857"/>
              <a:gd name="connsiteX187" fmla="*/ 2936630 w 6775947"/>
              <a:gd name="connsiteY187" fmla="*/ 1583929 h 4274857"/>
              <a:gd name="connsiteX188" fmla="*/ 2924907 w 6775947"/>
              <a:gd name="connsiteY188" fmla="*/ 1542898 h 4274857"/>
              <a:gd name="connsiteX189" fmla="*/ 2901461 w 6775947"/>
              <a:gd name="connsiteY189" fmla="*/ 1425667 h 4274857"/>
              <a:gd name="connsiteX190" fmla="*/ 2872154 w 6775947"/>
              <a:gd name="connsiteY190" fmla="*/ 1302575 h 4274857"/>
              <a:gd name="connsiteX191" fmla="*/ 2848707 w 6775947"/>
              <a:gd name="connsiteY191" fmla="*/ 1191206 h 4274857"/>
              <a:gd name="connsiteX192" fmla="*/ 2836984 w 6775947"/>
              <a:gd name="connsiteY192" fmla="*/ 1056391 h 4274857"/>
              <a:gd name="connsiteX193" fmla="*/ 2819400 w 6775947"/>
              <a:gd name="connsiteY193" fmla="*/ 968467 h 4274857"/>
              <a:gd name="connsiteX194" fmla="*/ 2813538 w 6775947"/>
              <a:gd name="connsiteY194" fmla="*/ 909852 h 4274857"/>
              <a:gd name="connsiteX195" fmla="*/ 2801815 w 6775947"/>
              <a:gd name="connsiteY195" fmla="*/ 816067 h 4274857"/>
              <a:gd name="connsiteX196" fmla="*/ 2795954 w 6775947"/>
              <a:gd name="connsiteY196" fmla="*/ 476098 h 4274857"/>
              <a:gd name="connsiteX197" fmla="*/ 2784230 w 6775947"/>
              <a:gd name="connsiteY197" fmla="*/ 335421 h 4274857"/>
              <a:gd name="connsiteX198" fmla="*/ 2754923 w 6775947"/>
              <a:gd name="connsiteY198" fmla="*/ 276806 h 4274857"/>
              <a:gd name="connsiteX199" fmla="*/ 2708030 w 6775947"/>
              <a:gd name="connsiteY199" fmla="*/ 177160 h 4274857"/>
              <a:gd name="connsiteX200" fmla="*/ 2702169 w 6775947"/>
              <a:gd name="connsiteY200" fmla="*/ 159575 h 4274857"/>
              <a:gd name="connsiteX201" fmla="*/ 2678723 w 6775947"/>
              <a:gd name="connsiteY201" fmla="*/ 130267 h 4274857"/>
              <a:gd name="connsiteX202" fmla="*/ 2602523 w 6775947"/>
              <a:gd name="connsiteY202" fmla="*/ 112683 h 4274857"/>
              <a:gd name="connsiteX203" fmla="*/ 2584938 w 6775947"/>
              <a:gd name="connsiteY203" fmla="*/ 106821 h 4274857"/>
              <a:gd name="connsiteX204" fmla="*/ 2514600 w 6775947"/>
              <a:gd name="connsiteY204" fmla="*/ 100960 h 4274857"/>
              <a:gd name="connsiteX205" fmla="*/ 2467707 w 6775947"/>
              <a:gd name="connsiteY205" fmla="*/ 36483 h 4274857"/>
              <a:gd name="connsiteX206" fmla="*/ 2403230 w 6775947"/>
              <a:gd name="connsiteY206" fmla="*/ 30621 h 4274857"/>
              <a:gd name="connsiteX207" fmla="*/ 2321169 w 6775947"/>
              <a:gd name="connsiteY207" fmla="*/ 24760 h 4274857"/>
              <a:gd name="connsiteX208" fmla="*/ 1793630 w 6775947"/>
              <a:gd name="connsiteY208" fmla="*/ 30621 h 4274857"/>
              <a:gd name="connsiteX209" fmla="*/ 1752600 w 6775947"/>
              <a:gd name="connsiteY209" fmla="*/ 42344 h 4274857"/>
              <a:gd name="connsiteX210" fmla="*/ 1717430 w 6775947"/>
              <a:gd name="connsiteY210" fmla="*/ 59929 h 4274857"/>
              <a:gd name="connsiteX211" fmla="*/ 1652954 w 6775947"/>
              <a:gd name="connsiteY211" fmla="*/ 65791 h 4274857"/>
              <a:gd name="connsiteX212" fmla="*/ 1371600 w 6775947"/>
              <a:gd name="connsiteY212" fmla="*/ 54067 h 4274857"/>
              <a:gd name="connsiteX213" fmla="*/ 826477 w 6775947"/>
              <a:gd name="connsiteY213" fmla="*/ 36483 h 4274857"/>
              <a:gd name="connsiteX214" fmla="*/ 451338 w 6775947"/>
              <a:gd name="connsiteY214" fmla="*/ 42344 h 4274857"/>
              <a:gd name="connsiteX215" fmla="*/ 375138 w 6775947"/>
              <a:gd name="connsiteY215" fmla="*/ 65791 h 4274857"/>
              <a:gd name="connsiteX216" fmla="*/ 199292 w 6775947"/>
              <a:gd name="connsiteY216" fmla="*/ 159575 h 4274857"/>
              <a:gd name="connsiteX217" fmla="*/ 146538 w 6775947"/>
              <a:gd name="connsiteY217" fmla="*/ 194744 h 4274857"/>
              <a:gd name="connsiteX218" fmla="*/ 29307 w 6775947"/>
              <a:gd name="connsiteY218" fmla="*/ 528852 h 4274857"/>
              <a:gd name="connsiteX219" fmla="*/ 0 w 6775947"/>
              <a:gd name="connsiteY219" fmla="*/ 898129 h 4274857"/>
              <a:gd name="connsiteX220" fmla="*/ 23446 w 6775947"/>
              <a:gd name="connsiteY220" fmla="*/ 2041129 h 4274857"/>
              <a:gd name="connsiteX221" fmla="*/ 93784 w 6775947"/>
              <a:gd name="connsiteY221" fmla="*/ 2316621 h 4274857"/>
              <a:gd name="connsiteX222" fmla="*/ 433754 w 6775947"/>
              <a:gd name="connsiteY222" fmla="*/ 2937944 h 4274857"/>
              <a:gd name="connsiteX223" fmla="*/ 662354 w 6775947"/>
              <a:gd name="connsiteY223" fmla="*/ 3231021 h 4274857"/>
              <a:gd name="connsiteX224" fmla="*/ 785446 w 6775947"/>
              <a:gd name="connsiteY224" fmla="*/ 3395144 h 4274857"/>
              <a:gd name="connsiteX225" fmla="*/ 1066800 w 6775947"/>
              <a:gd name="connsiteY225" fmla="*/ 3746837 h 4274857"/>
              <a:gd name="connsiteX226" fmla="*/ 1436077 w 6775947"/>
              <a:gd name="connsiteY226" fmla="*/ 4004744 h 4274857"/>
              <a:gd name="connsiteX227" fmla="*/ 1735015 w 6775947"/>
              <a:gd name="connsiteY227" fmla="*/ 4139560 h 4274857"/>
              <a:gd name="connsiteX228" fmla="*/ 1817077 w 6775947"/>
              <a:gd name="connsiteY228" fmla="*/ 4174729 h 4274857"/>
              <a:gd name="connsiteX229" fmla="*/ 1893277 w 6775947"/>
              <a:gd name="connsiteY229" fmla="*/ 4209898 h 4274857"/>
              <a:gd name="connsiteX230" fmla="*/ 2039815 w 6775947"/>
              <a:gd name="connsiteY230" fmla="*/ 4221621 h 4274857"/>
              <a:gd name="connsiteX231" fmla="*/ 2250830 w 6775947"/>
              <a:gd name="connsiteY231" fmla="*/ 4198175 h 4274857"/>
              <a:gd name="connsiteX232" fmla="*/ 2286000 w 6775947"/>
              <a:gd name="connsiteY232" fmla="*/ 4192314 h 4274857"/>
              <a:gd name="connsiteX233" fmla="*/ 2450123 w 6775947"/>
              <a:gd name="connsiteY233" fmla="*/ 4198175 h 4274857"/>
              <a:gd name="connsiteX234" fmla="*/ 2567354 w 6775947"/>
              <a:gd name="connsiteY234" fmla="*/ 4209898 h 4274857"/>
              <a:gd name="connsiteX235" fmla="*/ 2608384 w 6775947"/>
              <a:gd name="connsiteY235" fmla="*/ 4215760 h 4274857"/>
              <a:gd name="connsiteX236" fmla="*/ 2813538 w 6775947"/>
              <a:gd name="connsiteY236" fmla="*/ 4221621 h 4274857"/>
              <a:gd name="connsiteX237" fmla="*/ 2924907 w 6775947"/>
              <a:gd name="connsiteY237" fmla="*/ 4233344 h 4274857"/>
              <a:gd name="connsiteX238" fmla="*/ 2960077 w 6775947"/>
              <a:gd name="connsiteY238" fmla="*/ 4239206 h 4274857"/>
              <a:gd name="connsiteX239" fmla="*/ 3006969 w 6775947"/>
              <a:gd name="connsiteY239" fmla="*/ 4245067 h 4274857"/>
              <a:gd name="connsiteX240" fmla="*/ 3106615 w 6775947"/>
              <a:gd name="connsiteY240" fmla="*/ 4262652 h 4274857"/>
              <a:gd name="connsiteX241" fmla="*/ 3130061 w 6775947"/>
              <a:gd name="connsiteY241" fmla="*/ 4268514 h 4274857"/>
              <a:gd name="connsiteX242" fmla="*/ 3294184 w 6775947"/>
              <a:gd name="connsiteY242" fmla="*/ 4262652 h 4274857"/>
              <a:gd name="connsiteX243" fmla="*/ 3323492 w 6775947"/>
              <a:gd name="connsiteY243" fmla="*/ 4256791 h 4274857"/>
              <a:gd name="connsiteX244" fmla="*/ 3364523 w 6775947"/>
              <a:gd name="connsiteY244" fmla="*/ 4250929 h 4274857"/>
              <a:gd name="connsiteX245" fmla="*/ 4525107 w 6775947"/>
              <a:gd name="connsiteY245" fmla="*/ 4256791 h 4274857"/>
              <a:gd name="connsiteX246" fmla="*/ 4759569 w 6775947"/>
              <a:gd name="connsiteY246" fmla="*/ 4209898 h 4274857"/>
              <a:gd name="connsiteX247" fmla="*/ 5175738 w 6775947"/>
              <a:gd name="connsiteY247" fmla="*/ 4186452 h 4274857"/>
              <a:gd name="connsiteX248" fmla="*/ 5216769 w 6775947"/>
              <a:gd name="connsiteY248" fmla="*/ 4157144 h 4274857"/>
              <a:gd name="connsiteX249" fmla="*/ 5234354 w 6775947"/>
              <a:gd name="connsiteY249" fmla="*/ 4133698 h 4274857"/>
              <a:gd name="connsiteX250" fmla="*/ 5251938 w 6775947"/>
              <a:gd name="connsiteY250" fmla="*/ 4116114 h 4274857"/>
              <a:gd name="connsiteX251" fmla="*/ 5275384 w 6775947"/>
              <a:gd name="connsiteY251" fmla="*/ 4086806 h 4274857"/>
              <a:gd name="connsiteX252" fmla="*/ 5404338 w 6775947"/>
              <a:gd name="connsiteY252" fmla="*/ 3998883 h 4274857"/>
              <a:gd name="connsiteX253" fmla="*/ 5498123 w 6775947"/>
              <a:gd name="connsiteY253" fmla="*/ 3910960 h 4274857"/>
              <a:gd name="connsiteX254" fmla="*/ 5550877 w 6775947"/>
              <a:gd name="connsiteY254" fmla="*/ 3875791 h 4274857"/>
              <a:gd name="connsiteX255" fmla="*/ 5715000 w 6775947"/>
              <a:gd name="connsiteY255" fmla="*/ 3699944 h 4274857"/>
              <a:gd name="connsiteX256" fmla="*/ 5802923 w 6775947"/>
              <a:gd name="connsiteY256" fmla="*/ 3594437 h 4274857"/>
              <a:gd name="connsiteX257" fmla="*/ 5838092 w 6775947"/>
              <a:gd name="connsiteY257" fmla="*/ 3524098 h 4274857"/>
              <a:gd name="connsiteX258" fmla="*/ 5879123 w 6775947"/>
              <a:gd name="connsiteY258" fmla="*/ 3453760 h 4274857"/>
              <a:gd name="connsiteX259" fmla="*/ 5908430 w 6775947"/>
              <a:gd name="connsiteY259" fmla="*/ 3424452 h 4274857"/>
              <a:gd name="connsiteX260" fmla="*/ 5926015 w 6775947"/>
              <a:gd name="connsiteY260" fmla="*/ 3389283 h 4274857"/>
              <a:gd name="connsiteX261" fmla="*/ 6119446 w 6775947"/>
              <a:gd name="connsiteY261" fmla="*/ 3195852 h 4274857"/>
              <a:gd name="connsiteX262" fmla="*/ 6236677 w 6775947"/>
              <a:gd name="connsiteY262" fmla="*/ 3072760 h 4274857"/>
              <a:gd name="connsiteX263" fmla="*/ 6318738 w 6775947"/>
              <a:gd name="connsiteY263" fmla="*/ 2937944 h 4274857"/>
              <a:gd name="connsiteX264" fmla="*/ 6330461 w 6775947"/>
              <a:gd name="connsiteY264" fmla="*/ 2879329 h 4274857"/>
              <a:gd name="connsiteX265" fmla="*/ 6453554 w 6775947"/>
              <a:gd name="connsiteY265" fmla="*/ 2551083 h 4274857"/>
              <a:gd name="connsiteX266" fmla="*/ 6547338 w 6775947"/>
              <a:gd name="connsiteY266" fmla="*/ 2375237 h 4274857"/>
              <a:gd name="connsiteX267" fmla="*/ 6629400 w 6775947"/>
              <a:gd name="connsiteY267" fmla="*/ 2240421 h 4274857"/>
              <a:gd name="connsiteX268" fmla="*/ 6646984 w 6775947"/>
              <a:gd name="connsiteY268" fmla="*/ 2205252 h 4274857"/>
              <a:gd name="connsiteX269" fmla="*/ 6705600 w 6775947"/>
              <a:gd name="connsiteY269" fmla="*/ 2152498 h 4274857"/>
              <a:gd name="connsiteX270" fmla="*/ 6723184 w 6775947"/>
              <a:gd name="connsiteY270" fmla="*/ 2099744 h 4274857"/>
              <a:gd name="connsiteX271" fmla="*/ 6764215 w 6775947"/>
              <a:gd name="connsiteY271" fmla="*/ 1859421 h 4274857"/>
              <a:gd name="connsiteX272" fmla="*/ 6764215 w 6775947"/>
              <a:gd name="connsiteY272" fmla="*/ 804344 h 4274857"/>
              <a:gd name="connsiteX273" fmla="*/ 6740769 w 6775947"/>
              <a:gd name="connsiteY273" fmla="*/ 218191 h 4274857"/>
              <a:gd name="connsiteX274" fmla="*/ 6729046 w 6775947"/>
              <a:gd name="connsiteY274" fmla="*/ 147852 h 4274857"/>
              <a:gd name="connsiteX275" fmla="*/ 6723184 w 6775947"/>
              <a:gd name="connsiteY275" fmla="*/ 124406 h 4274857"/>
              <a:gd name="connsiteX276" fmla="*/ 6670430 w 6775947"/>
              <a:gd name="connsiteY276" fmla="*/ 77514 h 4274857"/>
              <a:gd name="connsiteX277" fmla="*/ 6559061 w 6775947"/>
              <a:gd name="connsiteY277" fmla="*/ 48206 h 4274857"/>
              <a:gd name="connsiteX278" fmla="*/ 6506307 w 6775947"/>
              <a:gd name="connsiteY278" fmla="*/ 18898 h 4274857"/>
              <a:gd name="connsiteX279" fmla="*/ 6477000 w 6775947"/>
              <a:gd name="connsiteY279" fmla="*/ 7175 h 4274857"/>
              <a:gd name="connsiteX280" fmla="*/ 6371492 w 6775947"/>
              <a:gd name="connsiteY280" fmla="*/ 36483 h 4274857"/>
              <a:gd name="connsiteX281" fmla="*/ 5597769 w 6775947"/>
              <a:gd name="connsiteY281" fmla="*/ 7175 h 4274857"/>
              <a:gd name="connsiteX282" fmla="*/ 5533292 w 6775947"/>
              <a:gd name="connsiteY282" fmla="*/ 1314 h 4274857"/>
              <a:gd name="connsiteX283" fmla="*/ 5175738 w 6775947"/>
              <a:gd name="connsiteY283" fmla="*/ 7175 h 4274857"/>
              <a:gd name="connsiteX284" fmla="*/ 5064369 w 6775947"/>
              <a:gd name="connsiteY284" fmla="*/ 18898 h 4274857"/>
              <a:gd name="connsiteX285" fmla="*/ 4360984 w 6775947"/>
              <a:gd name="connsiteY285" fmla="*/ 30621 h 4274857"/>
              <a:gd name="connsiteX286" fmla="*/ 4314092 w 6775947"/>
              <a:gd name="connsiteY286" fmla="*/ 83375 h 4274857"/>
              <a:gd name="connsiteX287" fmla="*/ 4302369 w 6775947"/>
              <a:gd name="connsiteY287" fmla="*/ 141991 h 4274857"/>
              <a:gd name="connsiteX0" fmla="*/ 4302369 w 6775947"/>
              <a:gd name="connsiteY0" fmla="*/ 141991 h 4274857"/>
              <a:gd name="connsiteX1" fmla="*/ 4302369 w 6775947"/>
              <a:gd name="connsiteY1" fmla="*/ 141991 h 4274857"/>
              <a:gd name="connsiteX2" fmla="*/ 4232030 w 6775947"/>
              <a:gd name="connsiteY2" fmla="*/ 106821 h 4274857"/>
              <a:gd name="connsiteX3" fmla="*/ 4208584 w 6775947"/>
              <a:gd name="connsiteY3" fmla="*/ 89237 h 4274857"/>
              <a:gd name="connsiteX4" fmla="*/ 4149969 w 6775947"/>
              <a:gd name="connsiteY4" fmla="*/ 71652 h 4274857"/>
              <a:gd name="connsiteX5" fmla="*/ 4097215 w 6775947"/>
              <a:gd name="connsiteY5" fmla="*/ 59929 h 4274857"/>
              <a:gd name="connsiteX6" fmla="*/ 4073769 w 6775947"/>
              <a:gd name="connsiteY6" fmla="*/ 54067 h 4274857"/>
              <a:gd name="connsiteX7" fmla="*/ 3927230 w 6775947"/>
              <a:gd name="connsiteY7" fmla="*/ 42344 h 4274857"/>
              <a:gd name="connsiteX8" fmla="*/ 3745523 w 6775947"/>
              <a:gd name="connsiteY8" fmla="*/ 18898 h 4274857"/>
              <a:gd name="connsiteX9" fmla="*/ 3716215 w 6775947"/>
              <a:gd name="connsiteY9" fmla="*/ 7175 h 4274857"/>
              <a:gd name="connsiteX10" fmla="*/ 3563815 w 6775947"/>
              <a:gd name="connsiteY10" fmla="*/ 7175 h 4274857"/>
              <a:gd name="connsiteX11" fmla="*/ 3499338 w 6775947"/>
              <a:gd name="connsiteY11" fmla="*/ 24760 h 4274857"/>
              <a:gd name="connsiteX12" fmla="*/ 3458307 w 6775947"/>
              <a:gd name="connsiteY12" fmla="*/ 30621 h 4274857"/>
              <a:gd name="connsiteX13" fmla="*/ 3376246 w 6775947"/>
              <a:gd name="connsiteY13" fmla="*/ 42344 h 4274857"/>
              <a:gd name="connsiteX14" fmla="*/ 3352800 w 6775947"/>
              <a:gd name="connsiteY14" fmla="*/ 48206 h 4274857"/>
              <a:gd name="connsiteX15" fmla="*/ 3288323 w 6775947"/>
              <a:gd name="connsiteY15" fmla="*/ 77514 h 4274857"/>
              <a:gd name="connsiteX16" fmla="*/ 3194538 w 6775947"/>
              <a:gd name="connsiteY16" fmla="*/ 95098 h 4274857"/>
              <a:gd name="connsiteX17" fmla="*/ 3112477 w 6775947"/>
              <a:gd name="connsiteY17" fmla="*/ 124406 h 4274857"/>
              <a:gd name="connsiteX18" fmla="*/ 3059723 w 6775947"/>
              <a:gd name="connsiteY18" fmla="*/ 194744 h 4274857"/>
              <a:gd name="connsiteX19" fmla="*/ 2971800 w 6775947"/>
              <a:gd name="connsiteY19" fmla="*/ 335421 h 4274857"/>
              <a:gd name="connsiteX20" fmla="*/ 2960077 w 6775947"/>
              <a:gd name="connsiteY20" fmla="*/ 382314 h 4274857"/>
              <a:gd name="connsiteX21" fmla="*/ 2948354 w 6775947"/>
              <a:gd name="connsiteY21" fmla="*/ 423344 h 4274857"/>
              <a:gd name="connsiteX22" fmla="*/ 2954215 w 6775947"/>
              <a:gd name="connsiteY22" fmla="*/ 698837 h 4274857"/>
              <a:gd name="connsiteX23" fmla="*/ 2971800 w 6775947"/>
              <a:gd name="connsiteY23" fmla="*/ 892267 h 4274857"/>
              <a:gd name="connsiteX24" fmla="*/ 2989384 w 6775947"/>
              <a:gd name="connsiteY24" fmla="*/ 1015360 h 4274857"/>
              <a:gd name="connsiteX25" fmla="*/ 3018692 w 6775947"/>
              <a:gd name="connsiteY25" fmla="*/ 1115006 h 4274857"/>
              <a:gd name="connsiteX26" fmla="*/ 3036277 w 6775947"/>
              <a:gd name="connsiteY26" fmla="*/ 1191206 h 4274857"/>
              <a:gd name="connsiteX27" fmla="*/ 3042138 w 6775947"/>
              <a:gd name="connsiteY27" fmla="*/ 1255683 h 4274857"/>
              <a:gd name="connsiteX28" fmla="*/ 3071446 w 6775947"/>
              <a:gd name="connsiteY28" fmla="*/ 1314298 h 4274857"/>
              <a:gd name="connsiteX29" fmla="*/ 3171092 w 6775947"/>
              <a:gd name="connsiteY29" fmla="*/ 1537037 h 4274857"/>
              <a:gd name="connsiteX30" fmla="*/ 3200400 w 6775947"/>
              <a:gd name="connsiteY30" fmla="*/ 1589791 h 4274857"/>
              <a:gd name="connsiteX31" fmla="*/ 3229707 w 6775947"/>
              <a:gd name="connsiteY31" fmla="*/ 1636683 h 4274857"/>
              <a:gd name="connsiteX32" fmla="*/ 3276600 w 6775947"/>
              <a:gd name="connsiteY32" fmla="*/ 1724606 h 4274857"/>
              <a:gd name="connsiteX33" fmla="*/ 3341077 w 6775947"/>
              <a:gd name="connsiteY33" fmla="*/ 1830114 h 4274857"/>
              <a:gd name="connsiteX34" fmla="*/ 3446584 w 6775947"/>
              <a:gd name="connsiteY34" fmla="*/ 1935621 h 4274857"/>
              <a:gd name="connsiteX35" fmla="*/ 3511061 w 6775947"/>
              <a:gd name="connsiteY35" fmla="*/ 2011821 h 4274857"/>
              <a:gd name="connsiteX36" fmla="*/ 3616569 w 6775947"/>
              <a:gd name="connsiteY36" fmla="*/ 2093883 h 4274857"/>
              <a:gd name="connsiteX37" fmla="*/ 3675184 w 6775947"/>
              <a:gd name="connsiteY37" fmla="*/ 2134914 h 4274857"/>
              <a:gd name="connsiteX38" fmla="*/ 3774830 w 6775947"/>
              <a:gd name="connsiteY38" fmla="*/ 2211114 h 4274857"/>
              <a:gd name="connsiteX39" fmla="*/ 3833446 w 6775947"/>
              <a:gd name="connsiteY39" fmla="*/ 2222837 h 4274857"/>
              <a:gd name="connsiteX40" fmla="*/ 3903784 w 6775947"/>
              <a:gd name="connsiteY40" fmla="*/ 2240421 h 4274857"/>
              <a:gd name="connsiteX41" fmla="*/ 3944815 w 6775947"/>
              <a:gd name="connsiteY41" fmla="*/ 2246283 h 4274857"/>
              <a:gd name="connsiteX42" fmla="*/ 4050323 w 6775947"/>
              <a:gd name="connsiteY42" fmla="*/ 2263867 h 4274857"/>
              <a:gd name="connsiteX43" fmla="*/ 4073769 w 6775947"/>
              <a:gd name="connsiteY43" fmla="*/ 2269729 h 4274857"/>
              <a:gd name="connsiteX44" fmla="*/ 4155830 w 6775947"/>
              <a:gd name="connsiteY44" fmla="*/ 2275591 h 4274857"/>
              <a:gd name="connsiteX45" fmla="*/ 4255477 w 6775947"/>
              <a:gd name="connsiteY45" fmla="*/ 2334206 h 4274857"/>
              <a:gd name="connsiteX46" fmla="*/ 4284784 w 6775947"/>
              <a:gd name="connsiteY46" fmla="*/ 2345929 h 4274857"/>
              <a:gd name="connsiteX47" fmla="*/ 4378569 w 6775947"/>
              <a:gd name="connsiteY47" fmla="*/ 2351791 h 4274857"/>
              <a:gd name="connsiteX48" fmla="*/ 4448907 w 6775947"/>
              <a:gd name="connsiteY48" fmla="*/ 2357652 h 4274857"/>
              <a:gd name="connsiteX49" fmla="*/ 4548554 w 6775947"/>
              <a:gd name="connsiteY49" fmla="*/ 2351791 h 4274857"/>
              <a:gd name="connsiteX50" fmla="*/ 4548553 w 6775947"/>
              <a:gd name="connsiteY50" fmla="*/ 2369375 h 4274857"/>
              <a:gd name="connsiteX51" fmla="*/ 4583722 w 6775947"/>
              <a:gd name="connsiteY51" fmla="*/ 2351791 h 4274857"/>
              <a:gd name="connsiteX52" fmla="*/ 4677507 w 6775947"/>
              <a:gd name="connsiteY52" fmla="*/ 2269729 h 4274857"/>
              <a:gd name="connsiteX53" fmla="*/ 4736123 w 6775947"/>
              <a:gd name="connsiteY53" fmla="*/ 2216976 h 4274857"/>
              <a:gd name="connsiteX54" fmla="*/ 4747846 w 6775947"/>
              <a:gd name="connsiteY54" fmla="*/ 2146637 h 4274857"/>
              <a:gd name="connsiteX55" fmla="*/ 4706815 w 6775947"/>
              <a:gd name="connsiteY55" fmla="*/ 2052852 h 4274857"/>
              <a:gd name="connsiteX56" fmla="*/ 4695092 w 6775947"/>
              <a:gd name="connsiteY56" fmla="*/ 2005960 h 4274857"/>
              <a:gd name="connsiteX57" fmla="*/ 4683369 w 6775947"/>
              <a:gd name="connsiteY57" fmla="*/ 1970791 h 4274857"/>
              <a:gd name="connsiteX58" fmla="*/ 4665784 w 6775947"/>
              <a:gd name="connsiteY58" fmla="*/ 1865283 h 4274857"/>
              <a:gd name="connsiteX59" fmla="*/ 4636477 w 6775947"/>
              <a:gd name="connsiteY59" fmla="*/ 1736329 h 4274857"/>
              <a:gd name="connsiteX60" fmla="*/ 4613030 w 6775947"/>
              <a:gd name="connsiteY60" fmla="*/ 1454975 h 4274857"/>
              <a:gd name="connsiteX61" fmla="*/ 4601307 w 6775947"/>
              <a:gd name="connsiteY61" fmla="*/ 1408083 h 4274857"/>
              <a:gd name="connsiteX62" fmla="*/ 4583723 w 6775947"/>
              <a:gd name="connsiteY62" fmla="*/ 1372914 h 4274857"/>
              <a:gd name="connsiteX63" fmla="*/ 4577861 w 6775947"/>
              <a:gd name="connsiteY63" fmla="*/ 1355329 h 4274857"/>
              <a:gd name="connsiteX64" fmla="*/ 4566138 w 6775947"/>
              <a:gd name="connsiteY64" fmla="*/ 1284991 h 4274857"/>
              <a:gd name="connsiteX65" fmla="*/ 4548554 w 6775947"/>
              <a:gd name="connsiteY65" fmla="*/ 1202929 h 4274857"/>
              <a:gd name="connsiteX66" fmla="*/ 4542692 w 6775947"/>
              <a:gd name="connsiteY66" fmla="*/ 1150175 h 4274857"/>
              <a:gd name="connsiteX67" fmla="*/ 4478215 w 6775947"/>
              <a:gd name="connsiteY67" fmla="*/ 1079837 h 4274857"/>
              <a:gd name="connsiteX68" fmla="*/ 4460630 w 6775947"/>
              <a:gd name="connsiteY68" fmla="*/ 1062252 h 4274857"/>
              <a:gd name="connsiteX69" fmla="*/ 4437184 w 6775947"/>
              <a:gd name="connsiteY69" fmla="*/ 1021221 h 4274857"/>
              <a:gd name="connsiteX70" fmla="*/ 4419600 w 6775947"/>
              <a:gd name="connsiteY70" fmla="*/ 980191 h 4274857"/>
              <a:gd name="connsiteX71" fmla="*/ 4378569 w 6775947"/>
              <a:gd name="connsiteY71" fmla="*/ 862960 h 4274857"/>
              <a:gd name="connsiteX72" fmla="*/ 4325815 w 6775947"/>
              <a:gd name="connsiteY72" fmla="*/ 821929 h 4274857"/>
              <a:gd name="connsiteX73" fmla="*/ 4308230 w 6775947"/>
              <a:gd name="connsiteY73" fmla="*/ 804344 h 4274857"/>
              <a:gd name="connsiteX74" fmla="*/ 4296507 w 6775947"/>
              <a:gd name="connsiteY74" fmla="*/ 757452 h 4274857"/>
              <a:gd name="connsiteX75" fmla="*/ 4325815 w 6775947"/>
              <a:gd name="connsiteY75" fmla="*/ 499544 h 4274857"/>
              <a:gd name="connsiteX76" fmla="*/ 4314092 w 6775947"/>
              <a:gd name="connsiteY76" fmla="*/ 417483 h 4274857"/>
              <a:gd name="connsiteX77" fmla="*/ 4319954 w 6775947"/>
              <a:gd name="connsiteY77" fmla="*/ 394037 h 4274857"/>
              <a:gd name="connsiteX78" fmla="*/ 4337538 w 6775947"/>
              <a:gd name="connsiteY78" fmla="*/ 288529 h 4274857"/>
              <a:gd name="connsiteX79" fmla="*/ 4343400 w 6775947"/>
              <a:gd name="connsiteY79" fmla="*/ 253360 h 4274857"/>
              <a:gd name="connsiteX80" fmla="*/ 4396154 w 6775947"/>
              <a:gd name="connsiteY80" fmla="*/ 224052 h 4274857"/>
              <a:gd name="connsiteX81" fmla="*/ 4413738 w 6775947"/>
              <a:gd name="connsiteY81" fmla="*/ 194744 h 4274857"/>
              <a:gd name="connsiteX82" fmla="*/ 4495800 w 6775947"/>
              <a:gd name="connsiteY82" fmla="*/ 136129 h 4274857"/>
              <a:gd name="connsiteX83" fmla="*/ 4554415 w 6775947"/>
              <a:gd name="connsiteY83" fmla="*/ 106821 h 4274857"/>
              <a:gd name="connsiteX84" fmla="*/ 4613030 w 6775947"/>
              <a:gd name="connsiteY84" fmla="*/ 83375 h 4274857"/>
              <a:gd name="connsiteX85" fmla="*/ 4671646 w 6775947"/>
              <a:gd name="connsiteY85" fmla="*/ 77514 h 4274857"/>
              <a:gd name="connsiteX86" fmla="*/ 5246077 w 6775947"/>
              <a:gd name="connsiteY86" fmla="*/ 71652 h 4274857"/>
              <a:gd name="connsiteX87" fmla="*/ 5304692 w 6775947"/>
              <a:gd name="connsiteY87" fmla="*/ 83375 h 4274857"/>
              <a:gd name="connsiteX88" fmla="*/ 5345723 w 6775947"/>
              <a:gd name="connsiteY88" fmla="*/ 89237 h 4274857"/>
              <a:gd name="connsiteX89" fmla="*/ 5527430 w 6775947"/>
              <a:gd name="connsiteY89" fmla="*/ 95098 h 4274857"/>
              <a:gd name="connsiteX90" fmla="*/ 5545015 w 6775947"/>
              <a:gd name="connsiteY90" fmla="*/ 100960 h 4274857"/>
              <a:gd name="connsiteX91" fmla="*/ 5586046 w 6775947"/>
              <a:gd name="connsiteY91" fmla="*/ 136129 h 4274857"/>
              <a:gd name="connsiteX92" fmla="*/ 5615354 w 6775947"/>
              <a:gd name="connsiteY92" fmla="*/ 159575 h 4274857"/>
              <a:gd name="connsiteX93" fmla="*/ 5632938 w 6775947"/>
              <a:gd name="connsiteY93" fmla="*/ 165437 h 4274857"/>
              <a:gd name="connsiteX94" fmla="*/ 5656384 w 6775947"/>
              <a:gd name="connsiteY94" fmla="*/ 183021 h 4274857"/>
              <a:gd name="connsiteX95" fmla="*/ 5709138 w 6775947"/>
              <a:gd name="connsiteY95" fmla="*/ 218191 h 4274857"/>
              <a:gd name="connsiteX96" fmla="*/ 5738446 w 6775947"/>
              <a:gd name="connsiteY96" fmla="*/ 247498 h 4274857"/>
              <a:gd name="connsiteX97" fmla="*/ 5756030 w 6775947"/>
              <a:gd name="connsiteY97" fmla="*/ 282667 h 4274857"/>
              <a:gd name="connsiteX98" fmla="*/ 5791200 w 6775947"/>
              <a:gd name="connsiteY98" fmla="*/ 341283 h 4274857"/>
              <a:gd name="connsiteX99" fmla="*/ 5756030 w 6775947"/>
              <a:gd name="connsiteY99" fmla="*/ 593329 h 4274857"/>
              <a:gd name="connsiteX100" fmla="*/ 5709138 w 6775947"/>
              <a:gd name="connsiteY100" fmla="*/ 751591 h 4274857"/>
              <a:gd name="connsiteX101" fmla="*/ 5650523 w 6775947"/>
              <a:gd name="connsiteY101" fmla="*/ 880544 h 4274857"/>
              <a:gd name="connsiteX102" fmla="*/ 5597769 w 6775947"/>
              <a:gd name="connsiteY102" fmla="*/ 1009498 h 4274857"/>
              <a:gd name="connsiteX103" fmla="*/ 5591907 w 6775947"/>
              <a:gd name="connsiteY103" fmla="*/ 1038806 h 4274857"/>
              <a:gd name="connsiteX104" fmla="*/ 5586046 w 6775947"/>
              <a:gd name="connsiteY104" fmla="*/ 1056391 h 4274857"/>
              <a:gd name="connsiteX105" fmla="*/ 5556738 w 6775947"/>
              <a:gd name="connsiteY105" fmla="*/ 1173621 h 4274857"/>
              <a:gd name="connsiteX106" fmla="*/ 5515707 w 6775947"/>
              <a:gd name="connsiteY106" fmla="*/ 1279129 h 4274857"/>
              <a:gd name="connsiteX107" fmla="*/ 5480538 w 6775947"/>
              <a:gd name="connsiteY107" fmla="*/ 1396360 h 4274857"/>
              <a:gd name="connsiteX108" fmla="*/ 5468815 w 6775947"/>
              <a:gd name="connsiteY108" fmla="*/ 1425667 h 4274857"/>
              <a:gd name="connsiteX109" fmla="*/ 5439507 w 6775947"/>
              <a:gd name="connsiteY109" fmla="*/ 1478421 h 4274857"/>
              <a:gd name="connsiteX110" fmla="*/ 5421923 w 6775947"/>
              <a:gd name="connsiteY110" fmla="*/ 1531175 h 4274857"/>
              <a:gd name="connsiteX111" fmla="*/ 5392615 w 6775947"/>
              <a:gd name="connsiteY111" fmla="*/ 1607375 h 4274857"/>
              <a:gd name="connsiteX112" fmla="*/ 5369169 w 6775947"/>
              <a:gd name="connsiteY112" fmla="*/ 1677714 h 4274857"/>
              <a:gd name="connsiteX113" fmla="*/ 5351584 w 6775947"/>
              <a:gd name="connsiteY113" fmla="*/ 1835975 h 4274857"/>
              <a:gd name="connsiteX114" fmla="*/ 5339861 w 6775947"/>
              <a:gd name="connsiteY114" fmla="*/ 1865283 h 4274857"/>
              <a:gd name="connsiteX115" fmla="*/ 5334000 w 6775947"/>
              <a:gd name="connsiteY115" fmla="*/ 1888729 h 4274857"/>
              <a:gd name="connsiteX116" fmla="*/ 5316415 w 6775947"/>
              <a:gd name="connsiteY116" fmla="*/ 1970791 h 4274857"/>
              <a:gd name="connsiteX117" fmla="*/ 5292969 w 6775947"/>
              <a:gd name="connsiteY117" fmla="*/ 2005960 h 4274857"/>
              <a:gd name="connsiteX118" fmla="*/ 5269523 w 6775947"/>
              <a:gd name="connsiteY118" fmla="*/ 2052852 h 4274857"/>
              <a:gd name="connsiteX119" fmla="*/ 5257800 w 6775947"/>
              <a:gd name="connsiteY119" fmla="*/ 2076298 h 4274857"/>
              <a:gd name="connsiteX120" fmla="*/ 5240215 w 6775947"/>
              <a:gd name="connsiteY120" fmla="*/ 2099744 h 4274857"/>
              <a:gd name="connsiteX121" fmla="*/ 5234354 w 6775947"/>
              <a:gd name="connsiteY121" fmla="*/ 2129052 h 4274857"/>
              <a:gd name="connsiteX122" fmla="*/ 5222630 w 6775947"/>
              <a:gd name="connsiteY122" fmla="*/ 2140775 h 4274857"/>
              <a:gd name="connsiteX123" fmla="*/ 5210907 w 6775947"/>
              <a:gd name="connsiteY123" fmla="*/ 2164221 h 4274857"/>
              <a:gd name="connsiteX124" fmla="*/ 5193323 w 6775947"/>
              <a:gd name="connsiteY124" fmla="*/ 2187667 h 4274857"/>
              <a:gd name="connsiteX125" fmla="*/ 5175738 w 6775947"/>
              <a:gd name="connsiteY125" fmla="*/ 2263867 h 4274857"/>
              <a:gd name="connsiteX126" fmla="*/ 5216769 w 6775947"/>
              <a:gd name="connsiteY126" fmla="*/ 2304898 h 4274857"/>
              <a:gd name="connsiteX127" fmla="*/ 5234353 w 6775947"/>
              <a:gd name="connsiteY127" fmla="*/ 2345928 h 4274857"/>
              <a:gd name="connsiteX128" fmla="*/ 5251939 w 6775947"/>
              <a:gd name="connsiteY128" fmla="*/ 2357653 h 4274857"/>
              <a:gd name="connsiteX129" fmla="*/ 5281246 w 6775947"/>
              <a:gd name="connsiteY129" fmla="*/ 2427991 h 4274857"/>
              <a:gd name="connsiteX130" fmla="*/ 5287107 w 6775947"/>
              <a:gd name="connsiteY130" fmla="*/ 2556944 h 4274857"/>
              <a:gd name="connsiteX131" fmla="*/ 5298830 w 6775947"/>
              <a:gd name="connsiteY131" fmla="*/ 2615560 h 4274857"/>
              <a:gd name="connsiteX132" fmla="*/ 5310554 w 6775947"/>
              <a:gd name="connsiteY132" fmla="*/ 2721067 h 4274857"/>
              <a:gd name="connsiteX133" fmla="*/ 5316415 w 6775947"/>
              <a:gd name="connsiteY133" fmla="*/ 2885191 h 4274857"/>
              <a:gd name="connsiteX134" fmla="*/ 5357446 w 6775947"/>
              <a:gd name="connsiteY134" fmla="*/ 2978975 h 4274857"/>
              <a:gd name="connsiteX135" fmla="*/ 5363307 w 6775947"/>
              <a:gd name="connsiteY135" fmla="*/ 3014144 h 4274857"/>
              <a:gd name="connsiteX136" fmla="*/ 5380892 w 6775947"/>
              <a:gd name="connsiteY136" fmla="*/ 3037591 h 4274857"/>
              <a:gd name="connsiteX137" fmla="*/ 5386754 w 6775947"/>
              <a:gd name="connsiteY137" fmla="*/ 3084483 h 4274857"/>
              <a:gd name="connsiteX138" fmla="*/ 5404338 w 6775947"/>
              <a:gd name="connsiteY138" fmla="*/ 3131375 h 4274857"/>
              <a:gd name="connsiteX139" fmla="*/ 5404338 w 6775947"/>
              <a:gd name="connsiteY139" fmla="*/ 3324806 h 4274857"/>
              <a:gd name="connsiteX140" fmla="*/ 5398477 w 6775947"/>
              <a:gd name="connsiteY140" fmla="*/ 3823037 h 4274857"/>
              <a:gd name="connsiteX141" fmla="*/ 5380892 w 6775947"/>
              <a:gd name="connsiteY141" fmla="*/ 3881652 h 4274857"/>
              <a:gd name="connsiteX142" fmla="*/ 5369169 w 6775947"/>
              <a:gd name="connsiteY142" fmla="*/ 3916821 h 4274857"/>
              <a:gd name="connsiteX143" fmla="*/ 5339861 w 6775947"/>
              <a:gd name="connsiteY143" fmla="*/ 3946129 h 4274857"/>
              <a:gd name="connsiteX144" fmla="*/ 5322277 w 6775947"/>
              <a:gd name="connsiteY144" fmla="*/ 3981298 h 4274857"/>
              <a:gd name="connsiteX145" fmla="*/ 5257800 w 6775947"/>
              <a:gd name="connsiteY145" fmla="*/ 4057498 h 4274857"/>
              <a:gd name="connsiteX146" fmla="*/ 5228492 w 6775947"/>
              <a:gd name="connsiteY146" fmla="*/ 4080944 h 4274857"/>
              <a:gd name="connsiteX147" fmla="*/ 5146430 w 6775947"/>
              <a:gd name="connsiteY147" fmla="*/ 4121975 h 4274857"/>
              <a:gd name="connsiteX148" fmla="*/ 5117123 w 6775947"/>
              <a:gd name="connsiteY148" fmla="*/ 4139560 h 4274857"/>
              <a:gd name="connsiteX149" fmla="*/ 5087815 w 6775947"/>
              <a:gd name="connsiteY149" fmla="*/ 4145421 h 4274857"/>
              <a:gd name="connsiteX150" fmla="*/ 4988169 w 6775947"/>
              <a:gd name="connsiteY150" fmla="*/ 4163006 h 4274857"/>
              <a:gd name="connsiteX151" fmla="*/ 4753707 w 6775947"/>
              <a:gd name="connsiteY151" fmla="*/ 4151283 h 4274857"/>
              <a:gd name="connsiteX152" fmla="*/ 4695092 w 6775947"/>
              <a:gd name="connsiteY152" fmla="*/ 4139560 h 4274857"/>
              <a:gd name="connsiteX153" fmla="*/ 4589584 w 6775947"/>
              <a:gd name="connsiteY153" fmla="*/ 4151283 h 4274857"/>
              <a:gd name="connsiteX154" fmla="*/ 4560277 w 6775947"/>
              <a:gd name="connsiteY154" fmla="*/ 4163006 h 4274857"/>
              <a:gd name="connsiteX155" fmla="*/ 4484077 w 6775947"/>
              <a:gd name="connsiteY155" fmla="*/ 4180591 h 4274857"/>
              <a:gd name="connsiteX156" fmla="*/ 4443046 w 6775947"/>
              <a:gd name="connsiteY156" fmla="*/ 4198175 h 4274857"/>
              <a:gd name="connsiteX157" fmla="*/ 4413738 w 6775947"/>
              <a:gd name="connsiteY157" fmla="*/ 4204037 h 4274857"/>
              <a:gd name="connsiteX158" fmla="*/ 4355123 w 6775947"/>
              <a:gd name="connsiteY158" fmla="*/ 4215760 h 4274857"/>
              <a:gd name="connsiteX159" fmla="*/ 4273061 w 6775947"/>
              <a:gd name="connsiteY159" fmla="*/ 4209898 h 4274857"/>
              <a:gd name="connsiteX160" fmla="*/ 4185138 w 6775947"/>
              <a:gd name="connsiteY160" fmla="*/ 4198175 h 4274857"/>
              <a:gd name="connsiteX161" fmla="*/ 4155830 w 6775947"/>
              <a:gd name="connsiteY161" fmla="*/ 4209898 h 4274857"/>
              <a:gd name="connsiteX162" fmla="*/ 4138246 w 6775947"/>
              <a:gd name="connsiteY162" fmla="*/ 4215760 h 4274857"/>
              <a:gd name="connsiteX163" fmla="*/ 3991707 w 6775947"/>
              <a:gd name="connsiteY163" fmla="*/ 4227483 h 4274857"/>
              <a:gd name="connsiteX164" fmla="*/ 3933092 w 6775947"/>
              <a:gd name="connsiteY164" fmla="*/ 4250929 h 4274857"/>
              <a:gd name="connsiteX165" fmla="*/ 3915507 w 6775947"/>
              <a:gd name="connsiteY165" fmla="*/ 4262652 h 4274857"/>
              <a:gd name="connsiteX166" fmla="*/ 3704492 w 6775947"/>
              <a:gd name="connsiteY166" fmla="*/ 4268514 h 4274857"/>
              <a:gd name="connsiteX167" fmla="*/ 3563815 w 6775947"/>
              <a:gd name="connsiteY167" fmla="*/ 4274376 h 4274857"/>
              <a:gd name="connsiteX168" fmla="*/ 3452446 w 6775947"/>
              <a:gd name="connsiteY168" fmla="*/ 4245067 h 4274857"/>
              <a:gd name="connsiteX169" fmla="*/ 3264877 w 6775947"/>
              <a:gd name="connsiteY169" fmla="*/ 4192314 h 4274857"/>
              <a:gd name="connsiteX170" fmla="*/ 3253154 w 6775947"/>
              <a:gd name="connsiteY170" fmla="*/ 4069221 h 4274857"/>
              <a:gd name="connsiteX171" fmla="*/ 3276600 w 6775947"/>
              <a:gd name="connsiteY171" fmla="*/ 3828898 h 4274857"/>
              <a:gd name="connsiteX172" fmla="*/ 3264877 w 6775947"/>
              <a:gd name="connsiteY172" fmla="*/ 3664775 h 4274857"/>
              <a:gd name="connsiteX173" fmla="*/ 3259015 w 6775947"/>
              <a:gd name="connsiteY173" fmla="*/ 3623744 h 4274857"/>
              <a:gd name="connsiteX174" fmla="*/ 3247292 w 6775947"/>
              <a:gd name="connsiteY174" fmla="*/ 3600298 h 4274857"/>
              <a:gd name="connsiteX175" fmla="*/ 3229707 w 6775947"/>
              <a:gd name="connsiteY175" fmla="*/ 3535821 h 4274857"/>
              <a:gd name="connsiteX176" fmla="*/ 3194538 w 6775947"/>
              <a:gd name="connsiteY176" fmla="*/ 3459621 h 4274857"/>
              <a:gd name="connsiteX177" fmla="*/ 3153507 w 6775947"/>
              <a:gd name="connsiteY177" fmla="*/ 3354114 h 4274857"/>
              <a:gd name="connsiteX178" fmla="*/ 3135923 w 6775947"/>
              <a:gd name="connsiteY178" fmla="*/ 3231021 h 4274857"/>
              <a:gd name="connsiteX179" fmla="*/ 3118338 w 6775947"/>
              <a:gd name="connsiteY179" fmla="*/ 3184129 h 4274857"/>
              <a:gd name="connsiteX180" fmla="*/ 3094892 w 6775947"/>
              <a:gd name="connsiteY180" fmla="*/ 2633144 h 4274857"/>
              <a:gd name="connsiteX181" fmla="*/ 3048000 w 6775947"/>
              <a:gd name="connsiteY181" fmla="*/ 2498329 h 4274857"/>
              <a:gd name="connsiteX182" fmla="*/ 3012830 w 6775947"/>
              <a:gd name="connsiteY182" fmla="*/ 2386960 h 4274857"/>
              <a:gd name="connsiteX183" fmla="*/ 3006969 w 6775947"/>
              <a:gd name="connsiteY183" fmla="*/ 2299037 h 4274857"/>
              <a:gd name="connsiteX184" fmla="*/ 2995246 w 6775947"/>
              <a:gd name="connsiteY184" fmla="*/ 1988375 h 4274857"/>
              <a:gd name="connsiteX185" fmla="*/ 2965938 w 6775947"/>
              <a:gd name="connsiteY185" fmla="*/ 1818391 h 4274857"/>
              <a:gd name="connsiteX186" fmla="*/ 2960077 w 6775947"/>
              <a:gd name="connsiteY186" fmla="*/ 1689437 h 4274857"/>
              <a:gd name="connsiteX187" fmla="*/ 2936630 w 6775947"/>
              <a:gd name="connsiteY187" fmla="*/ 1583929 h 4274857"/>
              <a:gd name="connsiteX188" fmla="*/ 2924907 w 6775947"/>
              <a:gd name="connsiteY188" fmla="*/ 1542898 h 4274857"/>
              <a:gd name="connsiteX189" fmla="*/ 2901461 w 6775947"/>
              <a:gd name="connsiteY189" fmla="*/ 1425667 h 4274857"/>
              <a:gd name="connsiteX190" fmla="*/ 2872154 w 6775947"/>
              <a:gd name="connsiteY190" fmla="*/ 1302575 h 4274857"/>
              <a:gd name="connsiteX191" fmla="*/ 2848707 w 6775947"/>
              <a:gd name="connsiteY191" fmla="*/ 1191206 h 4274857"/>
              <a:gd name="connsiteX192" fmla="*/ 2836984 w 6775947"/>
              <a:gd name="connsiteY192" fmla="*/ 1056391 h 4274857"/>
              <a:gd name="connsiteX193" fmla="*/ 2819400 w 6775947"/>
              <a:gd name="connsiteY193" fmla="*/ 968467 h 4274857"/>
              <a:gd name="connsiteX194" fmla="*/ 2813538 w 6775947"/>
              <a:gd name="connsiteY194" fmla="*/ 909852 h 4274857"/>
              <a:gd name="connsiteX195" fmla="*/ 2801815 w 6775947"/>
              <a:gd name="connsiteY195" fmla="*/ 816067 h 4274857"/>
              <a:gd name="connsiteX196" fmla="*/ 2795954 w 6775947"/>
              <a:gd name="connsiteY196" fmla="*/ 476098 h 4274857"/>
              <a:gd name="connsiteX197" fmla="*/ 2784230 w 6775947"/>
              <a:gd name="connsiteY197" fmla="*/ 335421 h 4274857"/>
              <a:gd name="connsiteX198" fmla="*/ 2754923 w 6775947"/>
              <a:gd name="connsiteY198" fmla="*/ 276806 h 4274857"/>
              <a:gd name="connsiteX199" fmla="*/ 2708030 w 6775947"/>
              <a:gd name="connsiteY199" fmla="*/ 177160 h 4274857"/>
              <a:gd name="connsiteX200" fmla="*/ 2702169 w 6775947"/>
              <a:gd name="connsiteY200" fmla="*/ 159575 h 4274857"/>
              <a:gd name="connsiteX201" fmla="*/ 2678723 w 6775947"/>
              <a:gd name="connsiteY201" fmla="*/ 130267 h 4274857"/>
              <a:gd name="connsiteX202" fmla="*/ 2602523 w 6775947"/>
              <a:gd name="connsiteY202" fmla="*/ 112683 h 4274857"/>
              <a:gd name="connsiteX203" fmla="*/ 2584938 w 6775947"/>
              <a:gd name="connsiteY203" fmla="*/ 106821 h 4274857"/>
              <a:gd name="connsiteX204" fmla="*/ 2514600 w 6775947"/>
              <a:gd name="connsiteY204" fmla="*/ 100960 h 4274857"/>
              <a:gd name="connsiteX205" fmla="*/ 2467707 w 6775947"/>
              <a:gd name="connsiteY205" fmla="*/ 36483 h 4274857"/>
              <a:gd name="connsiteX206" fmla="*/ 2403230 w 6775947"/>
              <a:gd name="connsiteY206" fmla="*/ 30621 h 4274857"/>
              <a:gd name="connsiteX207" fmla="*/ 2321169 w 6775947"/>
              <a:gd name="connsiteY207" fmla="*/ 24760 h 4274857"/>
              <a:gd name="connsiteX208" fmla="*/ 1793630 w 6775947"/>
              <a:gd name="connsiteY208" fmla="*/ 30621 h 4274857"/>
              <a:gd name="connsiteX209" fmla="*/ 1752600 w 6775947"/>
              <a:gd name="connsiteY209" fmla="*/ 42344 h 4274857"/>
              <a:gd name="connsiteX210" fmla="*/ 1717430 w 6775947"/>
              <a:gd name="connsiteY210" fmla="*/ 59929 h 4274857"/>
              <a:gd name="connsiteX211" fmla="*/ 1652954 w 6775947"/>
              <a:gd name="connsiteY211" fmla="*/ 65791 h 4274857"/>
              <a:gd name="connsiteX212" fmla="*/ 1371600 w 6775947"/>
              <a:gd name="connsiteY212" fmla="*/ 54067 h 4274857"/>
              <a:gd name="connsiteX213" fmla="*/ 826477 w 6775947"/>
              <a:gd name="connsiteY213" fmla="*/ 36483 h 4274857"/>
              <a:gd name="connsiteX214" fmla="*/ 451338 w 6775947"/>
              <a:gd name="connsiteY214" fmla="*/ 42344 h 4274857"/>
              <a:gd name="connsiteX215" fmla="*/ 375138 w 6775947"/>
              <a:gd name="connsiteY215" fmla="*/ 65791 h 4274857"/>
              <a:gd name="connsiteX216" fmla="*/ 199292 w 6775947"/>
              <a:gd name="connsiteY216" fmla="*/ 159575 h 4274857"/>
              <a:gd name="connsiteX217" fmla="*/ 146538 w 6775947"/>
              <a:gd name="connsiteY217" fmla="*/ 194744 h 4274857"/>
              <a:gd name="connsiteX218" fmla="*/ 29307 w 6775947"/>
              <a:gd name="connsiteY218" fmla="*/ 528852 h 4274857"/>
              <a:gd name="connsiteX219" fmla="*/ 0 w 6775947"/>
              <a:gd name="connsiteY219" fmla="*/ 898129 h 4274857"/>
              <a:gd name="connsiteX220" fmla="*/ 23446 w 6775947"/>
              <a:gd name="connsiteY220" fmla="*/ 2041129 h 4274857"/>
              <a:gd name="connsiteX221" fmla="*/ 93784 w 6775947"/>
              <a:gd name="connsiteY221" fmla="*/ 2316621 h 4274857"/>
              <a:gd name="connsiteX222" fmla="*/ 433754 w 6775947"/>
              <a:gd name="connsiteY222" fmla="*/ 2937944 h 4274857"/>
              <a:gd name="connsiteX223" fmla="*/ 662354 w 6775947"/>
              <a:gd name="connsiteY223" fmla="*/ 3231021 h 4274857"/>
              <a:gd name="connsiteX224" fmla="*/ 785446 w 6775947"/>
              <a:gd name="connsiteY224" fmla="*/ 3395144 h 4274857"/>
              <a:gd name="connsiteX225" fmla="*/ 1066800 w 6775947"/>
              <a:gd name="connsiteY225" fmla="*/ 3746837 h 4274857"/>
              <a:gd name="connsiteX226" fmla="*/ 1436077 w 6775947"/>
              <a:gd name="connsiteY226" fmla="*/ 4004744 h 4274857"/>
              <a:gd name="connsiteX227" fmla="*/ 1735015 w 6775947"/>
              <a:gd name="connsiteY227" fmla="*/ 4139560 h 4274857"/>
              <a:gd name="connsiteX228" fmla="*/ 1817077 w 6775947"/>
              <a:gd name="connsiteY228" fmla="*/ 4174729 h 4274857"/>
              <a:gd name="connsiteX229" fmla="*/ 1893277 w 6775947"/>
              <a:gd name="connsiteY229" fmla="*/ 4209898 h 4274857"/>
              <a:gd name="connsiteX230" fmla="*/ 2039815 w 6775947"/>
              <a:gd name="connsiteY230" fmla="*/ 4221621 h 4274857"/>
              <a:gd name="connsiteX231" fmla="*/ 2250830 w 6775947"/>
              <a:gd name="connsiteY231" fmla="*/ 4198175 h 4274857"/>
              <a:gd name="connsiteX232" fmla="*/ 2286000 w 6775947"/>
              <a:gd name="connsiteY232" fmla="*/ 4192314 h 4274857"/>
              <a:gd name="connsiteX233" fmla="*/ 2450123 w 6775947"/>
              <a:gd name="connsiteY233" fmla="*/ 4198175 h 4274857"/>
              <a:gd name="connsiteX234" fmla="*/ 2567354 w 6775947"/>
              <a:gd name="connsiteY234" fmla="*/ 4209898 h 4274857"/>
              <a:gd name="connsiteX235" fmla="*/ 2608384 w 6775947"/>
              <a:gd name="connsiteY235" fmla="*/ 4215760 h 4274857"/>
              <a:gd name="connsiteX236" fmla="*/ 2813538 w 6775947"/>
              <a:gd name="connsiteY236" fmla="*/ 4221621 h 4274857"/>
              <a:gd name="connsiteX237" fmla="*/ 2924907 w 6775947"/>
              <a:gd name="connsiteY237" fmla="*/ 4233344 h 4274857"/>
              <a:gd name="connsiteX238" fmla="*/ 2960077 w 6775947"/>
              <a:gd name="connsiteY238" fmla="*/ 4239206 h 4274857"/>
              <a:gd name="connsiteX239" fmla="*/ 3006969 w 6775947"/>
              <a:gd name="connsiteY239" fmla="*/ 4245067 h 4274857"/>
              <a:gd name="connsiteX240" fmla="*/ 3106615 w 6775947"/>
              <a:gd name="connsiteY240" fmla="*/ 4262652 h 4274857"/>
              <a:gd name="connsiteX241" fmla="*/ 3130061 w 6775947"/>
              <a:gd name="connsiteY241" fmla="*/ 4268514 h 4274857"/>
              <a:gd name="connsiteX242" fmla="*/ 3294184 w 6775947"/>
              <a:gd name="connsiteY242" fmla="*/ 4262652 h 4274857"/>
              <a:gd name="connsiteX243" fmla="*/ 3323492 w 6775947"/>
              <a:gd name="connsiteY243" fmla="*/ 4256791 h 4274857"/>
              <a:gd name="connsiteX244" fmla="*/ 3364523 w 6775947"/>
              <a:gd name="connsiteY244" fmla="*/ 4250929 h 4274857"/>
              <a:gd name="connsiteX245" fmla="*/ 4525107 w 6775947"/>
              <a:gd name="connsiteY245" fmla="*/ 4256791 h 4274857"/>
              <a:gd name="connsiteX246" fmla="*/ 4759569 w 6775947"/>
              <a:gd name="connsiteY246" fmla="*/ 4209898 h 4274857"/>
              <a:gd name="connsiteX247" fmla="*/ 5175738 w 6775947"/>
              <a:gd name="connsiteY247" fmla="*/ 4186452 h 4274857"/>
              <a:gd name="connsiteX248" fmla="*/ 5216769 w 6775947"/>
              <a:gd name="connsiteY248" fmla="*/ 4157144 h 4274857"/>
              <a:gd name="connsiteX249" fmla="*/ 5234354 w 6775947"/>
              <a:gd name="connsiteY249" fmla="*/ 4133698 h 4274857"/>
              <a:gd name="connsiteX250" fmla="*/ 5251938 w 6775947"/>
              <a:gd name="connsiteY250" fmla="*/ 4116114 h 4274857"/>
              <a:gd name="connsiteX251" fmla="*/ 5275384 w 6775947"/>
              <a:gd name="connsiteY251" fmla="*/ 4086806 h 4274857"/>
              <a:gd name="connsiteX252" fmla="*/ 5404338 w 6775947"/>
              <a:gd name="connsiteY252" fmla="*/ 3998883 h 4274857"/>
              <a:gd name="connsiteX253" fmla="*/ 5498123 w 6775947"/>
              <a:gd name="connsiteY253" fmla="*/ 3910960 h 4274857"/>
              <a:gd name="connsiteX254" fmla="*/ 5550877 w 6775947"/>
              <a:gd name="connsiteY254" fmla="*/ 3875791 h 4274857"/>
              <a:gd name="connsiteX255" fmla="*/ 5715000 w 6775947"/>
              <a:gd name="connsiteY255" fmla="*/ 3699944 h 4274857"/>
              <a:gd name="connsiteX256" fmla="*/ 5802923 w 6775947"/>
              <a:gd name="connsiteY256" fmla="*/ 3594437 h 4274857"/>
              <a:gd name="connsiteX257" fmla="*/ 5838092 w 6775947"/>
              <a:gd name="connsiteY257" fmla="*/ 3524098 h 4274857"/>
              <a:gd name="connsiteX258" fmla="*/ 5879123 w 6775947"/>
              <a:gd name="connsiteY258" fmla="*/ 3453760 h 4274857"/>
              <a:gd name="connsiteX259" fmla="*/ 5908430 w 6775947"/>
              <a:gd name="connsiteY259" fmla="*/ 3424452 h 4274857"/>
              <a:gd name="connsiteX260" fmla="*/ 5926015 w 6775947"/>
              <a:gd name="connsiteY260" fmla="*/ 3389283 h 4274857"/>
              <a:gd name="connsiteX261" fmla="*/ 6119446 w 6775947"/>
              <a:gd name="connsiteY261" fmla="*/ 3195852 h 4274857"/>
              <a:gd name="connsiteX262" fmla="*/ 6236677 w 6775947"/>
              <a:gd name="connsiteY262" fmla="*/ 3072760 h 4274857"/>
              <a:gd name="connsiteX263" fmla="*/ 6318738 w 6775947"/>
              <a:gd name="connsiteY263" fmla="*/ 2937944 h 4274857"/>
              <a:gd name="connsiteX264" fmla="*/ 6330461 w 6775947"/>
              <a:gd name="connsiteY264" fmla="*/ 2879329 h 4274857"/>
              <a:gd name="connsiteX265" fmla="*/ 6453554 w 6775947"/>
              <a:gd name="connsiteY265" fmla="*/ 2551083 h 4274857"/>
              <a:gd name="connsiteX266" fmla="*/ 6547338 w 6775947"/>
              <a:gd name="connsiteY266" fmla="*/ 2375237 h 4274857"/>
              <a:gd name="connsiteX267" fmla="*/ 6629400 w 6775947"/>
              <a:gd name="connsiteY267" fmla="*/ 2240421 h 4274857"/>
              <a:gd name="connsiteX268" fmla="*/ 6646984 w 6775947"/>
              <a:gd name="connsiteY268" fmla="*/ 2205252 h 4274857"/>
              <a:gd name="connsiteX269" fmla="*/ 6705600 w 6775947"/>
              <a:gd name="connsiteY269" fmla="*/ 2152498 h 4274857"/>
              <a:gd name="connsiteX270" fmla="*/ 6723184 w 6775947"/>
              <a:gd name="connsiteY270" fmla="*/ 2099744 h 4274857"/>
              <a:gd name="connsiteX271" fmla="*/ 6764215 w 6775947"/>
              <a:gd name="connsiteY271" fmla="*/ 1859421 h 4274857"/>
              <a:gd name="connsiteX272" fmla="*/ 6764215 w 6775947"/>
              <a:gd name="connsiteY272" fmla="*/ 804344 h 4274857"/>
              <a:gd name="connsiteX273" fmla="*/ 6740769 w 6775947"/>
              <a:gd name="connsiteY273" fmla="*/ 218191 h 4274857"/>
              <a:gd name="connsiteX274" fmla="*/ 6729046 w 6775947"/>
              <a:gd name="connsiteY274" fmla="*/ 147852 h 4274857"/>
              <a:gd name="connsiteX275" fmla="*/ 6723184 w 6775947"/>
              <a:gd name="connsiteY275" fmla="*/ 124406 h 4274857"/>
              <a:gd name="connsiteX276" fmla="*/ 6670430 w 6775947"/>
              <a:gd name="connsiteY276" fmla="*/ 77514 h 4274857"/>
              <a:gd name="connsiteX277" fmla="*/ 6559061 w 6775947"/>
              <a:gd name="connsiteY277" fmla="*/ 48206 h 4274857"/>
              <a:gd name="connsiteX278" fmla="*/ 6506307 w 6775947"/>
              <a:gd name="connsiteY278" fmla="*/ 18898 h 4274857"/>
              <a:gd name="connsiteX279" fmla="*/ 6477000 w 6775947"/>
              <a:gd name="connsiteY279" fmla="*/ 7175 h 4274857"/>
              <a:gd name="connsiteX280" fmla="*/ 6371492 w 6775947"/>
              <a:gd name="connsiteY280" fmla="*/ 36483 h 4274857"/>
              <a:gd name="connsiteX281" fmla="*/ 5597769 w 6775947"/>
              <a:gd name="connsiteY281" fmla="*/ 7175 h 4274857"/>
              <a:gd name="connsiteX282" fmla="*/ 5533292 w 6775947"/>
              <a:gd name="connsiteY282" fmla="*/ 1314 h 4274857"/>
              <a:gd name="connsiteX283" fmla="*/ 5175738 w 6775947"/>
              <a:gd name="connsiteY283" fmla="*/ 7175 h 4274857"/>
              <a:gd name="connsiteX284" fmla="*/ 5064369 w 6775947"/>
              <a:gd name="connsiteY284" fmla="*/ 18898 h 4274857"/>
              <a:gd name="connsiteX285" fmla="*/ 4360984 w 6775947"/>
              <a:gd name="connsiteY285" fmla="*/ 30621 h 4274857"/>
              <a:gd name="connsiteX286" fmla="*/ 4314092 w 6775947"/>
              <a:gd name="connsiteY286" fmla="*/ 83375 h 4274857"/>
              <a:gd name="connsiteX287" fmla="*/ 4302369 w 6775947"/>
              <a:gd name="connsiteY287" fmla="*/ 141991 h 4274857"/>
              <a:gd name="connsiteX0" fmla="*/ 4302369 w 6775947"/>
              <a:gd name="connsiteY0" fmla="*/ 141991 h 4274857"/>
              <a:gd name="connsiteX1" fmla="*/ 4302369 w 6775947"/>
              <a:gd name="connsiteY1" fmla="*/ 141991 h 4274857"/>
              <a:gd name="connsiteX2" fmla="*/ 4232030 w 6775947"/>
              <a:gd name="connsiteY2" fmla="*/ 106821 h 4274857"/>
              <a:gd name="connsiteX3" fmla="*/ 4208584 w 6775947"/>
              <a:gd name="connsiteY3" fmla="*/ 89237 h 4274857"/>
              <a:gd name="connsiteX4" fmla="*/ 4149969 w 6775947"/>
              <a:gd name="connsiteY4" fmla="*/ 71652 h 4274857"/>
              <a:gd name="connsiteX5" fmla="*/ 4097215 w 6775947"/>
              <a:gd name="connsiteY5" fmla="*/ 59929 h 4274857"/>
              <a:gd name="connsiteX6" fmla="*/ 4073769 w 6775947"/>
              <a:gd name="connsiteY6" fmla="*/ 54067 h 4274857"/>
              <a:gd name="connsiteX7" fmla="*/ 3927230 w 6775947"/>
              <a:gd name="connsiteY7" fmla="*/ 42344 h 4274857"/>
              <a:gd name="connsiteX8" fmla="*/ 3745523 w 6775947"/>
              <a:gd name="connsiteY8" fmla="*/ 18898 h 4274857"/>
              <a:gd name="connsiteX9" fmla="*/ 3716215 w 6775947"/>
              <a:gd name="connsiteY9" fmla="*/ 7175 h 4274857"/>
              <a:gd name="connsiteX10" fmla="*/ 3563815 w 6775947"/>
              <a:gd name="connsiteY10" fmla="*/ 7175 h 4274857"/>
              <a:gd name="connsiteX11" fmla="*/ 3499338 w 6775947"/>
              <a:gd name="connsiteY11" fmla="*/ 24760 h 4274857"/>
              <a:gd name="connsiteX12" fmla="*/ 3458307 w 6775947"/>
              <a:gd name="connsiteY12" fmla="*/ 30621 h 4274857"/>
              <a:gd name="connsiteX13" fmla="*/ 3376246 w 6775947"/>
              <a:gd name="connsiteY13" fmla="*/ 42344 h 4274857"/>
              <a:gd name="connsiteX14" fmla="*/ 3352800 w 6775947"/>
              <a:gd name="connsiteY14" fmla="*/ 48206 h 4274857"/>
              <a:gd name="connsiteX15" fmla="*/ 3288323 w 6775947"/>
              <a:gd name="connsiteY15" fmla="*/ 77514 h 4274857"/>
              <a:gd name="connsiteX16" fmla="*/ 3194538 w 6775947"/>
              <a:gd name="connsiteY16" fmla="*/ 95098 h 4274857"/>
              <a:gd name="connsiteX17" fmla="*/ 3112477 w 6775947"/>
              <a:gd name="connsiteY17" fmla="*/ 124406 h 4274857"/>
              <a:gd name="connsiteX18" fmla="*/ 3059723 w 6775947"/>
              <a:gd name="connsiteY18" fmla="*/ 194744 h 4274857"/>
              <a:gd name="connsiteX19" fmla="*/ 2971800 w 6775947"/>
              <a:gd name="connsiteY19" fmla="*/ 335421 h 4274857"/>
              <a:gd name="connsiteX20" fmla="*/ 2960077 w 6775947"/>
              <a:gd name="connsiteY20" fmla="*/ 382314 h 4274857"/>
              <a:gd name="connsiteX21" fmla="*/ 2948354 w 6775947"/>
              <a:gd name="connsiteY21" fmla="*/ 423344 h 4274857"/>
              <a:gd name="connsiteX22" fmla="*/ 2954215 w 6775947"/>
              <a:gd name="connsiteY22" fmla="*/ 698837 h 4274857"/>
              <a:gd name="connsiteX23" fmla="*/ 2971800 w 6775947"/>
              <a:gd name="connsiteY23" fmla="*/ 892267 h 4274857"/>
              <a:gd name="connsiteX24" fmla="*/ 2989384 w 6775947"/>
              <a:gd name="connsiteY24" fmla="*/ 1015360 h 4274857"/>
              <a:gd name="connsiteX25" fmla="*/ 3018692 w 6775947"/>
              <a:gd name="connsiteY25" fmla="*/ 1115006 h 4274857"/>
              <a:gd name="connsiteX26" fmla="*/ 3036277 w 6775947"/>
              <a:gd name="connsiteY26" fmla="*/ 1191206 h 4274857"/>
              <a:gd name="connsiteX27" fmla="*/ 3042138 w 6775947"/>
              <a:gd name="connsiteY27" fmla="*/ 1255683 h 4274857"/>
              <a:gd name="connsiteX28" fmla="*/ 3071446 w 6775947"/>
              <a:gd name="connsiteY28" fmla="*/ 1314298 h 4274857"/>
              <a:gd name="connsiteX29" fmla="*/ 3171092 w 6775947"/>
              <a:gd name="connsiteY29" fmla="*/ 1537037 h 4274857"/>
              <a:gd name="connsiteX30" fmla="*/ 3200400 w 6775947"/>
              <a:gd name="connsiteY30" fmla="*/ 1589791 h 4274857"/>
              <a:gd name="connsiteX31" fmla="*/ 3229707 w 6775947"/>
              <a:gd name="connsiteY31" fmla="*/ 1636683 h 4274857"/>
              <a:gd name="connsiteX32" fmla="*/ 3276600 w 6775947"/>
              <a:gd name="connsiteY32" fmla="*/ 1724606 h 4274857"/>
              <a:gd name="connsiteX33" fmla="*/ 3341077 w 6775947"/>
              <a:gd name="connsiteY33" fmla="*/ 1830114 h 4274857"/>
              <a:gd name="connsiteX34" fmla="*/ 3446584 w 6775947"/>
              <a:gd name="connsiteY34" fmla="*/ 1935621 h 4274857"/>
              <a:gd name="connsiteX35" fmla="*/ 3511061 w 6775947"/>
              <a:gd name="connsiteY35" fmla="*/ 2011821 h 4274857"/>
              <a:gd name="connsiteX36" fmla="*/ 3616569 w 6775947"/>
              <a:gd name="connsiteY36" fmla="*/ 2093883 h 4274857"/>
              <a:gd name="connsiteX37" fmla="*/ 3675184 w 6775947"/>
              <a:gd name="connsiteY37" fmla="*/ 2134914 h 4274857"/>
              <a:gd name="connsiteX38" fmla="*/ 3774830 w 6775947"/>
              <a:gd name="connsiteY38" fmla="*/ 2211114 h 4274857"/>
              <a:gd name="connsiteX39" fmla="*/ 3833446 w 6775947"/>
              <a:gd name="connsiteY39" fmla="*/ 2222837 h 4274857"/>
              <a:gd name="connsiteX40" fmla="*/ 3903784 w 6775947"/>
              <a:gd name="connsiteY40" fmla="*/ 2240421 h 4274857"/>
              <a:gd name="connsiteX41" fmla="*/ 3944815 w 6775947"/>
              <a:gd name="connsiteY41" fmla="*/ 2246283 h 4274857"/>
              <a:gd name="connsiteX42" fmla="*/ 4050323 w 6775947"/>
              <a:gd name="connsiteY42" fmla="*/ 2263867 h 4274857"/>
              <a:gd name="connsiteX43" fmla="*/ 4073769 w 6775947"/>
              <a:gd name="connsiteY43" fmla="*/ 2269729 h 4274857"/>
              <a:gd name="connsiteX44" fmla="*/ 4155830 w 6775947"/>
              <a:gd name="connsiteY44" fmla="*/ 2275591 h 4274857"/>
              <a:gd name="connsiteX45" fmla="*/ 4255477 w 6775947"/>
              <a:gd name="connsiteY45" fmla="*/ 2334206 h 4274857"/>
              <a:gd name="connsiteX46" fmla="*/ 4284784 w 6775947"/>
              <a:gd name="connsiteY46" fmla="*/ 2345929 h 4274857"/>
              <a:gd name="connsiteX47" fmla="*/ 4378569 w 6775947"/>
              <a:gd name="connsiteY47" fmla="*/ 2351791 h 4274857"/>
              <a:gd name="connsiteX48" fmla="*/ 4448907 w 6775947"/>
              <a:gd name="connsiteY48" fmla="*/ 2357652 h 4274857"/>
              <a:gd name="connsiteX49" fmla="*/ 4548554 w 6775947"/>
              <a:gd name="connsiteY49" fmla="*/ 2351791 h 4274857"/>
              <a:gd name="connsiteX50" fmla="*/ 4548553 w 6775947"/>
              <a:gd name="connsiteY50" fmla="*/ 2369375 h 4274857"/>
              <a:gd name="connsiteX51" fmla="*/ 4583722 w 6775947"/>
              <a:gd name="connsiteY51" fmla="*/ 2351791 h 4274857"/>
              <a:gd name="connsiteX52" fmla="*/ 4677507 w 6775947"/>
              <a:gd name="connsiteY52" fmla="*/ 2269729 h 4274857"/>
              <a:gd name="connsiteX53" fmla="*/ 4736123 w 6775947"/>
              <a:gd name="connsiteY53" fmla="*/ 2216976 h 4274857"/>
              <a:gd name="connsiteX54" fmla="*/ 4747846 w 6775947"/>
              <a:gd name="connsiteY54" fmla="*/ 2146637 h 4274857"/>
              <a:gd name="connsiteX55" fmla="*/ 4706815 w 6775947"/>
              <a:gd name="connsiteY55" fmla="*/ 2052852 h 4274857"/>
              <a:gd name="connsiteX56" fmla="*/ 4695092 w 6775947"/>
              <a:gd name="connsiteY56" fmla="*/ 2005960 h 4274857"/>
              <a:gd name="connsiteX57" fmla="*/ 4683369 w 6775947"/>
              <a:gd name="connsiteY57" fmla="*/ 1970791 h 4274857"/>
              <a:gd name="connsiteX58" fmla="*/ 4665784 w 6775947"/>
              <a:gd name="connsiteY58" fmla="*/ 1865283 h 4274857"/>
              <a:gd name="connsiteX59" fmla="*/ 4636477 w 6775947"/>
              <a:gd name="connsiteY59" fmla="*/ 1736329 h 4274857"/>
              <a:gd name="connsiteX60" fmla="*/ 4613030 w 6775947"/>
              <a:gd name="connsiteY60" fmla="*/ 1454975 h 4274857"/>
              <a:gd name="connsiteX61" fmla="*/ 4601307 w 6775947"/>
              <a:gd name="connsiteY61" fmla="*/ 1408083 h 4274857"/>
              <a:gd name="connsiteX62" fmla="*/ 4583723 w 6775947"/>
              <a:gd name="connsiteY62" fmla="*/ 1372914 h 4274857"/>
              <a:gd name="connsiteX63" fmla="*/ 4577861 w 6775947"/>
              <a:gd name="connsiteY63" fmla="*/ 1355329 h 4274857"/>
              <a:gd name="connsiteX64" fmla="*/ 4566138 w 6775947"/>
              <a:gd name="connsiteY64" fmla="*/ 1284991 h 4274857"/>
              <a:gd name="connsiteX65" fmla="*/ 4548554 w 6775947"/>
              <a:gd name="connsiteY65" fmla="*/ 1202929 h 4274857"/>
              <a:gd name="connsiteX66" fmla="*/ 4542692 w 6775947"/>
              <a:gd name="connsiteY66" fmla="*/ 1150175 h 4274857"/>
              <a:gd name="connsiteX67" fmla="*/ 4478215 w 6775947"/>
              <a:gd name="connsiteY67" fmla="*/ 1079837 h 4274857"/>
              <a:gd name="connsiteX68" fmla="*/ 4460630 w 6775947"/>
              <a:gd name="connsiteY68" fmla="*/ 1062252 h 4274857"/>
              <a:gd name="connsiteX69" fmla="*/ 4437184 w 6775947"/>
              <a:gd name="connsiteY69" fmla="*/ 1021221 h 4274857"/>
              <a:gd name="connsiteX70" fmla="*/ 4419600 w 6775947"/>
              <a:gd name="connsiteY70" fmla="*/ 980191 h 4274857"/>
              <a:gd name="connsiteX71" fmla="*/ 4378569 w 6775947"/>
              <a:gd name="connsiteY71" fmla="*/ 862960 h 4274857"/>
              <a:gd name="connsiteX72" fmla="*/ 4325815 w 6775947"/>
              <a:gd name="connsiteY72" fmla="*/ 821929 h 4274857"/>
              <a:gd name="connsiteX73" fmla="*/ 4308230 w 6775947"/>
              <a:gd name="connsiteY73" fmla="*/ 804344 h 4274857"/>
              <a:gd name="connsiteX74" fmla="*/ 4296507 w 6775947"/>
              <a:gd name="connsiteY74" fmla="*/ 757452 h 4274857"/>
              <a:gd name="connsiteX75" fmla="*/ 4325815 w 6775947"/>
              <a:gd name="connsiteY75" fmla="*/ 499544 h 4274857"/>
              <a:gd name="connsiteX76" fmla="*/ 4314092 w 6775947"/>
              <a:gd name="connsiteY76" fmla="*/ 417483 h 4274857"/>
              <a:gd name="connsiteX77" fmla="*/ 4319954 w 6775947"/>
              <a:gd name="connsiteY77" fmla="*/ 394037 h 4274857"/>
              <a:gd name="connsiteX78" fmla="*/ 4337538 w 6775947"/>
              <a:gd name="connsiteY78" fmla="*/ 288529 h 4274857"/>
              <a:gd name="connsiteX79" fmla="*/ 4343400 w 6775947"/>
              <a:gd name="connsiteY79" fmla="*/ 253360 h 4274857"/>
              <a:gd name="connsiteX80" fmla="*/ 4355123 w 6775947"/>
              <a:gd name="connsiteY80" fmla="*/ 171299 h 4274857"/>
              <a:gd name="connsiteX81" fmla="*/ 4413738 w 6775947"/>
              <a:gd name="connsiteY81" fmla="*/ 194744 h 4274857"/>
              <a:gd name="connsiteX82" fmla="*/ 4495800 w 6775947"/>
              <a:gd name="connsiteY82" fmla="*/ 136129 h 4274857"/>
              <a:gd name="connsiteX83" fmla="*/ 4554415 w 6775947"/>
              <a:gd name="connsiteY83" fmla="*/ 106821 h 4274857"/>
              <a:gd name="connsiteX84" fmla="*/ 4613030 w 6775947"/>
              <a:gd name="connsiteY84" fmla="*/ 83375 h 4274857"/>
              <a:gd name="connsiteX85" fmla="*/ 4671646 w 6775947"/>
              <a:gd name="connsiteY85" fmla="*/ 77514 h 4274857"/>
              <a:gd name="connsiteX86" fmla="*/ 5246077 w 6775947"/>
              <a:gd name="connsiteY86" fmla="*/ 71652 h 4274857"/>
              <a:gd name="connsiteX87" fmla="*/ 5304692 w 6775947"/>
              <a:gd name="connsiteY87" fmla="*/ 83375 h 4274857"/>
              <a:gd name="connsiteX88" fmla="*/ 5345723 w 6775947"/>
              <a:gd name="connsiteY88" fmla="*/ 89237 h 4274857"/>
              <a:gd name="connsiteX89" fmla="*/ 5527430 w 6775947"/>
              <a:gd name="connsiteY89" fmla="*/ 95098 h 4274857"/>
              <a:gd name="connsiteX90" fmla="*/ 5545015 w 6775947"/>
              <a:gd name="connsiteY90" fmla="*/ 100960 h 4274857"/>
              <a:gd name="connsiteX91" fmla="*/ 5586046 w 6775947"/>
              <a:gd name="connsiteY91" fmla="*/ 136129 h 4274857"/>
              <a:gd name="connsiteX92" fmla="*/ 5615354 w 6775947"/>
              <a:gd name="connsiteY92" fmla="*/ 159575 h 4274857"/>
              <a:gd name="connsiteX93" fmla="*/ 5632938 w 6775947"/>
              <a:gd name="connsiteY93" fmla="*/ 165437 h 4274857"/>
              <a:gd name="connsiteX94" fmla="*/ 5656384 w 6775947"/>
              <a:gd name="connsiteY94" fmla="*/ 183021 h 4274857"/>
              <a:gd name="connsiteX95" fmla="*/ 5709138 w 6775947"/>
              <a:gd name="connsiteY95" fmla="*/ 218191 h 4274857"/>
              <a:gd name="connsiteX96" fmla="*/ 5738446 w 6775947"/>
              <a:gd name="connsiteY96" fmla="*/ 247498 h 4274857"/>
              <a:gd name="connsiteX97" fmla="*/ 5756030 w 6775947"/>
              <a:gd name="connsiteY97" fmla="*/ 282667 h 4274857"/>
              <a:gd name="connsiteX98" fmla="*/ 5791200 w 6775947"/>
              <a:gd name="connsiteY98" fmla="*/ 341283 h 4274857"/>
              <a:gd name="connsiteX99" fmla="*/ 5756030 w 6775947"/>
              <a:gd name="connsiteY99" fmla="*/ 593329 h 4274857"/>
              <a:gd name="connsiteX100" fmla="*/ 5709138 w 6775947"/>
              <a:gd name="connsiteY100" fmla="*/ 751591 h 4274857"/>
              <a:gd name="connsiteX101" fmla="*/ 5650523 w 6775947"/>
              <a:gd name="connsiteY101" fmla="*/ 880544 h 4274857"/>
              <a:gd name="connsiteX102" fmla="*/ 5597769 w 6775947"/>
              <a:gd name="connsiteY102" fmla="*/ 1009498 h 4274857"/>
              <a:gd name="connsiteX103" fmla="*/ 5591907 w 6775947"/>
              <a:gd name="connsiteY103" fmla="*/ 1038806 h 4274857"/>
              <a:gd name="connsiteX104" fmla="*/ 5586046 w 6775947"/>
              <a:gd name="connsiteY104" fmla="*/ 1056391 h 4274857"/>
              <a:gd name="connsiteX105" fmla="*/ 5556738 w 6775947"/>
              <a:gd name="connsiteY105" fmla="*/ 1173621 h 4274857"/>
              <a:gd name="connsiteX106" fmla="*/ 5515707 w 6775947"/>
              <a:gd name="connsiteY106" fmla="*/ 1279129 h 4274857"/>
              <a:gd name="connsiteX107" fmla="*/ 5480538 w 6775947"/>
              <a:gd name="connsiteY107" fmla="*/ 1396360 h 4274857"/>
              <a:gd name="connsiteX108" fmla="*/ 5468815 w 6775947"/>
              <a:gd name="connsiteY108" fmla="*/ 1425667 h 4274857"/>
              <a:gd name="connsiteX109" fmla="*/ 5439507 w 6775947"/>
              <a:gd name="connsiteY109" fmla="*/ 1478421 h 4274857"/>
              <a:gd name="connsiteX110" fmla="*/ 5421923 w 6775947"/>
              <a:gd name="connsiteY110" fmla="*/ 1531175 h 4274857"/>
              <a:gd name="connsiteX111" fmla="*/ 5392615 w 6775947"/>
              <a:gd name="connsiteY111" fmla="*/ 1607375 h 4274857"/>
              <a:gd name="connsiteX112" fmla="*/ 5369169 w 6775947"/>
              <a:gd name="connsiteY112" fmla="*/ 1677714 h 4274857"/>
              <a:gd name="connsiteX113" fmla="*/ 5351584 w 6775947"/>
              <a:gd name="connsiteY113" fmla="*/ 1835975 h 4274857"/>
              <a:gd name="connsiteX114" fmla="*/ 5339861 w 6775947"/>
              <a:gd name="connsiteY114" fmla="*/ 1865283 h 4274857"/>
              <a:gd name="connsiteX115" fmla="*/ 5334000 w 6775947"/>
              <a:gd name="connsiteY115" fmla="*/ 1888729 h 4274857"/>
              <a:gd name="connsiteX116" fmla="*/ 5316415 w 6775947"/>
              <a:gd name="connsiteY116" fmla="*/ 1970791 h 4274857"/>
              <a:gd name="connsiteX117" fmla="*/ 5292969 w 6775947"/>
              <a:gd name="connsiteY117" fmla="*/ 2005960 h 4274857"/>
              <a:gd name="connsiteX118" fmla="*/ 5269523 w 6775947"/>
              <a:gd name="connsiteY118" fmla="*/ 2052852 h 4274857"/>
              <a:gd name="connsiteX119" fmla="*/ 5257800 w 6775947"/>
              <a:gd name="connsiteY119" fmla="*/ 2076298 h 4274857"/>
              <a:gd name="connsiteX120" fmla="*/ 5240215 w 6775947"/>
              <a:gd name="connsiteY120" fmla="*/ 2099744 h 4274857"/>
              <a:gd name="connsiteX121" fmla="*/ 5234354 w 6775947"/>
              <a:gd name="connsiteY121" fmla="*/ 2129052 h 4274857"/>
              <a:gd name="connsiteX122" fmla="*/ 5222630 w 6775947"/>
              <a:gd name="connsiteY122" fmla="*/ 2140775 h 4274857"/>
              <a:gd name="connsiteX123" fmla="*/ 5210907 w 6775947"/>
              <a:gd name="connsiteY123" fmla="*/ 2164221 h 4274857"/>
              <a:gd name="connsiteX124" fmla="*/ 5193323 w 6775947"/>
              <a:gd name="connsiteY124" fmla="*/ 2187667 h 4274857"/>
              <a:gd name="connsiteX125" fmla="*/ 5175738 w 6775947"/>
              <a:gd name="connsiteY125" fmla="*/ 2263867 h 4274857"/>
              <a:gd name="connsiteX126" fmla="*/ 5216769 w 6775947"/>
              <a:gd name="connsiteY126" fmla="*/ 2304898 h 4274857"/>
              <a:gd name="connsiteX127" fmla="*/ 5234353 w 6775947"/>
              <a:gd name="connsiteY127" fmla="*/ 2345928 h 4274857"/>
              <a:gd name="connsiteX128" fmla="*/ 5251939 w 6775947"/>
              <a:gd name="connsiteY128" fmla="*/ 2357653 h 4274857"/>
              <a:gd name="connsiteX129" fmla="*/ 5281246 w 6775947"/>
              <a:gd name="connsiteY129" fmla="*/ 2427991 h 4274857"/>
              <a:gd name="connsiteX130" fmla="*/ 5287107 w 6775947"/>
              <a:gd name="connsiteY130" fmla="*/ 2556944 h 4274857"/>
              <a:gd name="connsiteX131" fmla="*/ 5298830 w 6775947"/>
              <a:gd name="connsiteY131" fmla="*/ 2615560 h 4274857"/>
              <a:gd name="connsiteX132" fmla="*/ 5310554 w 6775947"/>
              <a:gd name="connsiteY132" fmla="*/ 2721067 h 4274857"/>
              <a:gd name="connsiteX133" fmla="*/ 5316415 w 6775947"/>
              <a:gd name="connsiteY133" fmla="*/ 2885191 h 4274857"/>
              <a:gd name="connsiteX134" fmla="*/ 5357446 w 6775947"/>
              <a:gd name="connsiteY134" fmla="*/ 2978975 h 4274857"/>
              <a:gd name="connsiteX135" fmla="*/ 5363307 w 6775947"/>
              <a:gd name="connsiteY135" fmla="*/ 3014144 h 4274857"/>
              <a:gd name="connsiteX136" fmla="*/ 5380892 w 6775947"/>
              <a:gd name="connsiteY136" fmla="*/ 3037591 h 4274857"/>
              <a:gd name="connsiteX137" fmla="*/ 5386754 w 6775947"/>
              <a:gd name="connsiteY137" fmla="*/ 3084483 h 4274857"/>
              <a:gd name="connsiteX138" fmla="*/ 5404338 w 6775947"/>
              <a:gd name="connsiteY138" fmla="*/ 3131375 h 4274857"/>
              <a:gd name="connsiteX139" fmla="*/ 5404338 w 6775947"/>
              <a:gd name="connsiteY139" fmla="*/ 3324806 h 4274857"/>
              <a:gd name="connsiteX140" fmla="*/ 5398477 w 6775947"/>
              <a:gd name="connsiteY140" fmla="*/ 3823037 h 4274857"/>
              <a:gd name="connsiteX141" fmla="*/ 5380892 w 6775947"/>
              <a:gd name="connsiteY141" fmla="*/ 3881652 h 4274857"/>
              <a:gd name="connsiteX142" fmla="*/ 5369169 w 6775947"/>
              <a:gd name="connsiteY142" fmla="*/ 3916821 h 4274857"/>
              <a:gd name="connsiteX143" fmla="*/ 5339861 w 6775947"/>
              <a:gd name="connsiteY143" fmla="*/ 3946129 h 4274857"/>
              <a:gd name="connsiteX144" fmla="*/ 5322277 w 6775947"/>
              <a:gd name="connsiteY144" fmla="*/ 3981298 h 4274857"/>
              <a:gd name="connsiteX145" fmla="*/ 5257800 w 6775947"/>
              <a:gd name="connsiteY145" fmla="*/ 4057498 h 4274857"/>
              <a:gd name="connsiteX146" fmla="*/ 5228492 w 6775947"/>
              <a:gd name="connsiteY146" fmla="*/ 4080944 h 4274857"/>
              <a:gd name="connsiteX147" fmla="*/ 5146430 w 6775947"/>
              <a:gd name="connsiteY147" fmla="*/ 4121975 h 4274857"/>
              <a:gd name="connsiteX148" fmla="*/ 5117123 w 6775947"/>
              <a:gd name="connsiteY148" fmla="*/ 4139560 h 4274857"/>
              <a:gd name="connsiteX149" fmla="*/ 5087815 w 6775947"/>
              <a:gd name="connsiteY149" fmla="*/ 4145421 h 4274857"/>
              <a:gd name="connsiteX150" fmla="*/ 4988169 w 6775947"/>
              <a:gd name="connsiteY150" fmla="*/ 4163006 h 4274857"/>
              <a:gd name="connsiteX151" fmla="*/ 4753707 w 6775947"/>
              <a:gd name="connsiteY151" fmla="*/ 4151283 h 4274857"/>
              <a:gd name="connsiteX152" fmla="*/ 4695092 w 6775947"/>
              <a:gd name="connsiteY152" fmla="*/ 4139560 h 4274857"/>
              <a:gd name="connsiteX153" fmla="*/ 4589584 w 6775947"/>
              <a:gd name="connsiteY153" fmla="*/ 4151283 h 4274857"/>
              <a:gd name="connsiteX154" fmla="*/ 4560277 w 6775947"/>
              <a:gd name="connsiteY154" fmla="*/ 4163006 h 4274857"/>
              <a:gd name="connsiteX155" fmla="*/ 4484077 w 6775947"/>
              <a:gd name="connsiteY155" fmla="*/ 4180591 h 4274857"/>
              <a:gd name="connsiteX156" fmla="*/ 4443046 w 6775947"/>
              <a:gd name="connsiteY156" fmla="*/ 4198175 h 4274857"/>
              <a:gd name="connsiteX157" fmla="*/ 4413738 w 6775947"/>
              <a:gd name="connsiteY157" fmla="*/ 4204037 h 4274857"/>
              <a:gd name="connsiteX158" fmla="*/ 4355123 w 6775947"/>
              <a:gd name="connsiteY158" fmla="*/ 4215760 h 4274857"/>
              <a:gd name="connsiteX159" fmla="*/ 4273061 w 6775947"/>
              <a:gd name="connsiteY159" fmla="*/ 4209898 h 4274857"/>
              <a:gd name="connsiteX160" fmla="*/ 4185138 w 6775947"/>
              <a:gd name="connsiteY160" fmla="*/ 4198175 h 4274857"/>
              <a:gd name="connsiteX161" fmla="*/ 4155830 w 6775947"/>
              <a:gd name="connsiteY161" fmla="*/ 4209898 h 4274857"/>
              <a:gd name="connsiteX162" fmla="*/ 4138246 w 6775947"/>
              <a:gd name="connsiteY162" fmla="*/ 4215760 h 4274857"/>
              <a:gd name="connsiteX163" fmla="*/ 3991707 w 6775947"/>
              <a:gd name="connsiteY163" fmla="*/ 4227483 h 4274857"/>
              <a:gd name="connsiteX164" fmla="*/ 3933092 w 6775947"/>
              <a:gd name="connsiteY164" fmla="*/ 4250929 h 4274857"/>
              <a:gd name="connsiteX165" fmla="*/ 3915507 w 6775947"/>
              <a:gd name="connsiteY165" fmla="*/ 4262652 h 4274857"/>
              <a:gd name="connsiteX166" fmla="*/ 3704492 w 6775947"/>
              <a:gd name="connsiteY166" fmla="*/ 4268514 h 4274857"/>
              <a:gd name="connsiteX167" fmla="*/ 3563815 w 6775947"/>
              <a:gd name="connsiteY167" fmla="*/ 4274376 h 4274857"/>
              <a:gd name="connsiteX168" fmla="*/ 3452446 w 6775947"/>
              <a:gd name="connsiteY168" fmla="*/ 4245067 h 4274857"/>
              <a:gd name="connsiteX169" fmla="*/ 3264877 w 6775947"/>
              <a:gd name="connsiteY169" fmla="*/ 4192314 h 4274857"/>
              <a:gd name="connsiteX170" fmla="*/ 3253154 w 6775947"/>
              <a:gd name="connsiteY170" fmla="*/ 4069221 h 4274857"/>
              <a:gd name="connsiteX171" fmla="*/ 3276600 w 6775947"/>
              <a:gd name="connsiteY171" fmla="*/ 3828898 h 4274857"/>
              <a:gd name="connsiteX172" fmla="*/ 3264877 w 6775947"/>
              <a:gd name="connsiteY172" fmla="*/ 3664775 h 4274857"/>
              <a:gd name="connsiteX173" fmla="*/ 3259015 w 6775947"/>
              <a:gd name="connsiteY173" fmla="*/ 3623744 h 4274857"/>
              <a:gd name="connsiteX174" fmla="*/ 3247292 w 6775947"/>
              <a:gd name="connsiteY174" fmla="*/ 3600298 h 4274857"/>
              <a:gd name="connsiteX175" fmla="*/ 3229707 w 6775947"/>
              <a:gd name="connsiteY175" fmla="*/ 3535821 h 4274857"/>
              <a:gd name="connsiteX176" fmla="*/ 3194538 w 6775947"/>
              <a:gd name="connsiteY176" fmla="*/ 3459621 h 4274857"/>
              <a:gd name="connsiteX177" fmla="*/ 3153507 w 6775947"/>
              <a:gd name="connsiteY177" fmla="*/ 3354114 h 4274857"/>
              <a:gd name="connsiteX178" fmla="*/ 3135923 w 6775947"/>
              <a:gd name="connsiteY178" fmla="*/ 3231021 h 4274857"/>
              <a:gd name="connsiteX179" fmla="*/ 3118338 w 6775947"/>
              <a:gd name="connsiteY179" fmla="*/ 3184129 h 4274857"/>
              <a:gd name="connsiteX180" fmla="*/ 3094892 w 6775947"/>
              <a:gd name="connsiteY180" fmla="*/ 2633144 h 4274857"/>
              <a:gd name="connsiteX181" fmla="*/ 3048000 w 6775947"/>
              <a:gd name="connsiteY181" fmla="*/ 2498329 h 4274857"/>
              <a:gd name="connsiteX182" fmla="*/ 3012830 w 6775947"/>
              <a:gd name="connsiteY182" fmla="*/ 2386960 h 4274857"/>
              <a:gd name="connsiteX183" fmla="*/ 3006969 w 6775947"/>
              <a:gd name="connsiteY183" fmla="*/ 2299037 h 4274857"/>
              <a:gd name="connsiteX184" fmla="*/ 2995246 w 6775947"/>
              <a:gd name="connsiteY184" fmla="*/ 1988375 h 4274857"/>
              <a:gd name="connsiteX185" fmla="*/ 2965938 w 6775947"/>
              <a:gd name="connsiteY185" fmla="*/ 1818391 h 4274857"/>
              <a:gd name="connsiteX186" fmla="*/ 2960077 w 6775947"/>
              <a:gd name="connsiteY186" fmla="*/ 1689437 h 4274857"/>
              <a:gd name="connsiteX187" fmla="*/ 2936630 w 6775947"/>
              <a:gd name="connsiteY187" fmla="*/ 1583929 h 4274857"/>
              <a:gd name="connsiteX188" fmla="*/ 2924907 w 6775947"/>
              <a:gd name="connsiteY188" fmla="*/ 1542898 h 4274857"/>
              <a:gd name="connsiteX189" fmla="*/ 2901461 w 6775947"/>
              <a:gd name="connsiteY189" fmla="*/ 1425667 h 4274857"/>
              <a:gd name="connsiteX190" fmla="*/ 2872154 w 6775947"/>
              <a:gd name="connsiteY190" fmla="*/ 1302575 h 4274857"/>
              <a:gd name="connsiteX191" fmla="*/ 2848707 w 6775947"/>
              <a:gd name="connsiteY191" fmla="*/ 1191206 h 4274857"/>
              <a:gd name="connsiteX192" fmla="*/ 2836984 w 6775947"/>
              <a:gd name="connsiteY192" fmla="*/ 1056391 h 4274857"/>
              <a:gd name="connsiteX193" fmla="*/ 2819400 w 6775947"/>
              <a:gd name="connsiteY193" fmla="*/ 968467 h 4274857"/>
              <a:gd name="connsiteX194" fmla="*/ 2813538 w 6775947"/>
              <a:gd name="connsiteY194" fmla="*/ 909852 h 4274857"/>
              <a:gd name="connsiteX195" fmla="*/ 2801815 w 6775947"/>
              <a:gd name="connsiteY195" fmla="*/ 816067 h 4274857"/>
              <a:gd name="connsiteX196" fmla="*/ 2795954 w 6775947"/>
              <a:gd name="connsiteY196" fmla="*/ 476098 h 4274857"/>
              <a:gd name="connsiteX197" fmla="*/ 2784230 w 6775947"/>
              <a:gd name="connsiteY197" fmla="*/ 335421 h 4274857"/>
              <a:gd name="connsiteX198" fmla="*/ 2754923 w 6775947"/>
              <a:gd name="connsiteY198" fmla="*/ 276806 h 4274857"/>
              <a:gd name="connsiteX199" fmla="*/ 2708030 w 6775947"/>
              <a:gd name="connsiteY199" fmla="*/ 177160 h 4274857"/>
              <a:gd name="connsiteX200" fmla="*/ 2702169 w 6775947"/>
              <a:gd name="connsiteY200" fmla="*/ 159575 h 4274857"/>
              <a:gd name="connsiteX201" fmla="*/ 2678723 w 6775947"/>
              <a:gd name="connsiteY201" fmla="*/ 130267 h 4274857"/>
              <a:gd name="connsiteX202" fmla="*/ 2602523 w 6775947"/>
              <a:gd name="connsiteY202" fmla="*/ 112683 h 4274857"/>
              <a:gd name="connsiteX203" fmla="*/ 2584938 w 6775947"/>
              <a:gd name="connsiteY203" fmla="*/ 106821 h 4274857"/>
              <a:gd name="connsiteX204" fmla="*/ 2514600 w 6775947"/>
              <a:gd name="connsiteY204" fmla="*/ 100960 h 4274857"/>
              <a:gd name="connsiteX205" fmla="*/ 2467707 w 6775947"/>
              <a:gd name="connsiteY205" fmla="*/ 36483 h 4274857"/>
              <a:gd name="connsiteX206" fmla="*/ 2403230 w 6775947"/>
              <a:gd name="connsiteY206" fmla="*/ 30621 h 4274857"/>
              <a:gd name="connsiteX207" fmla="*/ 2321169 w 6775947"/>
              <a:gd name="connsiteY207" fmla="*/ 24760 h 4274857"/>
              <a:gd name="connsiteX208" fmla="*/ 1793630 w 6775947"/>
              <a:gd name="connsiteY208" fmla="*/ 30621 h 4274857"/>
              <a:gd name="connsiteX209" fmla="*/ 1752600 w 6775947"/>
              <a:gd name="connsiteY209" fmla="*/ 42344 h 4274857"/>
              <a:gd name="connsiteX210" fmla="*/ 1717430 w 6775947"/>
              <a:gd name="connsiteY210" fmla="*/ 59929 h 4274857"/>
              <a:gd name="connsiteX211" fmla="*/ 1652954 w 6775947"/>
              <a:gd name="connsiteY211" fmla="*/ 65791 h 4274857"/>
              <a:gd name="connsiteX212" fmla="*/ 1371600 w 6775947"/>
              <a:gd name="connsiteY212" fmla="*/ 54067 h 4274857"/>
              <a:gd name="connsiteX213" fmla="*/ 826477 w 6775947"/>
              <a:gd name="connsiteY213" fmla="*/ 36483 h 4274857"/>
              <a:gd name="connsiteX214" fmla="*/ 451338 w 6775947"/>
              <a:gd name="connsiteY214" fmla="*/ 42344 h 4274857"/>
              <a:gd name="connsiteX215" fmla="*/ 375138 w 6775947"/>
              <a:gd name="connsiteY215" fmla="*/ 65791 h 4274857"/>
              <a:gd name="connsiteX216" fmla="*/ 199292 w 6775947"/>
              <a:gd name="connsiteY216" fmla="*/ 159575 h 4274857"/>
              <a:gd name="connsiteX217" fmla="*/ 146538 w 6775947"/>
              <a:gd name="connsiteY217" fmla="*/ 194744 h 4274857"/>
              <a:gd name="connsiteX218" fmla="*/ 29307 w 6775947"/>
              <a:gd name="connsiteY218" fmla="*/ 528852 h 4274857"/>
              <a:gd name="connsiteX219" fmla="*/ 0 w 6775947"/>
              <a:gd name="connsiteY219" fmla="*/ 898129 h 4274857"/>
              <a:gd name="connsiteX220" fmla="*/ 23446 w 6775947"/>
              <a:gd name="connsiteY220" fmla="*/ 2041129 h 4274857"/>
              <a:gd name="connsiteX221" fmla="*/ 93784 w 6775947"/>
              <a:gd name="connsiteY221" fmla="*/ 2316621 h 4274857"/>
              <a:gd name="connsiteX222" fmla="*/ 433754 w 6775947"/>
              <a:gd name="connsiteY222" fmla="*/ 2937944 h 4274857"/>
              <a:gd name="connsiteX223" fmla="*/ 662354 w 6775947"/>
              <a:gd name="connsiteY223" fmla="*/ 3231021 h 4274857"/>
              <a:gd name="connsiteX224" fmla="*/ 785446 w 6775947"/>
              <a:gd name="connsiteY224" fmla="*/ 3395144 h 4274857"/>
              <a:gd name="connsiteX225" fmla="*/ 1066800 w 6775947"/>
              <a:gd name="connsiteY225" fmla="*/ 3746837 h 4274857"/>
              <a:gd name="connsiteX226" fmla="*/ 1436077 w 6775947"/>
              <a:gd name="connsiteY226" fmla="*/ 4004744 h 4274857"/>
              <a:gd name="connsiteX227" fmla="*/ 1735015 w 6775947"/>
              <a:gd name="connsiteY227" fmla="*/ 4139560 h 4274857"/>
              <a:gd name="connsiteX228" fmla="*/ 1817077 w 6775947"/>
              <a:gd name="connsiteY228" fmla="*/ 4174729 h 4274857"/>
              <a:gd name="connsiteX229" fmla="*/ 1893277 w 6775947"/>
              <a:gd name="connsiteY229" fmla="*/ 4209898 h 4274857"/>
              <a:gd name="connsiteX230" fmla="*/ 2039815 w 6775947"/>
              <a:gd name="connsiteY230" fmla="*/ 4221621 h 4274857"/>
              <a:gd name="connsiteX231" fmla="*/ 2250830 w 6775947"/>
              <a:gd name="connsiteY231" fmla="*/ 4198175 h 4274857"/>
              <a:gd name="connsiteX232" fmla="*/ 2286000 w 6775947"/>
              <a:gd name="connsiteY232" fmla="*/ 4192314 h 4274857"/>
              <a:gd name="connsiteX233" fmla="*/ 2450123 w 6775947"/>
              <a:gd name="connsiteY233" fmla="*/ 4198175 h 4274857"/>
              <a:gd name="connsiteX234" fmla="*/ 2567354 w 6775947"/>
              <a:gd name="connsiteY234" fmla="*/ 4209898 h 4274857"/>
              <a:gd name="connsiteX235" fmla="*/ 2608384 w 6775947"/>
              <a:gd name="connsiteY235" fmla="*/ 4215760 h 4274857"/>
              <a:gd name="connsiteX236" fmla="*/ 2813538 w 6775947"/>
              <a:gd name="connsiteY236" fmla="*/ 4221621 h 4274857"/>
              <a:gd name="connsiteX237" fmla="*/ 2924907 w 6775947"/>
              <a:gd name="connsiteY237" fmla="*/ 4233344 h 4274857"/>
              <a:gd name="connsiteX238" fmla="*/ 2960077 w 6775947"/>
              <a:gd name="connsiteY238" fmla="*/ 4239206 h 4274857"/>
              <a:gd name="connsiteX239" fmla="*/ 3006969 w 6775947"/>
              <a:gd name="connsiteY239" fmla="*/ 4245067 h 4274857"/>
              <a:gd name="connsiteX240" fmla="*/ 3106615 w 6775947"/>
              <a:gd name="connsiteY240" fmla="*/ 4262652 h 4274857"/>
              <a:gd name="connsiteX241" fmla="*/ 3130061 w 6775947"/>
              <a:gd name="connsiteY241" fmla="*/ 4268514 h 4274857"/>
              <a:gd name="connsiteX242" fmla="*/ 3294184 w 6775947"/>
              <a:gd name="connsiteY242" fmla="*/ 4262652 h 4274857"/>
              <a:gd name="connsiteX243" fmla="*/ 3323492 w 6775947"/>
              <a:gd name="connsiteY243" fmla="*/ 4256791 h 4274857"/>
              <a:gd name="connsiteX244" fmla="*/ 3364523 w 6775947"/>
              <a:gd name="connsiteY244" fmla="*/ 4250929 h 4274857"/>
              <a:gd name="connsiteX245" fmla="*/ 4525107 w 6775947"/>
              <a:gd name="connsiteY245" fmla="*/ 4256791 h 4274857"/>
              <a:gd name="connsiteX246" fmla="*/ 4759569 w 6775947"/>
              <a:gd name="connsiteY246" fmla="*/ 4209898 h 4274857"/>
              <a:gd name="connsiteX247" fmla="*/ 5175738 w 6775947"/>
              <a:gd name="connsiteY247" fmla="*/ 4186452 h 4274857"/>
              <a:gd name="connsiteX248" fmla="*/ 5216769 w 6775947"/>
              <a:gd name="connsiteY248" fmla="*/ 4157144 h 4274857"/>
              <a:gd name="connsiteX249" fmla="*/ 5234354 w 6775947"/>
              <a:gd name="connsiteY249" fmla="*/ 4133698 h 4274857"/>
              <a:gd name="connsiteX250" fmla="*/ 5251938 w 6775947"/>
              <a:gd name="connsiteY250" fmla="*/ 4116114 h 4274857"/>
              <a:gd name="connsiteX251" fmla="*/ 5275384 w 6775947"/>
              <a:gd name="connsiteY251" fmla="*/ 4086806 h 4274857"/>
              <a:gd name="connsiteX252" fmla="*/ 5404338 w 6775947"/>
              <a:gd name="connsiteY252" fmla="*/ 3998883 h 4274857"/>
              <a:gd name="connsiteX253" fmla="*/ 5498123 w 6775947"/>
              <a:gd name="connsiteY253" fmla="*/ 3910960 h 4274857"/>
              <a:gd name="connsiteX254" fmla="*/ 5550877 w 6775947"/>
              <a:gd name="connsiteY254" fmla="*/ 3875791 h 4274857"/>
              <a:gd name="connsiteX255" fmla="*/ 5715000 w 6775947"/>
              <a:gd name="connsiteY255" fmla="*/ 3699944 h 4274857"/>
              <a:gd name="connsiteX256" fmla="*/ 5802923 w 6775947"/>
              <a:gd name="connsiteY256" fmla="*/ 3594437 h 4274857"/>
              <a:gd name="connsiteX257" fmla="*/ 5838092 w 6775947"/>
              <a:gd name="connsiteY257" fmla="*/ 3524098 h 4274857"/>
              <a:gd name="connsiteX258" fmla="*/ 5879123 w 6775947"/>
              <a:gd name="connsiteY258" fmla="*/ 3453760 h 4274857"/>
              <a:gd name="connsiteX259" fmla="*/ 5908430 w 6775947"/>
              <a:gd name="connsiteY259" fmla="*/ 3424452 h 4274857"/>
              <a:gd name="connsiteX260" fmla="*/ 5926015 w 6775947"/>
              <a:gd name="connsiteY260" fmla="*/ 3389283 h 4274857"/>
              <a:gd name="connsiteX261" fmla="*/ 6119446 w 6775947"/>
              <a:gd name="connsiteY261" fmla="*/ 3195852 h 4274857"/>
              <a:gd name="connsiteX262" fmla="*/ 6236677 w 6775947"/>
              <a:gd name="connsiteY262" fmla="*/ 3072760 h 4274857"/>
              <a:gd name="connsiteX263" fmla="*/ 6318738 w 6775947"/>
              <a:gd name="connsiteY263" fmla="*/ 2937944 h 4274857"/>
              <a:gd name="connsiteX264" fmla="*/ 6330461 w 6775947"/>
              <a:gd name="connsiteY264" fmla="*/ 2879329 h 4274857"/>
              <a:gd name="connsiteX265" fmla="*/ 6453554 w 6775947"/>
              <a:gd name="connsiteY265" fmla="*/ 2551083 h 4274857"/>
              <a:gd name="connsiteX266" fmla="*/ 6547338 w 6775947"/>
              <a:gd name="connsiteY266" fmla="*/ 2375237 h 4274857"/>
              <a:gd name="connsiteX267" fmla="*/ 6629400 w 6775947"/>
              <a:gd name="connsiteY267" fmla="*/ 2240421 h 4274857"/>
              <a:gd name="connsiteX268" fmla="*/ 6646984 w 6775947"/>
              <a:gd name="connsiteY268" fmla="*/ 2205252 h 4274857"/>
              <a:gd name="connsiteX269" fmla="*/ 6705600 w 6775947"/>
              <a:gd name="connsiteY269" fmla="*/ 2152498 h 4274857"/>
              <a:gd name="connsiteX270" fmla="*/ 6723184 w 6775947"/>
              <a:gd name="connsiteY270" fmla="*/ 2099744 h 4274857"/>
              <a:gd name="connsiteX271" fmla="*/ 6764215 w 6775947"/>
              <a:gd name="connsiteY271" fmla="*/ 1859421 h 4274857"/>
              <a:gd name="connsiteX272" fmla="*/ 6764215 w 6775947"/>
              <a:gd name="connsiteY272" fmla="*/ 804344 h 4274857"/>
              <a:gd name="connsiteX273" fmla="*/ 6740769 w 6775947"/>
              <a:gd name="connsiteY273" fmla="*/ 218191 h 4274857"/>
              <a:gd name="connsiteX274" fmla="*/ 6729046 w 6775947"/>
              <a:gd name="connsiteY274" fmla="*/ 147852 h 4274857"/>
              <a:gd name="connsiteX275" fmla="*/ 6723184 w 6775947"/>
              <a:gd name="connsiteY275" fmla="*/ 124406 h 4274857"/>
              <a:gd name="connsiteX276" fmla="*/ 6670430 w 6775947"/>
              <a:gd name="connsiteY276" fmla="*/ 77514 h 4274857"/>
              <a:gd name="connsiteX277" fmla="*/ 6559061 w 6775947"/>
              <a:gd name="connsiteY277" fmla="*/ 48206 h 4274857"/>
              <a:gd name="connsiteX278" fmla="*/ 6506307 w 6775947"/>
              <a:gd name="connsiteY278" fmla="*/ 18898 h 4274857"/>
              <a:gd name="connsiteX279" fmla="*/ 6477000 w 6775947"/>
              <a:gd name="connsiteY279" fmla="*/ 7175 h 4274857"/>
              <a:gd name="connsiteX280" fmla="*/ 6371492 w 6775947"/>
              <a:gd name="connsiteY280" fmla="*/ 36483 h 4274857"/>
              <a:gd name="connsiteX281" fmla="*/ 5597769 w 6775947"/>
              <a:gd name="connsiteY281" fmla="*/ 7175 h 4274857"/>
              <a:gd name="connsiteX282" fmla="*/ 5533292 w 6775947"/>
              <a:gd name="connsiteY282" fmla="*/ 1314 h 4274857"/>
              <a:gd name="connsiteX283" fmla="*/ 5175738 w 6775947"/>
              <a:gd name="connsiteY283" fmla="*/ 7175 h 4274857"/>
              <a:gd name="connsiteX284" fmla="*/ 5064369 w 6775947"/>
              <a:gd name="connsiteY284" fmla="*/ 18898 h 4274857"/>
              <a:gd name="connsiteX285" fmla="*/ 4360984 w 6775947"/>
              <a:gd name="connsiteY285" fmla="*/ 30621 h 4274857"/>
              <a:gd name="connsiteX286" fmla="*/ 4314092 w 6775947"/>
              <a:gd name="connsiteY286" fmla="*/ 83375 h 4274857"/>
              <a:gd name="connsiteX287" fmla="*/ 4302369 w 6775947"/>
              <a:gd name="connsiteY287" fmla="*/ 141991 h 4274857"/>
              <a:gd name="connsiteX0" fmla="*/ 4302369 w 6775947"/>
              <a:gd name="connsiteY0" fmla="*/ 141991 h 4274857"/>
              <a:gd name="connsiteX1" fmla="*/ 4302369 w 6775947"/>
              <a:gd name="connsiteY1" fmla="*/ 141991 h 4274857"/>
              <a:gd name="connsiteX2" fmla="*/ 4232030 w 6775947"/>
              <a:gd name="connsiteY2" fmla="*/ 106821 h 4274857"/>
              <a:gd name="connsiteX3" fmla="*/ 4208584 w 6775947"/>
              <a:gd name="connsiteY3" fmla="*/ 89237 h 4274857"/>
              <a:gd name="connsiteX4" fmla="*/ 4149969 w 6775947"/>
              <a:gd name="connsiteY4" fmla="*/ 71652 h 4274857"/>
              <a:gd name="connsiteX5" fmla="*/ 4097215 w 6775947"/>
              <a:gd name="connsiteY5" fmla="*/ 59929 h 4274857"/>
              <a:gd name="connsiteX6" fmla="*/ 4073769 w 6775947"/>
              <a:gd name="connsiteY6" fmla="*/ 54067 h 4274857"/>
              <a:gd name="connsiteX7" fmla="*/ 3927230 w 6775947"/>
              <a:gd name="connsiteY7" fmla="*/ 42344 h 4274857"/>
              <a:gd name="connsiteX8" fmla="*/ 3745523 w 6775947"/>
              <a:gd name="connsiteY8" fmla="*/ 18898 h 4274857"/>
              <a:gd name="connsiteX9" fmla="*/ 3716215 w 6775947"/>
              <a:gd name="connsiteY9" fmla="*/ 7175 h 4274857"/>
              <a:gd name="connsiteX10" fmla="*/ 3563815 w 6775947"/>
              <a:gd name="connsiteY10" fmla="*/ 7175 h 4274857"/>
              <a:gd name="connsiteX11" fmla="*/ 3499338 w 6775947"/>
              <a:gd name="connsiteY11" fmla="*/ 24760 h 4274857"/>
              <a:gd name="connsiteX12" fmla="*/ 3458307 w 6775947"/>
              <a:gd name="connsiteY12" fmla="*/ 30621 h 4274857"/>
              <a:gd name="connsiteX13" fmla="*/ 3376246 w 6775947"/>
              <a:gd name="connsiteY13" fmla="*/ 42344 h 4274857"/>
              <a:gd name="connsiteX14" fmla="*/ 3352800 w 6775947"/>
              <a:gd name="connsiteY14" fmla="*/ 48206 h 4274857"/>
              <a:gd name="connsiteX15" fmla="*/ 3288323 w 6775947"/>
              <a:gd name="connsiteY15" fmla="*/ 77514 h 4274857"/>
              <a:gd name="connsiteX16" fmla="*/ 3194538 w 6775947"/>
              <a:gd name="connsiteY16" fmla="*/ 95098 h 4274857"/>
              <a:gd name="connsiteX17" fmla="*/ 3112477 w 6775947"/>
              <a:gd name="connsiteY17" fmla="*/ 124406 h 4274857"/>
              <a:gd name="connsiteX18" fmla="*/ 3059723 w 6775947"/>
              <a:gd name="connsiteY18" fmla="*/ 194744 h 4274857"/>
              <a:gd name="connsiteX19" fmla="*/ 2971800 w 6775947"/>
              <a:gd name="connsiteY19" fmla="*/ 335421 h 4274857"/>
              <a:gd name="connsiteX20" fmla="*/ 2960077 w 6775947"/>
              <a:gd name="connsiteY20" fmla="*/ 382314 h 4274857"/>
              <a:gd name="connsiteX21" fmla="*/ 2948354 w 6775947"/>
              <a:gd name="connsiteY21" fmla="*/ 423344 h 4274857"/>
              <a:gd name="connsiteX22" fmla="*/ 2954215 w 6775947"/>
              <a:gd name="connsiteY22" fmla="*/ 698837 h 4274857"/>
              <a:gd name="connsiteX23" fmla="*/ 2971800 w 6775947"/>
              <a:gd name="connsiteY23" fmla="*/ 892267 h 4274857"/>
              <a:gd name="connsiteX24" fmla="*/ 2989384 w 6775947"/>
              <a:gd name="connsiteY24" fmla="*/ 1015360 h 4274857"/>
              <a:gd name="connsiteX25" fmla="*/ 3018692 w 6775947"/>
              <a:gd name="connsiteY25" fmla="*/ 1115006 h 4274857"/>
              <a:gd name="connsiteX26" fmla="*/ 3036277 w 6775947"/>
              <a:gd name="connsiteY26" fmla="*/ 1191206 h 4274857"/>
              <a:gd name="connsiteX27" fmla="*/ 3042138 w 6775947"/>
              <a:gd name="connsiteY27" fmla="*/ 1255683 h 4274857"/>
              <a:gd name="connsiteX28" fmla="*/ 3071446 w 6775947"/>
              <a:gd name="connsiteY28" fmla="*/ 1314298 h 4274857"/>
              <a:gd name="connsiteX29" fmla="*/ 3171092 w 6775947"/>
              <a:gd name="connsiteY29" fmla="*/ 1537037 h 4274857"/>
              <a:gd name="connsiteX30" fmla="*/ 3200400 w 6775947"/>
              <a:gd name="connsiteY30" fmla="*/ 1589791 h 4274857"/>
              <a:gd name="connsiteX31" fmla="*/ 3229707 w 6775947"/>
              <a:gd name="connsiteY31" fmla="*/ 1636683 h 4274857"/>
              <a:gd name="connsiteX32" fmla="*/ 3276600 w 6775947"/>
              <a:gd name="connsiteY32" fmla="*/ 1724606 h 4274857"/>
              <a:gd name="connsiteX33" fmla="*/ 3341077 w 6775947"/>
              <a:gd name="connsiteY33" fmla="*/ 1830114 h 4274857"/>
              <a:gd name="connsiteX34" fmla="*/ 3446584 w 6775947"/>
              <a:gd name="connsiteY34" fmla="*/ 1935621 h 4274857"/>
              <a:gd name="connsiteX35" fmla="*/ 3511061 w 6775947"/>
              <a:gd name="connsiteY35" fmla="*/ 2011821 h 4274857"/>
              <a:gd name="connsiteX36" fmla="*/ 3616569 w 6775947"/>
              <a:gd name="connsiteY36" fmla="*/ 2093883 h 4274857"/>
              <a:gd name="connsiteX37" fmla="*/ 3675184 w 6775947"/>
              <a:gd name="connsiteY37" fmla="*/ 2134914 h 4274857"/>
              <a:gd name="connsiteX38" fmla="*/ 3774830 w 6775947"/>
              <a:gd name="connsiteY38" fmla="*/ 2211114 h 4274857"/>
              <a:gd name="connsiteX39" fmla="*/ 3833446 w 6775947"/>
              <a:gd name="connsiteY39" fmla="*/ 2222837 h 4274857"/>
              <a:gd name="connsiteX40" fmla="*/ 3903784 w 6775947"/>
              <a:gd name="connsiteY40" fmla="*/ 2240421 h 4274857"/>
              <a:gd name="connsiteX41" fmla="*/ 3944815 w 6775947"/>
              <a:gd name="connsiteY41" fmla="*/ 2246283 h 4274857"/>
              <a:gd name="connsiteX42" fmla="*/ 4050323 w 6775947"/>
              <a:gd name="connsiteY42" fmla="*/ 2263867 h 4274857"/>
              <a:gd name="connsiteX43" fmla="*/ 4073769 w 6775947"/>
              <a:gd name="connsiteY43" fmla="*/ 2269729 h 4274857"/>
              <a:gd name="connsiteX44" fmla="*/ 4155830 w 6775947"/>
              <a:gd name="connsiteY44" fmla="*/ 2275591 h 4274857"/>
              <a:gd name="connsiteX45" fmla="*/ 4255477 w 6775947"/>
              <a:gd name="connsiteY45" fmla="*/ 2334206 h 4274857"/>
              <a:gd name="connsiteX46" fmla="*/ 4284784 w 6775947"/>
              <a:gd name="connsiteY46" fmla="*/ 2345929 h 4274857"/>
              <a:gd name="connsiteX47" fmla="*/ 4378569 w 6775947"/>
              <a:gd name="connsiteY47" fmla="*/ 2351791 h 4274857"/>
              <a:gd name="connsiteX48" fmla="*/ 4448907 w 6775947"/>
              <a:gd name="connsiteY48" fmla="*/ 2357652 h 4274857"/>
              <a:gd name="connsiteX49" fmla="*/ 4548554 w 6775947"/>
              <a:gd name="connsiteY49" fmla="*/ 2351791 h 4274857"/>
              <a:gd name="connsiteX50" fmla="*/ 4548553 w 6775947"/>
              <a:gd name="connsiteY50" fmla="*/ 2369375 h 4274857"/>
              <a:gd name="connsiteX51" fmla="*/ 4583722 w 6775947"/>
              <a:gd name="connsiteY51" fmla="*/ 2351791 h 4274857"/>
              <a:gd name="connsiteX52" fmla="*/ 4677507 w 6775947"/>
              <a:gd name="connsiteY52" fmla="*/ 2269729 h 4274857"/>
              <a:gd name="connsiteX53" fmla="*/ 4736123 w 6775947"/>
              <a:gd name="connsiteY53" fmla="*/ 2216976 h 4274857"/>
              <a:gd name="connsiteX54" fmla="*/ 4747846 w 6775947"/>
              <a:gd name="connsiteY54" fmla="*/ 2146637 h 4274857"/>
              <a:gd name="connsiteX55" fmla="*/ 4706815 w 6775947"/>
              <a:gd name="connsiteY55" fmla="*/ 2052852 h 4274857"/>
              <a:gd name="connsiteX56" fmla="*/ 4695092 w 6775947"/>
              <a:gd name="connsiteY56" fmla="*/ 2005960 h 4274857"/>
              <a:gd name="connsiteX57" fmla="*/ 4683369 w 6775947"/>
              <a:gd name="connsiteY57" fmla="*/ 1970791 h 4274857"/>
              <a:gd name="connsiteX58" fmla="*/ 4665784 w 6775947"/>
              <a:gd name="connsiteY58" fmla="*/ 1865283 h 4274857"/>
              <a:gd name="connsiteX59" fmla="*/ 4636477 w 6775947"/>
              <a:gd name="connsiteY59" fmla="*/ 1736329 h 4274857"/>
              <a:gd name="connsiteX60" fmla="*/ 4613030 w 6775947"/>
              <a:gd name="connsiteY60" fmla="*/ 1454975 h 4274857"/>
              <a:gd name="connsiteX61" fmla="*/ 4601307 w 6775947"/>
              <a:gd name="connsiteY61" fmla="*/ 1408083 h 4274857"/>
              <a:gd name="connsiteX62" fmla="*/ 4583723 w 6775947"/>
              <a:gd name="connsiteY62" fmla="*/ 1372914 h 4274857"/>
              <a:gd name="connsiteX63" fmla="*/ 4577861 w 6775947"/>
              <a:gd name="connsiteY63" fmla="*/ 1355329 h 4274857"/>
              <a:gd name="connsiteX64" fmla="*/ 4566138 w 6775947"/>
              <a:gd name="connsiteY64" fmla="*/ 1284991 h 4274857"/>
              <a:gd name="connsiteX65" fmla="*/ 4548554 w 6775947"/>
              <a:gd name="connsiteY65" fmla="*/ 1202929 h 4274857"/>
              <a:gd name="connsiteX66" fmla="*/ 4542692 w 6775947"/>
              <a:gd name="connsiteY66" fmla="*/ 1150175 h 4274857"/>
              <a:gd name="connsiteX67" fmla="*/ 4478215 w 6775947"/>
              <a:gd name="connsiteY67" fmla="*/ 1079837 h 4274857"/>
              <a:gd name="connsiteX68" fmla="*/ 4460630 w 6775947"/>
              <a:gd name="connsiteY68" fmla="*/ 1062252 h 4274857"/>
              <a:gd name="connsiteX69" fmla="*/ 4437184 w 6775947"/>
              <a:gd name="connsiteY69" fmla="*/ 1021221 h 4274857"/>
              <a:gd name="connsiteX70" fmla="*/ 4419600 w 6775947"/>
              <a:gd name="connsiteY70" fmla="*/ 980191 h 4274857"/>
              <a:gd name="connsiteX71" fmla="*/ 4378569 w 6775947"/>
              <a:gd name="connsiteY71" fmla="*/ 862960 h 4274857"/>
              <a:gd name="connsiteX72" fmla="*/ 4325815 w 6775947"/>
              <a:gd name="connsiteY72" fmla="*/ 821929 h 4274857"/>
              <a:gd name="connsiteX73" fmla="*/ 4308230 w 6775947"/>
              <a:gd name="connsiteY73" fmla="*/ 804344 h 4274857"/>
              <a:gd name="connsiteX74" fmla="*/ 4296507 w 6775947"/>
              <a:gd name="connsiteY74" fmla="*/ 757452 h 4274857"/>
              <a:gd name="connsiteX75" fmla="*/ 4325815 w 6775947"/>
              <a:gd name="connsiteY75" fmla="*/ 499544 h 4274857"/>
              <a:gd name="connsiteX76" fmla="*/ 4314092 w 6775947"/>
              <a:gd name="connsiteY76" fmla="*/ 417483 h 4274857"/>
              <a:gd name="connsiteX77" fmla="*/ 4319954 w 6775947"/>
              <a:gd name="connsiteY77" fmla="*/ 394037 h 4274857"/>
              <a:gd name="connsiteX78" fmla="*/ 4337538 w 6775947"/>
              <a:gd name="connsiteY78" fmla="*/ 288529 h 4274857"/>
              <a:gd name="connsiteX79" fmla="*/ 4343400 w 6775947"/>
              <a:gd name="connsiteY79" fmla="*/ 253360 h 4274857"/>
              <a:gd name="connsiteX80" fmla="*/ 4355123 w 6775947"/>
              <a:gd name="connsiteY80" fmla="*/ 171299 h 4274857"/>
              <a:gd name="connsiteX81" fmla="*/ 4360984 w 6775947"/>
              <a:gd name="connsiteY81" fmla="*/ 77513 h 4274857"/>
              <a:gd name="connsiteX82" fmla="*/ 4495800 w 6775947"/>
              <a:gd name="connsiteY82" fmla="*/ 136129 h 4274857"/>
              <a:gd name="connsiteX83" fmla="*/ 4554415 w 6775947"/>
              <a:gd name="connsiteY83" fmla="*/ 106821 h 4274857"/>
              <a:gd name="connsiteX84" fmla="*/ 4613030 w 6775947"/>
              <a:gd name="connsiteY84" fmla="*/ 83375 h 4274857"/>
              <a:gd name="connsiteX85" fmla="*/ 4671646 w 6775947"/>
              <a:gd name="connsiteY85" fmla="*/ 77514 h 4274857"/>
              <a:gd name="connsiteX86" fmla="*/ 5246077 w 6775947"/>
              <a:gd name="connsiteY86" fmla="*/ 71652 h 4274857"/>
              <a:gd name="connsiteX87" fmla="*/ 5304692 w 6775947"/>
              <a:gd name="connsiteY87" fmla="*/ 83375 h 4274857"/>
              <a:gd name="connsiteX88" fmla="*/ 5345723 w 6775947"/>
              <a:gd name="connsiteY88" fmla="*/ 89237 h 4274857"/>
              <a:gd name="connsiteX89" fmla="*/ 5527430 w 6775947"/>
              <a:gd name="connsiteY89" fmla="*/ 95098 h 4274857"/>
              <a:gd name="connsiteX90" fmla="*/ 5545015 w 6775947"/>
              <a:gd name="connsiteY90" fmla="*/ 100960 h 4274857"/>
              <a:gd name="connsiteX91" fmla="*/ 5586046 w 6775947"/>
              <a:gd name="connsiteY91" fmla="*/ 136129 h 4274857"/>
              <a:gd name="connsiteX92" fmla="*/ 5615354 w 6775947"/>
              <a:gd name="connsiteY92" fmla="*/ 159575 h 4274857"/>
              <a:gd name="connsiteX93" fmla="*/ 5632938 w 6775947"/>
              <a:gd name="connsiteY93" fmla="*/ 165437 h 4274857"/>
              <a:gd name="connsiteX94" fmla="*/ 5656384 w 6775947"/>
              <a:gd name="connsiteY94" fmla="*/ 183021 h 4274857"/>
              <a:gd name="connsiteX95" fmla="*/ 5709138 w 6775947"/>
              <a:gd name="connsiteY95" fmla="*/ 218191 h 4274857"/>
              <a:gd name="connsiteX96" fmla="*/ 5738446 w 6775947"/>
              <a:gd name="connsiteY96" fmla="*/ 247498 h 4274857"/>
              <a:gd name="connsiteX97" fmla="*/ 5756030 w 6775947"/>
              <a:gd name="connsiteY97" fmla="*/ 282667 h 4274857"/>
              <a:gd name="connsiteX98" fmla="*/ 5791200 w 6775947"/>
              <a:gd name="connsiteY98" fmla="*/ 341283 h 4274857"/>
              <a:gd name="connsiteX99" fmla="*/ 5756030 w 6775947"/>
              <a:gd name="connsiteY99" fmla="*/ 593329 h 4274857"/>
              <a:gd name="connsiteX100" fmla="*/ 5709138 w 6775947"/>
              <a:gd name="connsiteY100" fmla="*/ 751591 h 4274857"/>
              <a:gd name="connsiteX101" fmla="*/ 5650523 w 6775947"/>
              <a:gd name="connsiteY101" fmla="*/ 880544 h 4274857"/>
              <a:gd name="connsiteX102" fmla="*/ 5597769 w 6775947"/>
              <a:gd name="connsiteY102" fmla="*/ 1009498 h 4274857"/>
              <a:gd name="connsiteX103" fmla="*/ 5591907 w 6775947"/>
              <a:gd name="connsiteY103" fmla="*/ 1038806 h 4274857"/>
              <a:gd name="connsiteX104" fmla="*/ 5586046 w 6775947"/>
              <a:gd name="connsiteY104" fmla="*/ 1056391 h 4274857"/>
              <a:gd name="connsiteX105" fmla="*/ 5556738 w 6775947"/>
              <a:gd name="connsiteY105" fmla="*/ 1173621 h 4274857"/>
              <a:gd name="connsiteX106" fmla="*/ 5515707 w 6775947"/>
              <a:gd name="connsiteY106" fmla="*/ 1279129 h 4274857"/>
              <a:gd name="connsiteX107" fmla="*/ 5480538 w 6775947"/>
              <a:gd name="connsiteY107" fmla="*/ 1396360 h 4274857"/>
              <a:gd name="connsiteX108" fmla="*/ 5468815 w 6775947"/>
              <a:gd name="connsiteY108" fmla="*/ 1425667 h 4274857"/>
              <a:gd name="connsiteX109" fmla="*/ 5439507 w 6775947"/>
              <a:gd name="connsiteY109" fmla="*/ 1478421 h 4274857"/>
              <a:gd name="connsiteX110" fmla="*/ 5421923 w 6775947"/>
              <a:gd name="connsiteY110" fmla="*/ 1531175 h 4274857"/>
              <a:gd name="connsiteX111" fmla="*/ 5392615 w 6775947"/>
              <a:gd name="connsiteY111" fmla="*/ 1607375 h 4274857"/>
              <a:gd name="connsiteX112" fmla="*/ 5369169 w 6775947"/>
              <a:gd name="connsiteY112" fmla="*/ 1677714 h 4274857"/>
              <a:gd name="connsiteX113" fmla="*/ 5351584 w 6775947"/>
              <a:gd name="connsiteY113" fmla="*/ 1835975 h 4274857"/>
              <a:gd name="connsiteX114" fmla="*/ 5339861 w 6775947"/>
              <a:gd name="connsiteY114" fmla="*/ 1865283 h 4274857"/>
              <a:gd name="connsiteX115" fmla="*/ 5334000 w 6775947"/>
              <a:gd name="connsiteY115" fmla="*/ 1888729 h 4274857"/>
              <a:gd name="connsiteX116" fmla="*/ 5316415 w 6775947"/>
              <a:gd name="connsiteY116" fmla="*/ 1970791 h 4274857"/>
              <a:gd name="connsiteX117" fmla="*/ 5292969 w 6775947"/>
              <a:gd name="connsiteY117" fmla="*/ 2005960 h 4274857"/>
              <a:gd name="connsiteX118" fmla="*/ 5269523 w 6775947"/>
              <a:gd name="connsiteY118" fmla="*/ 2052852 h 4274857"/>
              <a:gd name="connsiteX119" fmla="*/ 5257800 w 6775947"/>
              <a:gd name="connsiteY119" fmla="*/ 2076298 h 4274857"/>
              <a:gd name="connsiteX120" fmla="*/ 5240215 w 6775947"/>
              <a:gd name="connsiteY120" fmla="*/ 2099744 h 4274857"/>
              <a:gd name="connsiteX121" fmla="*/ 5234354 w 6775947"/>
              <a:gd name="connsiteY121" fmla="*/ 2129052 h 4274857"/>
              <a:gd name="connsiteX122" fmla="*/ 5222630 w 6775947"/>
              <a:gd name="connsiteY122" fmla="*/ 2140775 h 4274857"/>
              <a:gd name="connsiteX123" fmla="*/ 5210907 w 6775947"/>
              <a:gd name="connsiteY123" fmla="*/ 2164221 h 4274857"/>
              <a:gd name="connsiteX124" fmla="*/ 5193323 w 6775947"/>
              <a:gd name="connsiteY124" fmla="*/ 2187667 h 4274857"/>
              <a:gd name="connsiteX125" fmla="*/ 5175738 w 6775947"/>
              <a:gd name="connsiteY125" fmla="*/ 2263867 h 4274857"/>
              <a:gd name="connsiteX126" fmla="*/ 5216769 w 6775947"/>
              <a:gd name="connsiteY126" fmla="*/ 2304898 h 4274857"/>
              <a:gd name="connsiteX127" fmla="*/ 5234353 w 6775947"/>
              <a:gd name="connsiteY127" fmla="*/ 2345928 h 4274857"/>
              <a:gd name="connsiteX128" fmla="*/ 5251939 w 6775947"/>
              <a:gd name="connsiteY128" fmla="*/ 2357653 h 4274857"/>
              <a:gd name="connsiteX129" fmla="*/ 5281246 w 6775947"/>
              <a:gd name="connsiteY129" fmla="*/ 2427991 h 4274857"/>
              <a:gd name="connsiteX130" fmla="*/ 5287107 w 6775947"/>
              <a:gd name="connsiteY130" fmla="*/ 2556944 h 4274857"/>
              <a:gd name="connsiteX131" fmla="*/ 5298830 w 6775947"/>
              <a:gd name="connsiteY131" fmla="*/ 2615560 h 4274857"/>
              <a:gd name="connsiteX132" fmla="*/ 5310554 w 6775947"/>
              <a:gd name="connsiteY132" fmla="*/ 2721067 h 4274857"/>
              <a:gd name="connsiteX133" fmla="*/ 5316415 w 6775947"/>
              <a:gd name="connsiteY133" fmla="*/ 2885191 h 4274857"/>
              <a:gd name="connsiteX134" fmla="*/ 5357446 w 6775947"/>
              <a:gd name="connsiteY134" fmla="*/ 2978975 h 4274857"/>
              <a:gd name="connsiteX135" fmla="*/ 5363307 w 6775947"/>
              <a:gd name="connsiteY135" fmla="*/ 3014144 h 4274857"/>
              <a:gd name="connsiteX136" fmla="*/ 5380892 w 6775947"/>
              <a:gd name="connsiteY136" fmla="*/ 3037591 h 4274857"/>
              <a:gd name="connsiteX137" fmla="*/ 5386754 w 6775947"/>
              <a:gd name="connsiteY137" fmla="*/ 3084483 h 4274857"/>
              <a:gd name="connsiteX138" fmla="*/ 5404338 w 6775947"/>
              <a:gd name="connsiteY138" fmla="*/ 3131375 h 4274857"/>
              <a:gd name="connsiteX139" fmla="*/ 5404338 w 6775947"/>
              <a:gd name="connsiteY139" fmla="*/ 3324806 h 4274857"/>
              <a:gd name="connsiteX140" fmla="*/ 5398477 w 6775947"/>
              <a:gd name="connsiteY140" fmla="*/ 3823037 h 4274857"/>
              <a:gd name="connsiteX141" fmla="*/ 5380892 w 6775947"/>
              <a:gd name="connsiteY141" fmla="*/ 3881652 h 4274857"/>
              <a:gd name="connsiteX142" fmla="*/ 5369169 w 6775947"/>
              <a:gd name="connsiteY142" fmla="*/ 3916821 h 4274857"/>
              <a:gd name="connsiteX143" fmla="*/ 5339861 w 6775947"/>
              <a:gd name="connsiteY143" fmla="*/ 3946129 h 4274857"/>
              <a:gd name="connsiteX144" fmla="*/ 5322277 w 6775947"/>
              <a:gd name="connsiteY144" fmla="*/ 3981298 h 4274857"/>
              <a:gd name="connsiteX145" fmla="*/ 5257800 w 6775947"/>
              <a:gd name="connsiteY145" fmla="*/ 4057498 h 4274857"/>
              <a:gd name="connsiteX146" fmla="*/ 5228492 w 6775947"/>
              <a:gd name="connsiteY146" fmla="*/ 4080944 h 4274857"/>
              <a:gd name="connsiteX147" fmla="*/ 5146430 w 6775947"/>
              <a:gd name="connsiteY147" fmla="*/ 4121975 h 4274857"/>
              <a:gd name="connsiteX148" fmla="*/ 5117123 w 6775947"/>
              <a:gd name="connsiteY148" fmla="*/ 4139560 h 4274857"/>
              <a:gd name="connsiteX149" fmla="*/ 5087815 w 6775947"/>
              <a:gd name="connsiteY149" fmla="*/ 4145421 h 4274857"/>
              <a:gd name="connsiteX150" fmla="*/ 4988169 w 6775947"/>
              <a:gd name="connsiteY150" fmla="*/ 4163006 h 4274857"/>
              <a:gd name="connsiteX151" fmla="*/ 4753707 w 6775947"/>
              <a:gd name="connsiteY151" fmla="*/ 4151283 h 4274857"/>
              <a:gd name="connsiteX152" fmla="*/ 4695092 w 6775947"/>
              <a:gd name="connsiteY152" fmla="*/ 4139560 h 4274857"/>
              <a:gd name="connsiteX153" fmla="*/ 4589584 w 6775947"/>
              <a:gd name="connsiteY153" fmla="*/ 4151283 h 4274857"/>
              <a:gd name="connsiteX154" fmla="*/ 4560277 w 6775947"/>
              <a:gd name="connsiteY154" fmla="*/ 4163006 h 4274857"/>
              <a:gd name="connsiteX155" fmla="*/ 4484077 w 6775947"/>
              <a:gd name="connsiteY155" fmla="*/ 4180591 h 4274857"/>
              <a:gd name="connsiteX156" fmla="*/ 4443046 w 6775947"/>
              <a:gd name="connsiteY156" fmla="*/ 4198175 h 4274857"/>
              <a:gd name="connsiteX157" fmla="*/ 4413738 w 6775947"/>
              <a:gd name="connsiteY157" fmla="*/ 4204037 h 4274857"/>
              <a:gd name="connsiteX158" fmla="*/ 4355123 w 6775947"/>
              <a:gd name="connsiteY158" fmla="*/ 4215760 h 4274857"/>
              <a:gd name="connsiteX159" fmla="*/ 4273061 w 6775947"/>
              <a:gd name="connsiteY159" fmla="*/ 4209898 h 4274857"/>
              <a:gd name="connsiteX160" fmla="*/ 4185138 w 6775947"/>
              <a:gd name="connsiteY160" fmla="*/ 4198175 h 4274857"/>
              <a:gd name="connsiteX161" fmla="*/ 4155830 w 6775947"/>
              <a:gd name="connsiteY161" fmla="*/ 4209898 h 4274857"/>
              <a:gd name="connsiteX162" fmla="*/ 4138246 w 6775947"/>
              <a:gd name="connsiteY162" fmla="*/ 4215760 h 4274857"/>
              <a:gd name="connsiteX163" fmla="*/ 3991707 w 6775947"/>
              <a:gd name="connsiteY163" fmla="*/ 4227483 h 4274857"/>
              <a:gd name="connsiteX164" fmla="*/ 3933092 w 6775947"/>
              <a:gd name="connsiteY164" fmla="*/ 4250929 h 4274857"/>
              <a:gd name="connsiteX165" fmla="*/ 3915507 w 6775947"/>
              <a:gd name="connsiteY165" fmla="*/ 4262652 h 4274857"/>
              <a:gd name="connsiteX166" fmla="*/ 3704492 w 6775947"/>
              <a:gd name="connsiteY166" fmla="*/ 4268514 h 4274857"/>
              <a:gd name="connsiteX167" fmla="*/ 3563815 w 6775947"/>
              <a:gd name="connsiteY167" fmla="*/ 4274376 h 4274857"/>
              <a:gd name="connsiteX168" fmla="*/ 3452446 w 6775947"/>
              <a:gd name="connsiteY168" fmla="*/ 4245067 h 4274857"/>
              <a:gd name="connsiteX169" fmla="*/ 3264877 w 6775947"/>
              <a:gd name="connsiteY169" fmla="*/ 4192314 h 4274857"/>
              <a:gd name="connsiteX170" fmla="*/ 3253154 w 6775947"/>
              <a:gd name="connsiteY170" fmla="*/ 4069221 h 4274857"/>
              <a:gd name="connsiteX171" fmla="*/ 3276600 w 6775947"/>
              <a:gd name="connsiteY171" fmla="*/ 3828898 h 4274857"/>
              <a:gd name="connsiteX172" fmla="*/ 3264877 w 6775947"/>
              <a:gd name="connsiteY172" fmla="*/ 3664775 h 4274857"/>
              <a:gd name="connsiteX173" fmla="*/ 3259015 w 6775947"/>
              <a:gd name="connsiteY173" fmla="*/ 3623744 h 4274857"/>
              <a:gd name="connsiteX174" fmla="*/ 3247292 w 6775947"/>
              <a:gd name="connsiteY174" fmla="*/ 3600298 h 4274857"/>
              <a:gd name="connsiteX175" fmla="*/ 3229707 w 6775947"/>
              <a:gd name="connsiteY175" fmla="*/ 3535821 h 4274857"/>
              <a:gd name="connsiteX176" fmla="*/ 3194538 w 6775947"/>
              <a:gd name="connsiteY176" fmla="*/ 3459621 h 4274857"/>
              <a:gd name="connsiteX177" fmla="*/ 3153507 w 6775947"/>
              <a:gd name="connsiteY177" fmla="*/ 3354114 h 4274857"/>
              <a:gd name="connsiteX178" fmla="*/ 3135923 w 6775947"/>
              <a:gd name="connsiteY178" fmla="*/ 3231021 h 4274857"/>
              <a:gd name="connsiteX179" fmla="*/ 3118338 w 6775947"/>
              <a:gd name="connsiteY179" fmla="*/ 3184129 h 4274857"/>
              <a:gd name="connsiteX180" fmla="*/ 3094892 w 6775947"/>
              <a:gd name="connsiteY180" fmla="*/ 2633144 h 4274857"/>
              <a:gd name="connsiteX181" fmla="*/ 3048000 w 6775947"/>
              <a:gd name="connsiteY181" fmla="*/ 2498329 h 4274857"/>
              <a:gd name="connsiteX182" fmla="*/ 3012830 w 6775947"/>
              <a:gd name="connsiteY182" fmla="*/ 2386960 h 4274857"/>
              <a:gd name="connsiteX183" fmla="*/ 3006969 w 6775947"/>
              <a:gd name="connsiteY183" fmla="*/ 2299037 h 4274857"/>
              <a:gd name="connsiteX184" fmla="*/ 2995246 w 6775947"/>
              <a:gd name="connsiteY184" fmla="*/ 1988375 h 4274857"/>
              <a:gd name="connsiteX185" fmla="*/ 2965938 w 6775947"/>
              <a:gd name="connsiteY185" fmla="*/ 1818391 h 4274857"/>
              <a:gd name="connsiteX186" fmla="*/ 2960077 w 6775947"/>
              <a:gd name="connsiteY186" fmla="*/ 1689437 h 4274857"/>
              <a:gd name="connsiteX187" fmla="*/ 2936630 w 6775947"/>
              <a:gd name="connsiteY187" fmla="*/ 1583929 h 4274857"/>
              <a:gd name="connsiteX188" fmla="*/ 2924907 w 6775947"/>
              <a:gd name="connsiteY188" fmla="*/ 1542898 h 4274857"/>
              <a:gd name="connsiteX189" fmla="*/ 2901461 w 6775947"/>
              <a:gd name="connsiteY189" fmla="*/ 1425667 h 4274857"/>
              <a:gd name="connsiteX190" fmla="*/ 2872154 w 6775947"/>
              <a:gd name="connsiteY190" fmla="*/ 1302575 h 4274857"/>
              <a:gd name="connsiteX191" fmla="*/ 2848707 w 6775947"/>
              <a:gd name="connsiteY191" fmla="*/ 1191206 h 4274857"/>
              <a:gd name="connsiteX192" fmla="*/ 2836984 w 6775947"/>
              <a:gd name="connsiteY192" fmla="*/ 1056391 h 4274857"/>
              <a:gd name="connsiteX193" fmla="*/ 2819400 w 6775947"/>
              <a:gd name="connsiteY193" fmla="*/ 968467 h 4274857"/>
              <a:gd name="connsiteX194" fmla="*/ 2813538 w 6775947"/>
              <a:gd name="connsiteY194" fmla="*/ 909852 h 4274857"/>
              <a:gd name="connsiteX195" fmla="*/ 2801815 w 6775947"/>
              <a:gd name="connsiteY195" fmla="*/ 816067 h 4274857"/>
              <a:gd name="connsiteX196" fmla="*/ 2795954 w 6775947"/>
              <a:gd name="connsiteY196" fmla="*/ 476098 h 4274857"/>
              <a:gd name="connsiteX197" fmla="*/ 2784230 w 6775947"/>
              <a:gd name="connsiteY197" fmla="*/ 335421 h 4274857"/>
              <a:gd name="connsiteX198" fmla="*/ 2754923 w 6775947"/>
              <a:gd name="connsiteY198" fmla="*/ 276806 h 4274857"/>
              <a:gd name="connsiteX199" fmla="*/ 2708030 w 6775947"/>
              <a:gd name="connsiteY199" fmla="*/ 177160 h 4274857"/>
              <a:gd name="connsiteX200" fmla="*/ 2702169 w 6775947"/>
              <a:gd name="connsiteY200" fmla="*/ 159575 h 4274857"/>
              <a:gd name="connsiteX201" fmla="*/ 2678723 w 6775947"/>
              <a:gd name="connsiteY201" fmla="*/ 130267 h 4274857"/>
              <a:gd name="connsiteX202" fmla="*/ 2602523 w 6775947"/>
              <a:gd name="connsiteY202" fmla="*/ 112683 h 4274857"/>
              <a:gd name="connsiteX203" fmla="*/ 2584938 w 6775947"/>
              <a:gd name="connsiteY203" fmla="*/ 106821 h 4274857"/>
              <a:gd name="connsiteX204" fmla="*/ 2514600 w 6775947"/>
              <a:gd name="connsiteY204" fmla="*/ 100960 h 4274857"/>
              <a:gd name="connsiteX205" fmla="*/ 2467707 w 6775947"/>
              <a:gd name="connsiteY205" fmla="*/ 36483 h 4274857"/>
              <a:gd name="connsiteX206" fmla="*/ 2403230 w 6775947"/>
              <a:gd name="connsiteY206" fmla="*/ 30621 h 4274857"/>
              <a:gd name="connsiteX207" fmla="*/ 2321169 w 6775947"/>
              <a:gd name="connsiteY207" fmla="*/ 24760 h 4274857"/>
              <a:gd name="connsiteX208" fmla="*/ 1793630 w 6775947"/>
              <a:gd name="connsiteY208" fmla="*/ 30621 h 4274857"/>
              <a:gd name="connsiteX209" fmla="*/ 1752600 w 6775947"/>
              <a:gd name="connsiteY209" fmla="*/ 42344 h 4274857"/>
              <a:gd name="connsiteX210" fmla="*/ 1717430 w 6775947"/>
              <a:gd name="connsiteY210" fmla="*/ 59929 h 4274857"/>
              <a:gd name="connsiteX211" fmla="*/ 1652954 w 6775947"/>
              <a:gd name="connsiteY211" fmla="*/ 65791 h 4274857"/>
              <a:gd name="connsiteX212" fmla="*/ 1371600 w 6775947"/>
              <a:gd name="connsiteY212" fmla="*/ 54067 h 4274857"/>
              <a:gd name="connsiteX213" fmla="*/ 826477 w 6775947"/>
              <a:gd name="connsiteY213" fmla="*/ 36483 h 4274857"/>
              <a:gd name="connsiteX214" fmla="*/ 451338 w 6775947"/>
              <a:gd name="connsiteY214" fmla="*/ 42344 h 4274857"/>
              <a:gd name="connsiteX215" fmla="*/ 375138 w 6775947"/>
              <a:gd name="connsiteY215" fmla="*/ 65791 h 4274857"/>
              <a:gd name="connsiteX216" fmla="*/ 199292 w 6775947"/>
              <a:gd name="connsiteY216" fmla="*/ 159575 h 4274857"/>
              <a:gd name="connsiteX217" fmla="*/ 146538 w 6775947"/>
              <a:gd name="connsiteY217" fmla="*/ 194744 h 4274857"/>
              <a:gd name="connsiteX218" fmla="*/ 29307 w 6775947"/>
              <a:gd name="connsiteY218" fmla="*/ 528852 h 4274857"/>
              <a:gd name="connsiteX219" fmla="*/ 0 w 6775947"/>
              <a:gd name="connsiteY219" fmla="*/ 898129 h 4274857"/>
              <a:gd name="connsiteX220" fmla="*/ 23446 w 6775947"/>
              <a:gd name="connsiteY220" fmla="*/ 2041129 h 4274857"/>
              <a:gd name="connsiteX221" fmla="*/ 93784 w 6775947"/>
              <a:gd name="connsiteY221" fmla="*/ 2316621 h 4274857"/>
              <a:gd name="connsiteX222" fmla="*/ 433754 w 6775947"/>
              <a:gd name="connsiteY222" fmla="*/ 2937944 h 4274857"/>
              <a:gd name="connsiteX223" fmla="*/ 662354 w 6775947"/>
              <a:gd name="connsiteY223" fmla="*/ 3231021 h 4274857"/>
              <a:gd name="connsiteX224" fmla="*/ 785446 w 6775947"/>
              <a:gd name="connsiteY224" fmla="*/ 3395144 h 4274857"/>
              <a:gd name="connsiteX225" fmla="*/ 1066800 w 6775947"/>
              <a:gd name="connsiteY225" fmla="*/ 3746837 h 4274857"/>
              <a:gd name="connsiteX226" fmla="*/ 1436077 w 6775947"/>
              <a:gd name="connsiteY226" fmla="*/ 4004744 h 4274857"/>
              <a:gd name="connsiteX227" fmla="*/ 1735015 w 6775947"/>
              <a:gd name="connsiteY227" fmla="*/ 4139560 h 4274857"/>
              <a:gd name="connsiteX228" fmla="*/ 1817077 w 6775947"/>
              <a:gd name="connsiteY228" fmla="*/ 4174729 h 4274857"/>
              <a:gd name="connsiteX229" fmla="*/ 1893277 w 6775947"/>
              <a:gd name="connsiteY229" fmla="*/ 4209898 h 4274857"/>
              <a:gd name="connsiteX230" fmla="*/ 2039815 w 6775947"/>
              <a:gd name="connsiteY230" fmla="*/ 4221621 h 4274857"/>
              <a:gd name="connsiteX231" fmla="*/ 2250830 w 6775947"/>
              <a:gd name="connsiteY231" fmla="*/ 4198175 h 4274857"/>
              <a:gd name="connsiteX232" fmla="*/ 2286000 w 6775947"/>
              <a:gd name="connsiteY232" fmla="*/ 4192314 h 4274857"/>
              <a:gd name="connsiteX233" fmla="*/ 2450123 w 6775947"/>
              <a:gd name="connsiteY233" fmla="*/ 4198175 h 4274857"/>
              <a:gd name="connsiteX234" fmla="*/ 2567354 w 6775947"/>
              <a:gd name="connsiteY234" fmla="*/ 4209898 h 4274857"/>
              <a:gd name="connsiteX235" fmla="*/ 2608384 w 6775947"/>
              <a:gd name="connsiteY235" fmla="*/ 4215760 h 4274857"/>
              <a:gd name="connsiteX236" fmla="*/ 2813538 w 6775947"/>
              <a:gd name="connsiteY236" fmla="*/ 4221621 h 4274857"/>
              <a:gd name="connsiteX237" fmla="*/ 2924907 w 6775947"/>
              <a:gd name="connsiteY237" fmla="*/ 4233344 h 4274857"/>
              <a:gd name="connsiteX238" fmla="*/ 2960077 w 6775947"/>
              <a:gd name="connsiteY238" fmla="*/ 4239206 h 4274857"/>
              <a:gd name="connsiteX239" fmla="*/ 3006969 w 6775947"/>
              <a:gd name="connsiteY239" fmla="*/ 4245067 h 4274857"/>
              <a:gd name="connsiteX240" fmla="*/ 3106615 w 6775947"/>
              <a:gd name="connsiteY240" fmla="*/ 4262652 h 4274857"/>
              <a:gd name="connsiteX241" fmla="*/ 3130061 w 6775947"/>
              <a:gd name="connsiteY241" fmla="*/ 4268514 h 4274857"/>
              <a:gd name="connsiteX242" fmla="*/ 3294184 w 6775947"/>
              <a:gd name="connsiteY242" fmla="*/ 4262652 h 4274857"/>
              <a:gd name="connsiteX243" fmla="*/ 3323492 w 6775947"/>
              <a:gd name="connsiteY243" fmla="*/ 4256791 h 4274857"/>
              <a:gd name="connsiteX244" fmla="*/ 3364523 w 6775947"/>
              <a:gd name="connsiteY244" fmla="*/ 4250929 h 4274857"/>
              <a:gd name="connsiteX245" fmla="*/ 4525107 w 6775947"/>
              <a:gd name="connsiteY245" fmla="*/ 4256791 h 4274857"/>
              <a:gd name="connsiteX246" fmla="*/ 4759569 w 6775947"/>
              <a:gd name="connsiteY246" fmla="*/ 4209898 h 4274857"/>
              <a:gd name="connsiteX247" fmla="*/ 5175738 w 6775947"/>
              <a:gd name="connsiteY247" fmla="*/ 4186452 h 4274857"/>
              <a:gd name="connsiteX248" fmla="*/ 5216769 w 6775947"/>
              <a:gd name="connsiteY248" fmla="*/ 4157144 h 4274857"/>
              <a:gd name="connsiteX249" fmla="*/ 5234354 w 6775947"/>
              <a:gd name="connsiteY249" fmla="*/ 4133698 h 4274857"/>
              <a:gd name="connsiteX250" fmla="*/ 5251938 w 6775947"/>
              <a:gd name="connsiteY250" fmla="*/ 4116114 h 4274857"/>
              <a:gd name="connsiteX251" fmla="*/ 5275384 w 6775947"/>
              <a:gd name="connsiteY251" fmla="*/ 4086806 h 4274857"/>
              <a:gd name="connsiteX252" fmla="*/ 5404338 w 6775947"/>
              <a:gd name="connsiteY252" fmla="*/ 3998883 h 4274857"/>
              <a:gd name="connsiteX253" fmla="*/ 5498123 w 6775947"/>
              <a:gd name="connsiteY253" fmla="*/ 3910960 h 4274857"/>
              <a:gd name="connsiteX254" fmla="*/ 5550877 w 6775947"/>
              <a:gd name="connsiteY254" fmla="*/ 3875791 h 4274857"/>
              <a:gd name="connsiteX255" fmla="*/ 5715000 w 6775947"/>
              <a:gd name="connsiteY255" fmla="*/ 3699944 h 4274857"/>
              <a:gd name="connsiteX256" fmla="*/ 5802923 w 6775947"/>
              <a:gd name="connsiteY256" fmla="*/ 3594437 h 4274857"/>
              <a:gd name="connsiteX257" fmla="*/ 5838092 w 6775947"/>
              <a:gd name="connsiteY257" fmla="*/ 3524098 h 4274857"/>
              <a:gd name="connsiteX258" fmla="*/ 5879123 w 6775947"/>
              <a:gd name="connsiteY258" fmla="*/ 3453760 h 4274857"/>
              <a:gd name="connsiteX259" fmla="*/ 5908430 w 6775947"/>
              <a:gd name="connsiteY259" fmla="*/ 3424452 h 4274857"/>
              <a:gd name="connsiteX260" fmla="*/ 5926015 w 6775947"/>
              <a:gd name="connsiteY260" fmla="*/ 3389283 h 4274857"/>
              <a:gd name="connsiteX261" fmla="*/ 6119446 w 6775947"/>
              <a:gd name="connsiteY261" fmla="*/ 3195852 h 4274857"/>
              <a:gd name="connsiteX262" fmla="*/ 6236677 w 6775947"/>
              <a:gd name="connsiteY262" fmla="*/ 3072760 h 4274857"/>
              <a:gd name="connsiteX263" fmla="*/ 6318738 w 6775947"/>
              <a:gd name="connsiteY263" fmla="*/ 2937944 h 4274857"/>
              <a:gd name="connsiteX264" fmla="*/ 6330461 w 6775947"/>
              <a:gd name="connsiteY264" fmla="*/ 2879329 h 4274857"/>
              <a:gd name="connsiteX265" fmla="*/ 6453554 w 6775947"/>
              <a:gd name="connsiteY265" fmla="*/ 2551083 h 4274857"/>
              <a:gd name="connsiteX266" fmla="*/ 6547338 w 6775947"/>
              <a:gd name="connsiteY266" fmla="*/ 2375237 h 4274857"/>
              <a:gd name="connsiteX267" fmla="*/ 6629400 w 6775947"/>
              <a:gd name="connsiteY267" fmla="*/ 2240421 h 4274857"/>
              <a:gd name="connsiteX268" fmla="*/ 6646984 w 6775947"/>
              <a:gd name="connsiteY268" fmla="*/ 2205252 h 4274857"/>
              <a:gd name="connsiteX269" fmla="*/ 6705600 w 6775947"/>
              <a:gd name="connsiteY269" fmla="*/ 2152498 h 4274857"/>
              <a:gd name="connsiteX270" fmla="*/ 6723184 w 6775947"/>
              <a:gd name="connsiteY270" fmla="*/ 2099744 h 4274857"/>
              <a:gd name="connsiteX271" fmla="*/ 6764215 w 6775947"/>
              <a:gd name="connsiteY271" fmla="*/ 1859421 h 4274857"/>
              <a:gd name="connsiteX272" fmla="*/ 6764215 w 6775947"/>
              <a:gd name="connsiteY272" fmla="*/ 804344 h 4274857"/>
              <a:gd name="connsiteX273" fmla="*/ 6740769 w 6775947"/>
              <a:gd name="connsiteY273" fmla="*/ 218191 h 4274857"/>
              <a:gd name="connsiteX274" fmla="*/ 6729046 w 6775947"/>
              <a:gd name="connsiteY274" fmla="*/ 147852 h 4274857"/>
              <a:gd name="connsiteX275" fmla="*/ 6723184 w 6775947"/>
              <a:gd name="connsiteY275" fmla="*/ 124406 h 4274857"/>
              <a:gd name="connsiteX276" fmla="*/ 6670430 w 6775947"/>
              <a:gd name="connsiteY276" fmla="*/ 77514 h 4274857"/>
              <a:gd name="connsiteX277" fmla="*/ 6559061 w 6775947"/>
              <a:gd name="connsiteY277" fmla="*/ 48206 h 4274857"/>
              <a:gd name="connsiteX278" fmla="*/ 6506307 w 6775947"/>
              <a:gd name="connsiteY278" fmla="*/ 18898 h 4274857"/>
              <a:gd name="connsiteX279" fmla="*/ 6477000 w 6775947"/>
              <a:gd name="connsiteY279" fmla="*/ 7175 h 4274857"/>
              <a:gd name="connsiteX280" fmla="*/ 6371492 w 6775947"/>
              <a:gd name="connsiteY280" fmla="*/ 36483 h 4274857"/>
              <a:gd name="connsiteX281" fmla="*/ 5597769 w 6775947"/>
              <a:gd name="connsiteY281" fmla="*/ 7175 h 4274857"/>
              <a:gd name="connsiteX282" fmla="*/ 5533292 w 6775947"/>
              <a:gd name="connsiteY282" fmla="*/ 1314 h 4274857"/>
              <a:gd name="connsiteX283" fmla="*/ 5175738 w 6775947"/>
              <a:gd name="connsiteY283" fmla="*/ 7175 h 4274857"/>
              <a:gd name="connsiteX284" fmla="*/ 5064369 w 6775947"/>
              <a:gd name="connsiteY284" fmla="*/ 18898 h 4274857"/>
              <a:gd name="connsiteX285" fmla="*/ 4360984 w 6775947"/>
              <a:gd name="connsiteY285" fmla="*/ 30621 h 4274857"/>
              <a:gd name="connsiteX286" fmla="*/ 4314092 w 6775947"/>
              <a:gd name="connsiteY286" fmla="*/ 83375 h 4274857"/>
              <a:gd name="connsiteX287" fmla="*/ 4302369 w 6775947"/>
              <a:gd name="connsiteY287" fmla="*/ 141991 h 4274857"/>
              <a:gd name="connsiteX0" fmla="*/ 4302369 w 6775947"/>
              <a:gd name="connsiteY0" fmla="*/ 165166 h 4298032"/>
              <a:gd name="connsiteX1" fmla="*/ 4302369 w 6775947"/>
              <a:gd name="connsiteY1" fmla="*/ 165166 h 4298032"/>
              <a:gd name="connsiteX2" fmla="*/ 4232030 w 6775947"/>
              <a:gd name="connsiteY2" fmla="*/ 129996 h 4298032"/>
              <a:gd name="connsiteX3" fmla="*/ 4208584 w 6775947"/>
              <a:gd name="connsiteY3" fmla="*/ 112412 h 4298032"/>
              <a:gd name="connsiteX4" fmla="*/ 4149969 w 6775947"/>
              <a:gd name="connsiteY4" fmla="*/ 94827 h 4298032"/>
              <a:gd name="connsiteX5" fmla="*/ 4097215 w 6775947"/>
              <a:gd name="connsiteY5" fmla="*/ 83104 h 4298032"/>
              <a:gd name="connsiteX6" fmla="*/ 4073769 w 6775947"/>
              <a:gd name="connsiteY6" fmla="*/ 77242 h 4298032"/>
              <a:gd name="connsiteX7" fmla="*/ 3927230 w 6775947"/>
              <a:gd name="connsiteY7" fmla="*/ 65519 h 4298032"/>
              <a:gd name="connsiteX8" fmla="*/ 3745523 w 6775947"/>
              <a:gd name="connsiteY8" fmla="*/ 42073 h 4298032"/>
              <a:gd name="connsiteX9" fmla="*/ 3716215 w 6775947"/>
              <a:gd name="connsiteY9" fmla="*/ 30350 h 4298032"/>
              <a:gd name="connsiteX10" fmla="*/ 3563815 w 6775947"/>
              <a:gd name="connsiteY10" fmla="*/ 30350 h 4298032"/>
              <a:gd name="connsiteX11" fmla="*/ 3499338 w 6775947"/>
              <a:gd name="connsiteY11" fmla="*/ 47935 h 4298032"/>
              <a:gd name="connsiteX12" fmla="*/ 3458307 w 6775947"/>
              <a:gd name="connsiteY12" fmla="*/ 53796 h 4298032"/>
              <a:gd name="connsiteX13" fmla="*/ 3376246 w 6775947"/>
              <a:gd name="connsiteY13" fmla="*/ 65519 h 4298032"/>
              <a:gd name="connsiteX14" fmla="*/ 3352800 w 6775947"/>
              <a:gd name="connsiteY14" fmla="*/ 71381 h 4298032"/>
              <a:gd name="connsiteX15" fmla="*/ 3288323 w 6775947"/>
              <a:gd name="connsiteY15" fmla="*/ 100689 h 4298032"/>
              <a:gd name="connsiteX16" fmla="*/ 3194538 w 6775947"/>
              <a:gd name="connsiteY16" fmla="*/ 118273 h 4298032"/>
              <a:gd name="connsiteX17" fmla="*/ 3112477 w 6775947"/>
              <a:gd name="connsiteY17" fmla="*/ 147581 h 4298032"/>
              <a:gd name="connsiteX18" fmla="*/ 3059723 w 6775947"/>
              <a:gd name="connsiteY18" fmla="*/ 217919 h 4298032"/>
              <a:gd name="connsiteX19" fmla="*/ 2971800 w 6775947"/>
              <a:gd name="connsiteY19" fmla="*/ 358596 h 4298032"/>
              <a:gd name="connsiteX20" fmla="*/ 2960077 w 6775947"/>
              <a:gd name="connsiteY20" fmla="*/ 405489 h 4298032"/>
              <a:gd name="connsiteX21" fmla="*/ 2948354 w 6775947"/>
              <a:gd name="connsiteY21" fmla="*/ 446519 h 4298032"/>
              <a:gd name="connsiteX22" fmla="*/ 2954215 w 6775947"/>
              <a:gd name="connsiteY22" fmla="*/ 722012 h 4298032"/>
              <a:gd name="connsiteX23" fmla="*/ 2971800 w 6775947"/>
              <a:gd name="connsiteY23" fmla="*/ 915442 h 4298032"/>
              <a:gd name="connsiteX24" fmla="*/ 2989384 w 6775947"/>
              <a:gd name="connsiteY24" fmla="*/ 1038535 h 4298032"/>
              <a:gd name="connsiteX25" fmla="*/ 3018692 w 6775947"/>
              <a:gd name="connsiteY25" fmla="*/ 1138181 h 4298032"/>
              <a:gd name="connsiteX26" fmla="*/ 3036277 w 6775947"/>
              <a:gd name="connsiteY26" fmla="*/ 1214381 h 4298032"/>
              <a:gd name="connsiteX27" fmla="*/ 3042138 w 6775947"/>
              <a:gd name="connsiteY27" fmla="*/ 1278858 h 4298032"/>
              <a:gd name="connsiteX28" fmla="*/ 3071446 w 6775947"/>
              <a:gd name="connsiteY28" fmla="*/ 1337473 h 4298032"/>
              <a:gd name="connsiteX29" fmla="*/ 3171092 w 6775947"/>
              <a:gd name="connsiteY29" fmla="*/ 1560212 h 4298032"/>
              <a:gd name="connsiteX30" fmla="*/ 3200400 w 6775947"/>
              <a:gd name="connsiteY30" fmla="*/ 1612966 h 4298032"/>
              <a:gd name="connsiteX31" fmla="*/ 3229707 w 6775947"/>
              <a:gd name="connsiteY31" fmla="*/ 1659858 h 4298032"/>
              <a:gd name="connsiteX32" fmla="*/ 3276600 w 6775947"/>
              <a:gd name="connsiteY32" fmla="*/ 1747781 h 4298032"/>
              <a:gd name="connsiteX33" fmla="*/ 3341077 w 6775947"/>
              <a:gd name="connsiteY33" fmla="*/ 1853289 h 4298032"/>
              <a:gd name="connsiteX34" fmla="*/ 3446584 w 6775947"/>
              <a:gd name="connsiteY34" fmla="*/ 1958796 h 4298032"/>
              <a:gd name="connsiteX35" fmla="*/ 3511061 w 6775947"/>
              <a:gd name="connsiteY35" fmla="*/ 2034996 h 4298032"/>
              <a:gd name="connsiteX36" fmla="*/ 3616569 w 6775947"/>
              <a:gd name="connsiteY36" fmla="*/ 2117058 h 4298032"/>
              <a:gd name="connsiteX37" fmla="*/ 3675184 w 6775947"/>
              <a:gd name="connsiteY37" fmla="*/ 2158089 h 4298032"/>
              <a:gd name="connsiteX38" fmla="*/ 3774830 w 6775947"/>
              <a:gd name="connsiteY38" fmla="*/ 2234289 h 4298032"/>
              <a:gd name="connsiteX39" fmla="*/ 3833446 w 6775947"/>
              <a:gd name="connsiteY39" fmla="*/ 2246012 h 4298032"/>
              <a:gd name="connsiteX40" fmla="*/ 3903784 w 6775947"/>
              <a:gd name="connsiteY40" fmla="*/ 2263596 h 4298032"/>
              <a:gd name="connsiteX41" fmla="*/ 3944815 w 6775947"/>
              <a:gd name="connsiteY41" fmla="*/ 2269458 h 4298032"/>
              <a:gd name="connsiteX42" fmla="*/ 4050323 w 6775947"/>
              <a:gd name="connsiteY42" fmla="*/ 2287042 h 4298032"/>
              <a:gd name="connsiteX43" fmla="*/ 4073769 w 6775947"/>
              <a:gd name="connsiteY43" fmla="*/ 2292904 h 4298032"/>
              <a:gd name="connsiteX44" fmla="*/ 4155830 w 6775947"/>
              <a:gd name="connsiteY44" fmla="*/ 2298766 h 4298032"/>
              <a:gd name="connsiteX45" fmla="*/ 4255477 w 6775947"/>
              <a:gd name="connsiteY45" fmla="*/ 2357381 h 4298032"/>
              <a:gd name="connsiteX46" fmla="*/ 4284784 w 6775947"/>
              <a:gd name="connsiteY46" fmla="*/ 2369104 h 4298032"/>
              <a:gd name="connsiteX47" fmla="*/ 4378569 w 6775947"/>
              <a:gd name="connsiteY47" fmla="*/ 2374966 h 4298032"/>
              <a:gd name="connsiteX48" fmla="*/ 4448907 w 6775947"/>
              <a:gd name="connsiteY48" fmla="*/ 2380827 h 4298032"/>
              <a:gd name="connsiteX49" fmla="*/ 4548554 w 6775947"/>
              <a:gd name="connsiteY49" fmla="*/ 2374966 h 4298032"/>
              <a:gd name="connsiteX50" fmla="*/ 4548553 w 6775947"/>
              <a:gd name="connsiteY50" fmla="*/ 2392550 h 4298032"/>
              <a:gd name="connsiteX51" fmla="*/ 4583722 w 6775947"/>
              <a:gd name="connsiteY51" fmla="*/ 2374966 h 4298032"/>
              <a:gd name="connsiteX52" fmla="*/ 4677507 w 6775947"/>
              <a:gd name="connsiteY52" fmla="*/ 2292904 h 4298032"/>
              <a:gd name="connsiteX53" fmla="*/ 4736123 w 6775947"/>
              <a:gd name="connsiteY53" fmla="*/ 2240151 h 4298032"/>
              <a:gd name="connsiteX54" fmla="*/ 4747846 w 6775947"/>
              <a:gd name="connsiteY54" fmla="*/ 2169812 h 4298032"/>
              <a:gd name="connsiteX55" fmla="*/ 4706815 w 6775947"/>
              <a:gd name="connsiteY55" fmla="*/ 2076027 h 4298032"/>
              <a:gd name="connsiteX56" fmla="*/ 4695092 w 6775947"/>
              <a:gd name="connsiteY56" fmla="*/ 2029135 h 4298032"/>
              <a:gd name="connsiteX57" fmla="*/ 4683369 w 6775947"/>
              <a:gd name="connsiteY57" fmla="*/ 1993966 h 4298032"/>
              <a:gd name="connsiteX58" fmla="*/ 4665784 w 6775947"/>
              <a:gd name="connsiteY58" fmla="*/ 1888458 h 4298032"/>
              <a:gd name="connsiteX59" fmla="*/ 4636477 w 6775947"/>
              <a:gd name="connsiteY59" fmla="*/ 1759504 h 4298032"/>
              <a:gd name="connsiteX60" fmla="*/ 4613030 w 6775947"/>
              <a:gd name="connsiteY60" fmla="*/ 1478150 h 4298032"/>
              <a:gd name="connsiteX61" fmla="*/ 4601307 w 6775947"/>
              <a:gd name="connsiteY61" fmla="*/ 1431258 h 4298032"/>
              <a:gd name="connsiteX62" fmla="*/ 4583723 w 6775947"/>
              <a:gd name="connsiteY62" fmla="*/ 1396089 h 4298032"/>
              <a:gd name="connsiteX63" fmla="*/ 4577861 w 6775947"/>
              <a:gd name="connsiteY63" fmla="*/ 1378504 h 4298032"/>
              <a:gd name="connsiteX64" fmla="*/ 4566138 w 6775947"/>
              <a:gd name="connsiteY64" fmla="*/ 1308166 h 4298032"/>
              <a:gd name="connsiteX65" fmla="*/ 4548554 w 6775947"/>
              <a:gd name="connsiteY65" fmla="*/ 1226104 h 4298032"/>
              <a:gd name="connsiteX66" fmla="*/ 4542692 w 6775947"/>
              <a:gd name="connsiteY66" fmla="*/ 1173350 h 4298032"/>
              <a:gd name="connsiteX67" fmla="*/ 4478215 w 6775947"/>
              <a:gd name="connsiteY67" fmla="*/ 1103012 h 4298032"/>
              <a:gd name="connsiteX68" fmla="*/ 4460630 w 6775947"/>
              <a:gd name="connsiteY68" fmla="*/ 1085427 h 4298032"/>
              <a:gd name="connsiteX69" fmla="*/ 4437184 w 6775947"/>
              <a:gd name="connsiteY69" fmla="*/ 1044396 h 4298032"/>
              <a:gd name="connsiteX70" fmla="*/ 4419600 w 6775947"/>
              <a:gd name="connsiteY70" fmla="*/ 1003366 h 4298032"/>
              <a:gd name="connsiteX71" fmla="*/ 4378569 w 6775947"/>
              <a:gd name="connsiteY71" fmla="*/ 886135 h 4298032"/>
              <a:gd name="connsiteX72" fmla="*/ 4325815 w 6775947"/>
              <a:gd name="connsiteY72" fmla="*/ 845104 h 4298032"/>
              <a:gd name="connsiteX73" fmla="*/ 4308230 w 6775947"/>
              <a:gd name="connsiteY73" fmla="*/ 827519 h 4298032"/>
              <a:gd name="connsiteX74" fmla="*/ 4296507 w 6775947"/>
              <a:gd name="connsiteY74" fmla="*/ 780627 h 4298032"/>
              <a:gd name="connsiteX75" fmla="*/ 4325815 w 6775947"/>
              <a:gd name="connsiteY75" fmla="*/ 522719 h 4298032"/>
              <a:gd name="connsiteX76" fmla="*/ 4314092 w 6775947"/>
              <a:gd name="connsiteY76" fmla="*/ 440658 h 4298032"/>
              <a:gd name="connsiteX77" fmla="*/ 4319954 w 6775947"/>
              <a:gd name="connsiteY77" fmla="*/ 417212 h 4298032"/>
              <a:gd name="connsiteX78" fmla="*/ 4337538 w 6775947"/>
              <a:gd name="connsiteY78" fmla="*/ 311704 h 4298032"/>
              <a:gd name="connsiteX79" fmla="*/ 4343400 w 6775947"/>
              <a:gd name="connsiteY79" fmla="*/ 276535 h 4298032"/>
              <a:gd name="connsiteX80" fmla="*/ 4355123 w 6775947"/>
              <a:gd name="connsiteY80" fmla="*/ 194474 h 4298032"/>
              <a:gd name="connsiteX81" fmla="*/ 4360984 w 6775947"/>
              <a:gd name="connsiteY81" fmla="*/ 100688 h 4298032"/>
              <a:gd name="connsiteX82" fmla="*/ 4495800 w 6775947"/>
              <a:gd name="connsiteY82" fmla="*/ 159304 h 4298032"/>
              <a:gd name="connsiteX83" fmla="*/ 4554415 w 6775947"/>
              <a:gd name="connsiteY83" fmla="*/ 1042 h 4298032"/>
              <a:gd name="connsiteX84" fmla="*/ 4613030 w 6775947"/>
              <a:gd name="connsiteY84" fmla="*/ 106550 h 4298032"/>
              <a:gd name="connsiteX85" fmla="*/ 4671646 w 6775947"/>
              <a:gd name="connsiteY85" fmla="*/ 100689 h 4298032"/>
              <a:gd name="connsiteX86" fmla="*/ 5246077 w 6775947"/>
              <a:gd name="connsiteY86" fmla="*/ 94827 h 4298032"/>
              <a:gd name="connsiteX87" fmla="*/ 5304692 w 6775947"/>
              <a:gd name="connsiteY87" fmla="*/ 106550 h 4298032"/>
              <a:gd name="connsiteX88" fmla="*/ 5345723 w 6775947"/>
              <a:gd name="connsiteY88" fmla="*/ 112412 h 4298032"/>
              <a:gd name="connsiteX89" fmla="*/ 5527430 w 6775947"/>
              <a:gd name="connsiteY89" fmla="*/ 118273 h 4298032"/>
              <a:gd name="connsiteX90" fmla="*/ 5545015 w 6775947"/>
              <a:gd name="connsiteY90" fmla="*/ 124135 h 4298032"/>
              <a:gd name="connsiteX91" fmla="*/ 5586046 w 6775947"/>
              <a:gd name="connsiteY91" fmla="*/ 159304 h 4298032"/>
              <a:gd name="connsiteX92" fmla="*/ 5615354 w 6775947"/>
              <a:gd name="connsiteY92" fmla="*/ 182750 h 4298032"/>
              <a:gd name="connsiteX93" fmla="*/ 5632938 w 6775947"/>
              <a:gd name="connsiteY93" fmla="*/ 188612 h 4298032"/>
              <a:gd name="connsiteX94" fmla="*/ 5656384 w 6775947"/>
              <a:gd name="connsiteY94" fmla="*/ 206196 h 4298032"/>
              <a:gd name="connsiteX95" fmla="*/ 5709138 w 6775947"/>
              <a:gd name="connsiteY95" fmla="*/ 241366 h 4298032"/>
              <a:gd name="connsiteX96" fmla="*/ 5738446 w 6775947"/>
              <a:gd name="connsiteY96" fmla="*/ 270673 h 4298032"/>
              <a:gd name="connsiteX97" fmla="*/ 5756030 w 6775947"/>
              <a:gd name="connsiteY97" fmla="*/ 305842 h 4298032"/>
              <a:gd name="connsiteX98" fmla="*/ 5791200 w 6775947"/>
              <a:gd name="connsiteY98" fmla="*/ 364458 h 4298032"/>
              <a:gd name="connsiteX99" fmla="*/ 5756030 w 6775947"/>
              <a:gd name="connsiteY99" fmla="*/ 616504 h 4298032"/>
              <a:gd name="connsiteX100" fmla="*/ 5709138 w 6775947"/>
              <a:gd name="connsiteY100" fmla="*/ 774766 h 4298032"/>
              <a:gd name="connsiteX101" fmla="*/ 5650523 w 6775947"/>
              <a:gd name="connsiteY101" fmla="*/ 903719 h 4298032"/>
              <a:gd name="connsiteX102" fmla="*/ 5597769 w 6775947"/>
              <a:gd name="connsiteY102" fmla="*/ 1032673 h 4298032"/>
              <a:gd name="connsiteX103" fmla="*/ 5591907 w 6775947"/>
              <a:gd name="connsiteY103" fmla="*/ 1061981 h 4298032"/>
              <a:gd name="connsiteX104" fmla="*/ 5586046 w 6775947"/>
              <a:gd name="connsiteY104" fmla="*/ 1079566 h 4298032"/>
              <a:gd name="connsiteX105" fmla="*/ 5556738 w 6775947"/>
              <a:gd name="connsiteY105" fmla="*/ 1196796 h 4298032"/>
              <a:gd name="connsiteX106" fmla="*/ 5515707 w 6775947"/>
              <a:gd name="connsiteY106" fmla="*/ 1302304 h 4298032"/>
              <a:gd name="connsiteX107" fmla="*/ 5480538 w 6775947"/>
              <a:gd name="connsiteY107" fmla="*/ 1419535 h 4298032"/>
              <a:gd name="connsiteX108" fmla="*/ 5468815 w 6775947"/>
              <a:gd name="connsiteY108" fmla="*/ 1448842 h 4298032"/>
              <a:gd name="connsiteX109" fmla="*/ 5439507 w 6775947"/>
              <a:gd name="connsiteY109" fmla="*/ 1501596 h 4298032"/>
              <a:gd name="connsiteX110" fmla="*/ 5421923 w 6775947"/>
              <a:gd name="connsiteY110" fmla="*/ 1554350 h 4298032"/>
              <a:gd name="connsiteX111" fmla="*/ 5392615 w 6775947"/>
              <a:gd name="connsiteY111" fmla="*/ 1630550 h 4298032"/>
              <a:gd name="connsiteX112" fmla="*/ 5369169 w 6775947"/>
              <a:gd name="connsiteY112" fmla="*/ 1700889 h 4298032"/>
              <a:gd name="connsiteX113" fmla="*/ 5351584 w 6775947"/>
              <a:gd name="connsiteY113" fmla="*/ 1859150 h 4298032"/>
              <a:gd name="connsiteX114" fmla="*/ 5339861 w 6775947"/>
              <a:gd name="connsiteY114" fmla="*/ 1888458 h 4298032"/>
              <a:gd name="connsiteX115" fmla="*/ 5334000 w 6775947"/>
              <a:gd name="connsiteY115" fmla="*/ 1911904 h 4298032"/>
              <a:gd name="connsiteX116" fmla="*/ 5316415 w 6775947"/>
              <a:gd name="connsiteY116" fmla="*/ 1993966 h 4298032"/>
              <a:gd name="connsiteX117" fmla="*/ 5292969 w 6775947"/>
              <a:gd name="connsiteY117" fmla="*/ 2029135 h 4298032"/>
              <a:gd name="connsiteX118" fmla="*/ 5269523 w 6775947"/>
              <a:gd name="connsiteY118" fmla="*/ 2076027 h 4298032"/>
              <a:gd name="connsiteX119" fmla="*/ 5257800 w 6775947"/>
              <a:gd name="connsiteY119" fmla="*/ 2099473 h 4298032"/>
              <a:gd name="connsiteX120" fmla="*/ 5240215 w 6775947"/>
              <a:gd name="connsiteY120" fmla="*/ 2122919 h 4298032"/>
              <a:gd name="connsiteX121" fmla="*/ 5234354 w 6775947"/>
              <a:gd name="connsiteY121" fmla="*/ 2152227 h 4298032"/>
              <a:gd name="connsiteX122" fmla="*/ 5222630 w 6775947"/>
              <a:gd name="connsiteY122" fmla="*/ 2163950 h 4298032"/>
              <a:gd name="connsiteX123" fmla="*/ 5210907 w 6775947"/>
              <a:gd name="connsiteY123" fmla="*/ 2187396 h 4298032"/>
              <a:gd name="connsiteX124" fmla="*/ 5193323 w 6775947"/>
              <a:gd name="connsiteY124" fmla="*/ 2210842 h 4298032"/>
              <a:gd name="connsiteX125" fmla="*/ 5175738 w 6775947"/>
              <a:gd name="connsiteY125" fmla="*/ 2287042 h 4298032"/>
              <a:gd name="connsiteX126" fmla="*/ 5216769 w 6775947"/>
              <a:gd name="connsiteY126" fmla="*/ 2328073 h 4298032"/>
              <a:gd name="connsiteX127" fmla="*/ 5234353 w 6775947"/>
              <a:gd name="connsiteY127" fmla="*/ 2369103 h 4298032"/>
              <a:gd name="connsiteX128" fmla="*/ 5251939 w 6775947"/>
              <a:gd name="connsiteY128" fmla="*/ 2380828 h 4298032"/>
              <a:gd name="connsiteX129" fmla="*/ 5281246 w 6775947"/>
              <a:gd name="connsiteY129" fmla="*/ 2451166 h 4298032"/>
              <a:gd name="connsiteX130" fmla="*/ 5287107 w 6775947"/>
              <a:gd name="connsiteY130" fmla="*/ 2580119 h 4298032"/>
              <a:gd name="connsiteX131" fmla="*/ 5298830 w 6775947"/>
              <a:gd name="connsiteY131" fmla="*/ 2638735 h 4298032"/>
              <a:gd name="connsiteX132" fmla="*/ 5310554 w 6775947"/>
              <a:gd name="connsiteY132" fmla="*/ 2744242 h 4298032"/>
              <a:gd name="connsiteX133" fmla="*/ 5316415 w 6775947"/>
              <a:gd name="connsiteY133" fmla="*/ 2908366 h 4298032"/>
              <a:gd name="connsiteX134" fmla="*/ 5357446 w 6775947"/>
              <a:gd name="connsiteY134" fmla="*/ 3002150 h 4298032"/>
              <a:gd name="connsiteX135" fmla="*/ 5363307 w 6775947"/>
              <a:gd name="connsiteY135" fmla="*/ 3037319 h 4298032"/>
              <a:gd name="connsiteX136" fmla="*/ 5380892 w 6775947"/>
              <a:gd name="connsiteY136" fmla="*/ 3060766 h 4298032"/>
              <a:gd name="connsiteX137" fmla="*/ 5386754 w 6775947"/>
              <a:gd name="connsiteY137" fmla="*/ 3107658 h 4298032"/>
              <a:gd name="connsiteX138" fmla="*/ 5404338 w 6775947"/>
              <a:gd name="connsiteY138" fmla="*/ 3154550 h 4298032"/>
              <a:gd name="connsiteX139" fmla="*/ 5404338 w 6775947"/>
              <a:gd name="connsiteY139" fmla="*/ 3347981 h 4298032"/>
              <a:gd name="connsiteX140" fmla="*/ 5398477 w 6775947"/>
              <a:gd name="connsiteY140" fmla="*/ 3846212 h 4298032"/>
              <a:gd name="connsiteX141" fmla="*/ 5380892 w 6775947"/>
              <a:gd name="connsiteY141" fmla="*/ 3904827 h 4298032"/>
              <a:gd name="connsiteX142" fmla="*/ 5369169 w 6775947"/>
              <a:gd name="connsiteY142" fmla="*/ 3939996 h 4298032"/>
              <a:gd name="connsiteX143" fmla="*/ 5339861 w 6775947"/>
              <a:gd name="connsiteY143" fmla="*/ 3969304 h 4298032"/>
              <a:gd name="connsiteX144" fmla="*/ 5322277 w 6775947"/>
              <a:gd name="connsiteY144" fmla="*/ 4004473 h 4298032"/>
              <a:gd name="connsiteX145" fmla="*/ 5257800 w 6775947"/>
              <a:gd name="connsiteY145" fmla="*/ 4080673 h 4298032"/>
              <a:gd name="connsiteX146" fmla="*/ 5228492 w 6775947"/>
              <a:gd name="connsiteY146" fmla="*/ 4104119 h 4298032"/>
              <a:gd name="connsiteX147" fmla="*/ 5146430 w 6775947"/>
              <a:gd name="connsiteY147" fmla="*/ 4145150 h 4298032"/>
              <a:gd name="connsiteX148" fmla="*/ 5117123 w 6775947"/>
              <a:gd name="connsiteY148" fmla="*/ 4162735 h 4298032"/>
              <a:gd name="connsiteX149" fmla="*/ 5087815 w 6775947"/>
              <a:gd name="connsiteY149" fmla="*/ 4168596 h 4298032"/>
              <a:gd name="connsiteX150" fmla="*/ 4988169 w 6775947"/>
              <a:gd name="connsiteY150" fmla="*/ 4186181 h 4298032"/>
              <a:gd name="connsiteX151" fmla="*/ 4753707 w 6775947"/>
              <a:gd name="connsiteY151" fmla="*/ 4174458 h 4298032"/>
              <a:gd name="connsiteX152" fmla="*/ 4695092 w 6775947"/>
              <a:gd name="connsiteY152" fmla="*/ 4162735 h 4298032"/>
              <a:gd name="connsiteX153" fmla="*/ 4589584 w 6775947"/>
              <a:gd name="connsiteY153" fmla="*/ 4174458 h 4298032"/>
              <a:gd name="connsiteX154" fmla="*/ 4560277 w 6775947"/>
              <a:gd name="connsiteY154" fmla="*/ 4186181 h 4298032"/>
              <a:gd name="connsiteX155" fmla="*/ 4484077 w 6775947"/>
              <a:gd name="connsiteY155" fmla="*/ 4203766 h 4298032"/>
              <a:gd name="connsiteX156" fmla="*/ 4443046 w 6775947"/>
              <a:gd name="connsiteY156" fmla="*/ 4221350 h 4298032"/>
              <a:gd name="connsiteX157" fmla="*/ 4413738 w 6775947"/>
              <a:gd name="connsiteY157" fmla="*/ 4227212 h 4298032"/>
              <a:gd name="connsiteX158" fmla="*/ 4355123 w 6775947"/>
              <a:gd name="connsiteY158" fmla="*/ 4238935 h 4298032"/>
              <a:gd name="connsiteX159" fmla="*/ 4273061 w 6775947"/>
              <a:gd name="connsiteY159" fmla="*/ 4233073 h 4298032"/>
              <a:gd name="connsiteX160" fmla="*/ 4185138 w 6775947"/>
              <a:gd name="connsiteY160" fmla="*/ 4221350 h 4298032"/>
              <a:gd name="connsiteX161" fmla="*/ 4155830 w 6775947"/>
              <a:gd name="connsiteY161" fmla="*/ 4233073 h 4298032"/>
              <a:gd name="connsiteX162" fmla="*/ 4138246 w 6775947"/>
              <a:gd name="connsiteY162" fmla="*/ 4238935 h 4298032"/>
              <a:gd name="connsiteX163" fmla="*/ 3991707 w 6775947"/>
              <a:gd name="connsiteY163" fmla="*/ 4250658 h 4298032"/>
              <a:gd name="connsiteX164" fmla="*/ 3933092 w 6775947"/>
              <a:gd name="connsiteY164" fmla="*/ 4274104 h 4298032"/>
              <a:gd name="connsiteX165" fmla="*/ 3915507 w 6775947"/>
              <a:gd name="connsiteY165" fmla="*/ 4285827 h 4298032"/>
              <a:gd name="connsiteX166" fmla="*/ 3704492 w 6775947"/>
              <a:gd name="connsiteY166" fmla="*/ 4291689 h 4298032"/>
              <a:gd name="connsiteX167" fmla="*/ 3563815 w 6775947"/>
              <a:gd name="connsiteY167" fmla="*/ 4297551 h 4298032"/>
              <a:gd name="connsiteX168" fmla="*/ 3452446 w 6775947"/>
              <a:gd name="connsiteY168" fmla="*/ 4268242 h 4298032"/>
              <a:gd name="connsiteX169" fmla="*/ 3264877 w 6775947"/>
              <a:gd name="connsiteY169" fmla="*/ 4215489 h 4298032"/>
              <a:gd name="connsiteX170" fmla="*/ 3253154 w 6775947"/>
              <a:gd name="connsiteY170" fmla="*/ 4092396 h 4298032"/>
              <a:gd name="connsiteX171" fmla="*/ 3276600 w 6775947"/>
              <a:gd name="connsiteY171" fmla="*/ 3852073 h 4298032"/>
              <a:gd name="connsiteX172" fmla="*/ 3264877 w 6775947"/>
              <a:gd name="connsiteY172" fmla="*/ 3687950 h 4298032"/>
              <a:gd name="connsiteX173" fmla="*/ 3259015 w 6775947"/>
              <a:gd name="connsiteY173" fmla="*/ 3646919 h 4298032"/>
              <a:gd name="connsiteX174" fmla="*/ 3247292 w 6775947"/>
              <a:gd name="connsiteY174" fmla="*/ 3623473 h 4298032"/>
              <a:gd name="connsiteX175" fmla="*/ 3229707 w 6775947"/>
              <a:gd name="connsiteY175" fmla="*/ 3558996 h 4298032"/>
              <a:gd name="connsiteX176" fmla="*/ 3194538 w 6775947"/>
              <a:gd name="connsiteY176" fmla="*/ 3482796 h 4298032"/>
              <a:gd name="connsiteX177" fmla="*/ 3153507 w 6775947"/>
              <a:gd name="connsiteY177" fmla="*/ 3377289 h 4298032"/>
              <a:gd name="connsiteX178" fmla="*/ 3135923 w 6775947"/>
              <a:gd name="connsiteY178" fmla="*/ 3254196 h 4298032"/>
              <a:gd name="connsiteX179" fmla="*/ 3118338 w 6775947"/>
              <a:gd name="connsiteY179" fmla="*/ 3207304 h 4298032"/>
              <a:gd name="connsiteX180" fmla="*/ 3094892 w 6775947"/>
              <a:gd name="connsiteY180" fmla="*/ 2656319 h 4298032"/>
              <a:gd name="connsiteX181" fmla="*/ 3048000 w 6775947"/>
              <a:gd name="connsiteY181" fmla="*/ 2521504 h 4298032"/>
              <a:gd name="connsiteX182" fmla="*/ 3012830 w 6775947"/>
              <a:gd name="connsiteY182" fmla="*/ 2410135 h 4298032"/>
              <a:gd name="connsiteX183" fmla="*/ 3006969 w 6775947"/>
              <a:gd name="connsiteY183" fmla="*/ 2322212 h 4298032"/>
              <a:gd name="connsiteX184" fmla="*/ 2995246 w 6775947"/>
              <a:gd name="connsiteY184" fmla="*/ 2011550 h 4298032"/>
              <a:gd name="connsiteX185" fmla="*/ 2965938 w 6775947"/>
              <a:gd name="connsiteY185" fmla="*/ 1841566 h 4298032"/>
              <a:gd name="connsiteX186" fmla="*/ 2960077 w 6775947"/>
              <a:gd name="connsiteY186" fmla="*/ 1712612 h 4298032"/>
              <a:gd name="connsiteX187" fmla="*/ 2936630 w 6775947"/>
              <a:gd name="connsiteY187" fmla="*/ 1607104 h 4298032"/>
              <a:gd name="connsiteX188" fmla="*/ 2924907 w 6775947"/>
              <a:gd name="connsiteY188" fmla="*/ 1566073 h 4298032"/>
              <a:gd name="connsiteX189" fmla="*/ 2901461 w 6775947"/>
              <a:gd name="connsiteY189" fmla="*/ 1448842 h 4298032"/>
              <a:gd name="connsiteX190" fmla="*/ 2872154 w 6775947"/>
              <a:gd name="connsiteY190" fmla="*/ 1325750 h 4298032"/>
              <a:gd name="connsiteX191" fmla="*/ 2848707 w 6775947"/>
              <a:gd name="connsiteY191" fmla="*/ 1214381 h 4298032"/>
              <a:gd name="connsiteX192" fmla="*/ 2836984 w 6775947"/>
              <a:gd name="connsiteY192" fmla="*/ 1079566 h 4298032"/>
              <a:gd name="connsiteX193" fmla="*/ 2819400 w 6775947"/>
              <a:gd name="connsiteY193" fmla="*/ 991642 h 4298032"/>
              <a:gd name="connsiteX194" fmla="*/ 2813538 w 6775947"/>
              <a:gd name="connsiteY194" fmla="*/ 933027 h 4298032"/>
              <a:gd name="connsiteX195" fmla="*/ 2801815 w 6775947"/>
              <a:gd name="connsiteY195" fmla="*/ 839242 h 4298032"/>
              <a:gd name="connsiteX196" fmla="*/ 2795954 w 6775947"/>
              <a:gd name="connsiteY196" fmla="*/ 499273 h 4298032"/>
              <a:gd name="connsiteX197" fmla="*/ 2784230 w 6775947"/>
              <a:gd name="connsiteY197" fmla="*/ 358596 h 4298032"/>
              <a:gd name="connsiteX198" fmla="*/ 2754923 w 6775947"/>
              <a:gd name="connsiteY198" fmla="*/ 299981 h 4298032"/>
              <a:gd name="connsiteX199" fmla="*/ 2708030 w 6775947"/>
              <a:gd name="connsiteY199" fmla="*/ 200335 h 4298032"/>
              <a:gd name="connsiteX200" fmla="*/ 2702169 w 6775947"/>
              <a:gd name="connsiteY200" fmla="*/ 182750 h 4298032"/>
              <a:gd name="connsiteX201" fmla="*/ 2678723 w 6775947"/>
              <a:gd name="connsiteY201" fmla="*/ 153442 h 4298032"/>
              <a:gd name="connsiteX202" fmla="*/ 2602523 w 6775947"/>
              <a:gd name="connsiteY202" fmla="*/ 135858 h 4298032"/>
              <a:gd name="connsiteX203" fmla="*/ 2584938 w 6775947"/>
              <a:gd name="connsiteY203" fmla="*/ 129996 h 4298032"/>
              <a:gd name="connsiteX204" fmla="*/ 2514600 w 6775947"/>
              <a:gd name="connsiteY204" fmla="*/ 124135 h 4298032"/>
              <a:gd name="connsiteX205" fmla="*/ 2467707 w 6775947"/>
              <a:gd name="connsiteY205" fmla="*/ 59658 h 4298032"/>
              <a:gd name="connsiteX206" fmla="*/ 2403230 w 6775947"/>
              <a:gd name="connsiteY206" fmla="*/ 53796 h 4298032"/>
              <a:gd name="connsiteX207" fmla="*/ 2321169 w 6775947"/>
              <a:gd name="connsiteY207" fmla="*/ 47935 h 4298032"/>
              <a:gd name="connsiteX208" fmla="*/ 1793630 w 6775947"/>
              <a:gd name="connsiteY208" fmla="*/ 53796 h 4298032"/>
              <a:gd name="connsiteX209" fmla="*/ 1752600 w 6775947"/>
              <a:gd name="connsiteY209" fmla="*/ 65519 h 4298032"/>
              <a:gd name="connsiteX210" fmla="*/ 1717430 w 6775947"/>
              <a:gd name="connsiteY210" fmla="*/ 83104 h 4298032"/>
              <a:gd name="connsiteX211" fmla="*/ 1652954 w 6775947"/>
              <a:gd name="connsiteY211" fmla="*/ 88966 h 4298032"/>
              <a:gd name="connsiteX212" fmla="*/ 1371600 w 6775947"/>
              <a:gd name="connsiteY212" fmla="*/ 77242 h 4298032"/>
              <a:gd name="connsiteX213" fmla="*/ 826477 w 6775947"/>
              <a:gd name="connsiteY213" fmla="*/ 59658 h 4298032"/>
              <a:gd name="connsiteX214" fmla="*/ 451338 w 6775947"/>
              <a:gd name="connsiteY214" fmla="*/ 65519 h 4298032"/>
              <a:gd name="connsiteX215" fmla="*/ 375138 w 6775947"/>
              <a:gd name="connsiteY215" fmla="*/ 88966 h 4298032"/>
              <a:gd name="connsiteX216" fmla="*/ 199292 w 6775947"/>
              <a:gd name="connsiteY216" fmla="*/ 182750 h 4298032"/>
              <a:gd name="connsiteX217" fmla="*/ 146538 w 6775947"/>
              <a:gd name="connsiteY217" fmla="*/ 217919 h 4298032"/>
              <a:gd name="connsiteX218" fmla="*/ 29307 w 6775947"/>
              <a:gd name="connsiteY218" fmla="*/ 552027 h 4298032"/>
              <a:gd name="connsiteX219" fmla="*/ 0 w 6775947"/>
              <a:gd name="connsiteY219" fmla="*/ 921304 h 4298032"/>
              <a:gd name="connsiteX220" fmla="*/ 23446 w 6775947"/>
              <a:gd name="connsiteY220" fmla="*/ 2064304 h 4298032"/>
              <a:gd name="connsiteX221" fmla="*/ 93784 w 6775947"/>
              <a:gd name="connsiteY221" fmla="*/ 2339796 h 4298032"/>
              <a:gd name="connsiteX222" fmla="*/ 433754 w 6775947"/>
              <a:gd name="connsiteY222" fmla="*/ 2961119 h 4298032"/>
              <a:gd name="connsiteX223" fmla="*/ 662354 w 6775947"/>
              <a:gd name="connsiteY223" fmla="*/ 3254196 h 4298032"/>
              <a:gd name="connsiteX224" fmla="*/ 785446 w 6775947"/>
              <a:gd name="connsiteY224" fmla="*/ 3418319 h 4298032"/>
              <a:gd name="connsiteX225" fmla="*/ 1066800 w 6775947"/>
              <a:gd name="connsiteY225" fmla="*/ 3770012 h 4298032"/>
              <a:gd name="connsiteX226" fmla="*/ 1436077 w 6775947"/>
              <a:gd name="connsiteY226" fmla="*/ 4027919 h 4298032"/>
              <a:gd name="connsiteX227" fmla="*/ 1735015 w 6775947"/>
              <a:gd name="connsiteY227" fmla="*/ 4162735 h 4298032"/>
              <a:gd name="connsiteX228" fmla="*/ 1817077 w 6775947"/>
              <a:gd name="connsiteY228" fmla="*/ 4197904 h 4298032"/>
              <a:gd name="connsiteX229" fmla="*/ 1893277 w 6775947"/>
              <a:gd name="connsiteY229" fmla="*/ 4233073 h 4298032"/>
              <a:gd name="connsiteX230" fmla="*/ 2039815 w 6775947"/>
              <a:gd name="connsiteY230" fmla="*/ 4244796 h 4298032"/>
              <a:gd name="connsiteX231" fmla="*/ 2250830 w 6775947"/>
              <a:gd name="connsiteY231" fmla="*/ 4221350 h 4298032"/>
              <a:gd name="connsiteX232" fmla="*/ 2286000 w 6775947"/>
              <a:gd name="connsiteY232" fmla="*/ 4215489 h 4298032"/>
              <a:gd name="connsiteX233" fmla="*/ 2450123 w 6775947"/>
              <a:gd name="connsiteY233" fmla="*/ 4221350 h 4298032"/>
              <a:gd name="connsiteX234" fmla="*/ 2567354 w 6775947"/>
              <a:gd name="connsiteY234" fmla="*/ 4233073 h 4298032"/>
              <a:gd name="connsiteX235" fmla="*/ 2608384 w 6775947"/>
              <a:gd name="connsiteY235" fmla="*/ 4238935 h 4298032"/>
              <a:gd name="connsiteX236" fmla="*/ 2813538 w 6775947"/>
              <a:gd name="connsiteY236" fmla="*/ 4244796 h 4298032"/>
              <a:gd name="connsiteX237" fmla="*/ 2924907 w 6775947"/>
              <a:gd name="connsiteY237" fmla="*/ 4256519 h 4298032"/>
              <a:gd name="connsiteX238" fmla="*/ 2960077 w 6775947"/>
              <a:gd name="connsiteY238" fmla="*/ 4262381 h 4298032"/>
              <a:gd name="connsiteX239" fmla="*/ 3006969 w 6775947"/>
              <a:gd name="connsiteY239" fmla="*/ 4268242 h 4298032"/>
              <a:gd name="connsiteX240" fmla="*/ 3106615 w 6775947"/>
              <a:gd name="connsiteY240" fmla="*/ 4285827 h 4298032"/>
              <a:gd name="connsiteX241" fmla="*/ 3130061 w 6775947"/>
              <a:gd name="connsiteY241" fmla="*/ 4291689 h 4298032"/>
              <a:gd name="connsiteX242" fmla="*/ 3294184 w 6775947"/>
              <a:gd name="connsiteY242" fmla="*/ 4285827 h 4298032"/>
              <a:gd name="connsiteX243" fmla="*/ 3323492 w 6775947"/>
              <a:gd name="connsiteY243" fmla="*/ 4279966 h 4298032"/>
              <a:gd name="connsiteX244" fmla="*/ 3364523 w 6775947"/>
              <a:gd name="connsiteY244" fmla="*/ 4274104 h 4298032"/>
              <a:gd name="connsiteX245" fmla="*/ 4525107 w 6775947"/>
              <a:gd name="connsiteY245" fmla="*/ 4279966 h 4298032"/>
              <a:gd name="connsiteX246" fmla="*/ 4759569 w 6775947"/>
              <a:gd name="connsiteY246" fmla="*/ 4233073 h 4298032"/>
              <a:gd name="connsiteX247" fmla="*/ 5175738 w 6775947"/>
              <a:gd name="connsiteY247" fmla="*/ 4209627 h 4298032"/>
              <a:gd name="connsiteX248" fmla="*/ 5216769 w 6775947"/>
              <a:gd name="connsiteY248" fmla="*/ 4180319 h 4298032"/>
              <a:gd name="connsiteX249" fmla="*/ 5234354 w 6775947"/>
              <a:gd name="connsiteY249" fmla="*/ 4156873 h 4298032"/>
              <a:gd name="connsiteX250" fmla="*/ 5251938 w 6775947"/>
              <a:gd name="connsiteY250" fmla="*/ 4139289 h 4298032"/>
              <a:gd name="connsiteX251" fmla="*/ 5275384 w 6775947"/>
              <a:gd name="connsiteY251" fmla="*/ 4109981 h 4298032"/>
              <a:gd name="connsiteX252" fmla="*/ 5404338 w 6775947"/>
              <a:gd name="connsiteY252" fmla="*/ 4022058 h 4298032"/>
              <a:gd name="connsiteX253" fmla="*/ 5498123 w 6775947"/>
              <a:gd name="connsiteY253" fmla="*/ 3934135 h 4298032"/>
              <a:gd name="connsiteX254" fmla="*/ 5550877 w 6775947"/>
              <a:gd name="connsiteY254" fmla="*/ 3898966 h 4298032"/>
              <a:gd name="connsiteX255" fmla="*/ 5715000 w 6775947"/>
              <a:gd name="connsiteY255" fmla="*/ 3723119 h 4298032"/>
              <a:gd name="connsiteX256" fmla="*/ 5802923 w 6775947"/>
              <a:gd name="connsiteY256" fmla="*/ 3617612 h 4298032"/>
              <a:gd name="connsiteX257" fmla="*/ 5838092 w 6775947"/>
              <a:gd name="connsiteY257" fmla="*/ 3547273 h 4298032"/>
              <a:gd name="connsiteX258" fmla="*/ 5879123 w 6775947"/>
              <a:gd name="connsiteY258" fmla="*/ 3476935 h 4298032"/>
              <a:gd name="connsiteX259" fmla="*/ 5908430 w 6775947"/>
              <a:gd name="connsiteY259" fmla="*/ 3447627 h 4298032"/>
              <a:gd name="connsiteX260" fmla="*/ 5926015 w 6775947"/>
              <a:gd name="connsiteY260" fmla="*/ 3412458 h 4298032"/>
              <a:gd name="connsiteX261" fmla="*/ 6119446 w 6775947"/>
              <a:gd name="connsiteY261" fmla="*/ 3219027 h 4298032"/>
              <a:gd name="connsiteX262" fmla="*/ 6236677 w 6775947"/>
              <a:gd name="connsiteY262" fmla="*/ 3095935 h 4298032"/>
              <a:gd name="connsiteX263" fmla="*/ 6318738 w 6775947"/>
              <a:gd name="connsiteY263" fmla="*/ 2961119 h 4298032"/>
              <a:gd name="connsiteX264" fmla="*/ 6330461 w 6775947"/>
              <a:gd name="connsiteY264" fmla="*/ 2902504 h 4298032"/>
              <a:gd name="connsiteX265" fmla="*/ 6453554 w 6775947"/>
              <a:gd name="connsiteY265" fmla="*/ 2574258 h 4298032"/>
              <a:gd name="connsiteX266" fmla="*/ 6547338 w 6775947"/>
              <a:gd name="connsiteY266" fmla="*/ 2398412 h 4298032"/>
              <a:gd name="connsiteX267" fmla="*/ 6629400 w 6775947"/>
              <a:gd name="connsiteY267" fmla="*/ 2263596 h 4298032"/>
              <a:gd name="connsiteX268" fmla="*/ 6646984 w 6775947"/>
              <a:gd name="connsiteY268" fmla="*/ 2228427 h 4298032"/>
              <a:gd name="connsiteX269" fmla="*/ 6705600 w 6775947"/>
              <a:gd name="connsiteY269" fmla="*/ 2175673 h 4298032"/>
              <a:gd name="connsiteX270" fmla="*/ 6723184 w 6775947"/>
              <a:gd name="connsiteY270" fmla="*/ 2122919 h 4298032"/>
              <a:gd name="connsiteX271" fmla="*/ 6764215 w 6775947"/>
              <a:gd name="connsiteY271" fmla="*/ 1882596 h 4298032"/>
              <a:gd name="connsiteX272" fmla="*/ 6764215 w 6775947"/>
              <a:gd name="connsiteY272" fmla="*/ 827519 h 4298032"/>
              <a:gd name="connsiteX273" fmla="*/ 6740769 w 6775947"/>
              <a:gd name="connsiteY273" fmla="*/ 241366 h 4298032"/>
              <a:gd name="connsiteX274" fmla="*/ 6729046 w 6775947"/>
              <a:gd name="connsiteY274" fmla="*/ 171027 h 4298032"/>
              <a:gd name="connsiteX275" fmla="*/ 6723184 w 6775947"/>
              <a:gd name="connsiteY275" fmla="*/ 147581 h 4298032"/>
              <a:gd name="connsiteX276" fmla="*/ 6670430 w 6775947"/>
              <a:gd name="connsiteY276" fmla="*/ 100689 h 4298032"/>
              <a:gd name="connsiteX277" fmla="*/ 6559061 w 6775947"/>
              <a:gd name="connsiteY277" fmla="*/ 71381 h 4298032"/>
              <a:gd name="connsiteX278" fmla="*/ 6506307 w 6775947"/>
              <a:gd name="connsiteY278" fmla="*/ 42073 h 4298032"/>
              <a:gd name="connsiteX279" fmla="*/ 6477000 w 6775947"/>
              <a:gd name="connsiteY279" fmla="*/ 30350 h 4298032"/>
              <a:gd name="connsiteX280" fmla="*/ 6371492 w 6775947"/>
              <a:gd name="connsiteY280" fmla="*/ 59658 h 4298032"/>
              <a:gd name="connsiteX281" fmla="*/ 5597769 w 6775947"/>
              <a:gd name="connsiteY281" fmla="*/ 30350 h 4298032"/>
              <a:gd name="connsiteX282" fmla="*/ 5533292 w 6775947"/>
              <a:gd name="connsiteY282" fmla="*/ 24489 h 4298032"/>
              <a:gd name="connsiteX283" fmla="*/ 5175738 w 6775947"/>
              <a:gd name="connsiteY283" fmla="*/ 30350 h 4298032"/>
              <a:gd name="connsiteX284" fmla="*/ 5064369 w 6775947"/>
              <a:gd name="connsiteY284" fmla="*/ 42073 h 4298032"/>
              <a:gd name="connsiteX285" fmla="*/ 4360984 w 6775947"/>
              <a:gd name="connsiteY285" fmla="*/ 53796 h 4298032"/>
              <a:gd name="connsiteX286" fmla="*/ 4314092 w 6775947"/>
              <a:gd name="connsiteY286" fmla="*/ 106550 h 4298032"/>
              <a:gd name="connsiteX287" fmla="*/ 4302369 w 6775947"/>
              <a:gd name="connsiteY287" fmla="*/ 165166 h 4298032"/>
              <a:gd name="connsiteX0" fmla="*/ 4302369 w 6775947"/>
              <a:gd name="connsiteY0" fmla="*/ 165166 h 4298032"/>
              <a:gd name="connsiteX1" fmla="*/ 4302369 w 6775947"/>
              <a:gd name="connsiteY1" fmla="*/ 165166 h 4298032"/>
              <a:gd name="connsiteX2" fmla="*/ 4232030 w 6775947"/>
              <a:gd name="connsiteY2" fmla="*/ 129996 h 4298032"/>
              <a:gd name="connsiteX3" fmla="*/ 4208584 w 6775947"/>
              <a:gd name="connsiteY3" fmla="*/ 112412 h 4298032"/>
              <a:gd name="connsiteX4" fmla="*/ 4149969 w 6775947"/>
              <a:gd name="connsiteY4" fmla="*/ 94827 h 4298032"/>
              <a:gd name="connsiteX5" fmla="*/ 4097215 w 6775947"/>
              <a:gd name="connsiteY5" fmla="*/ 83104 h 4298032"/>
              <a:gd name="connsiteX6" fmla="*/ 4073769 w 6775947"/>
              <a:gd name="connsiteY6" fmla="*/ 77242 h 4298032"/>
              <a:gd name="connsiteX7" fmla="*/ 3927230 w 6775947"/>
              <a:gd name="connsiteY7" fmla="*/ 65519 h 4298032"/>
              <a:gd name="connsiteX8" fmla="*/ 3745523 w 6775947"/>
              <a:gd name="connsiteY8" fmla="*/ 42073 h 4298032"/>
              <a:gd name="connsiteX9" fmla="*/ 3716215 w 6775947"/>
              <a:gd name="connsiteY9" fmla="*/ 30350 h 4298032"/>
              <a:gd name="connsiteX10" fmla="*/ 3563815 w 6775947"/>
              <a:gd name="connsiteY10" fmla="*/ 30350 h 4298032"/>
              <a:gd name="connsiteX11" fmla="*/ 3499338 w 6775947"/>
              <a:gd name="connsiteY11" fmla="*/ 47935 h 4298032"/>
              <a:gd name="connsiteX12" fmla="*/ 3458307 w 6775947"/>
              <a:gd name="connsiteY12" fmla="*/ 53796 h 4298032"/>
              <a:gd name="connsiteX13" fmla="*/ 3376246 w 6775947"/>
              <a:gd name="connsiteY13" fmla="*/ 65519 h 4298032"/>
              <a:gd name="connsiteX14" fmla="*/ 3352800 w 6775947"/>
              <a:gd name="connsiteY14" fmla="*/ 71381 h 4298032"/>
              <a:gd name="connsiteX15" fmla="*/ 3288323 w 6775947"/>
              <a:gd name="connsiteY15" fmla="*/ 100689 h 4298032"/>
              <a:gd name="connsiteX16" fmla="*/ 3194538 w 6775947"/>
              <a:gd name="connsiteY16" fmla="*/ 118273 h 4298032"/>
              <a:gd name="connsiteX17" fmla="*/ 3112477 w 6775947"/>
              <a:gd name="connsiteY17" fmla="*/ 147581 h 4298032"/>
              <a:gd name="connsiteX18" fmla="*/ 3059723 w 6775947"/>
              <a:gd name="connsiteY18" fmla="*/ 217919 h 4298032"/>
              <a:gd name="connsiteX19" fmla="*/ 2971800 w 6775947"/>
              <a:gd name="connsiteY19" fmla="*/ 358596 h 4298032"/>
              <a:gd name="connsiteX20" fmla="*/ 2960077 w 6775947"/>
              <a:gd name="connsiteY20" fmla="*/ 405489 h 4298032"/>
              <a:gd name="connsiteX21" fmla="*/ 2948354 w 6775947"/>
              <a:gd name="connsiteY21" fmla="*/ 446519 h 4298032"/>
              <a:gd name="connsiteX22" fmla="*/ 2954215 w 6775947"/>
              <a:gd name="connsiteY22" fmla="*/ 722012 h 4298032"/>
              <a:gd name="connsiteX23" fmla="*/ 2971800 w 6775947"/>
              <a:gd name="connsiteY23" fmla="*/ 915442 h 4298032"/>
              <a:gd name="connsiteX24" fmla="*/ 2989384 w 6775947"/>
              <a:gd name="connsiteY24" fmla="*/ 1038535 h 4298032"/>
              <a:gd name="connsiteX25" fmla="*/ 3018692 w 6775947"/>
              <a:gd name="connsiteY25" fmla="*/ 1138181 h 4298032"/>
              <a:gd name="connsiteX26" fmla="*/ 3036277 w 6775947"/>
              <a:gd name="connsiteY26" fmla="*/ 1214381 h 4298032"/>
              <a:gd name="connsiteX27" fmla="*/ 3042138 w 6775947"/>
              <a:gd name="connsiteY27" fmla="*/ 1278858 h 4298032"/>
              <a:gd name="connsiteX28" fmla="*/ 3071446 w 6775947"/>
              <a:gd name="connsiteY28" fmla="*/ 1337473 h 4298032"/>
              <a:gd name="connsiteX29" fmla="*/ 3171092 w 6775947"/>
              <a:gd name="connsiteY29" fmla="*/ 1560212 h 4298032"/>
              <a:gd name="connsiteX30" fmla="*/ 3200400 w 6775947"/>
              <a:gd name="connsiteY30" fmla="*/ 1612966 h 4298032"/>
              <a:gd name="connsiteX31" fmla="*/ 3229707 w 6775947"/>
              <a:gd name="connsiteY31" fmla="*/ 1659858 h 4298032"/>
              <a:gd name="connsiteX32" fmla="*/ 3276600 w 6775947"/>
              <a:gd name="connsiteY32" fmla="*/ 1747781 h 4298032"/>
              <a:gd name="connsiteX33" fmla="*/ 3341077 w 6775947"/>
              <a:gd name="connsiteY33" fmla="*/ 1853289 h 4298032"/>
              <a:gd name="connsiteX34" fmla="*/ 3446584 w 6775947"/>
              <a:gd name="connsiteY34" fmla="*/ 1958796 h 4298032"/>
              <a:gd name="connsiteX35" fmla="*/ 3511061 w 6775947"/>
              <a:gd name="connsiteY35" fmla="*/ 2034996 h 4298032"/>
              <a:gd name="connsiteX36" fmla="*/ 3616569 w 6775947"/>
              <a:gd name="connsiteY36" fmla="*/ 2117058 h 4298032"/>
              <a:gd name="connsiteX37" fmla="*/ 3675184 w 6775947"/>
              <a:gd name="connsiteY37" fmla="*/ 2158089 h 4298032"/>
              <a:gd name="connsiteX38" fmla="*/ 3774830 w 6775947"/>
              <a:gd name="connsiteY38" fmla="*/ 2234289 h 4298032"/>
              <a:gd name="connsiteX39" fmla="*/ 3833446 w 6775947"/>
              <a:gd name="connsiteY39" fmla="*/ 2246012 h 4298032"/>
              <a:gd name="connsiteX40" fmla="*/ 3903784 w 6775947"/>
              <a:gd name="connsiteY40" fmla="*/ 2263596 h 4298032"/>
              <a:gd name="connsiteX41" fmla="*/ 3944815 w 6775947"/>
              <a:gd name="connsiteY41" fmla="*/ 2269458 h 4298032"/>
              <a:gd name="connsiteX42" fmla="*/ 4050323 w 6775947"/>
              <a:gd name="connsiteY42" fmla="*/ 2287042 h 4298032"/>
              <a:gd name="connsiteX43" fmla="*/ 4073769 w 6775947"/>
              <a:gd name="connsiteY43" fmla="*/ 2292904 h 4298032"/>
              <a:gd name="connsiteX44" fmla="*/ 4155830 w 6775947"/>
              <a:gd name="connsiteY44" fmla="*/ 2298766 h 4298032"/>
              <a:gd name="connsiteX45" fmla="*/ 4255477 w 6775947"/>
              <a:gd name="connsiteY45" fmla="*/ 2357381 h 4298032"/>
              <a:gd name="connsiteX46" fmla="*/ 4284784 w 6775947"/>
              <a:gd name="connsiteY46" fmla="*/ 2369104 h 4298032"/>
              <a:gd name="connsiteX47" fmla="*/ 4378569 w 6775947"/>
              <a:gd name="connsiteY47" fmla="*/ 2374966 h 4298032"/>
              <a:gd name="connsiteX48" fmla="*/ 4448907 w 6775947"/>
              <a:gd name="connsiteY48" fmla="*/ 2380827 h 4298032"/>
              <a:gd name="connsiteX49" fmla="*/ 4548554 w 6775947"/>
              <a:gd name="connsiteY49" fmla="*/ 2374966 h 4298032"/>
              <a:gd name="connsiteX50" fmla="*/ 4548553 w 6775947"/>
              <a:gd name="connsiteY50" fmla="*/ 2392550 h 4298032"/>
              <a:gd name="connsiteX51" fmla="*/ 4583722 w 6775947"/>
              <a:gd name="connsiteY51" fmla="*/ 2374966 h 4298032"/>
              <a:gd name="connsiteX52" fmla="*/ 4677507 w 6775947"/>
              <a:gd name="connsiteY52" fmla="*/ 2292904 h 4298032"/>
              <a:gd name="connsiteX53" fmla="*/ 4736123 w 6775947"/>
              <a:gd name="connsiteY53" fmla="*/ 2240151 h 4298032"/>
              <a:gd name="connsiteX54" fmla="*/ 4747846 w 6775947"/>
              <a:gd name="connsiteY54" fmla="*/ 2169812 h 4298032"/>
              <a:gd name="connsiteX55" fmla="*/ 4706815 w 6775947"/>
              <a:gd name="connsiteY55" fmla="*/ 2076027 h 4298032"/>
              <a:gd name="connsiteX56" fmla="*/ 4695092 w 6775947"/>
              <a:gd name="connsiteY56" fmla="*/ 2029135 h 4298032"/>
              <a:gd name="connsiteX57" fmla="*/ 4683369 w 6775947"/>
              <a:gd name="connsiteY57" fmla="*/ 1993966 h 4298032"/>
              <a:gd name="connsiteX58" fmla="*/ 4665784 w 6775947"/>
              <a:gd name="connsiteY58" fmla="*/ 1888458 h 4298032"/>
              <a:gd name="connsiteX59" fmla="*/ 4636477 w 6775947"/>
              <a:gd name="connsiteY59" fmla="*/ 1759504 h 4298032"/>
              <a:gd name="connsiteX60" fmla="*/ 4613030 w 6775947"/>
              <a:gd name="connsiteY60" fmla="*/ 1478150 h 4298032"/>
              <a:gd name="connsiteX61" fmla="*/ 4601307 w 6775947"/>
              <a:gd name="connsiteY61" fmla="*/ 1431258 h 4298032"/>
              <a:gd name="connsiteX62" fmla="*/ 4583723 w 6775947"/>
              <a:gd name="connsiteY62" fmla="*/ 1396089 h 4298032"/>
              <a:gd name="connsiteX63" fmla="*/ 4577861 w 6775947"/>
              <a:gd name="connsiteY63" fmla="*/ 1378504 h 4298032"/>
              <a:gd name="connsiteX64" fmla="*/ 4566138 w 6775947"/>
              <a:gd name="connsiteY64" fmla="*/ 1308166 h 4298032"/>
              <a:gd name="connsiteX65" fmla="*/ 4548554 w 6775947"/>
              <a:gd name="connsiteY65" fmla="*/ 1226104 h 4298032"/>
              <a:gd name="connsiteX66" fmla="*/ 4542692 w 6775947"/>
              <a:gd name="connsiteY66" fmla="*/ 1173350 h 4298032"/>
              <a:gd name="connsiteX67" fmla="*/ 4478215 w 6775947"/>
              <a:gd name="connsiteY67" fmla="*/ 1103012 h 4298032"/>
              <a:gd name="connsiteX68" fmla="*/ 4460630 w 6775947"/>
              <a:gd name="connsiteY68" fmla="*/ 1085427 h 4298032"/>
              <a:gd name="connsiteX69" fmla="*/ 4437184 w 6775947"/>
              <a:gd name="connsiteY69" fmla="*/ 1044396 h 4298032"/>
              <a:gd name="connsiteX70" fmla="*/ 4419600 w 6775947"/>
              <a:gd name="connsiteY70" fmla="*/ 1003366 h 4298032"/>
              <a:gd name="connsiteX71" fmla="*/ 4378569 w 6775947"/>
              <a:gd name="connsiteY71" fmla="*/ 886135 h 4298032"/>
              <a:gd name="connsiteX72" fmla="*/ 4325815 w 6775947"/>
              <a:gd name="connsiteY72" fmla="*/ 845104 h 4298032"/>
              <a:gd name="connsiteX73" fmla="*/ 4308230 w 6775947"/>
              <a:gd name="connsiteY73" fmla="*/ 827519 h 4298032"/>
              <a:gd name="connsiteX74" fmla="*/ 4296507 w 6775947"/>
              <a:gd name="connsiteY74" fmla="*/ 780627 h 4298032"/>
              <a:gd name="connsiteX75" fmla="*/ 4325815 w 6775947"/>
              <a:gd name="connsiteY75" fmla="*/ 522719 h 4298032"/>
              <a:gd name="connsiteX76" fmla="*/ 4314092 w 6775947"/>
              <a:gd name="connsiteY76" fmla="*/ 440658 h 4298032"/>
              <a:gd name="connsiteX77" fmla="*/ 4319954 w 6775947"/>
              <a:gd name="connsiteY77" fmla="*/ 417212 h 4298032"/>
              <a:gd name="connsiteX78" fmla="*/ 4337538 w 6775947"/>
              <a:gd name="connsiteY78" fmla="*/ 311704 h 4298032"/>
              <a:gd name="connsiteX79" fmla="*/ 4343400 w 6775947"/>
              <a:gd name="connsiteY79" fmla="*/ 276535 h 4298032"/>
              <a:gd name="connsiteX80" fmla="*/ 4355123 w 6775947"/>
              <a:gd name="connsiteY80" fmla="*/ 194474 h 4298032"/>
              <a:gd name="connsiteX81" fmla="*/ 4360984 w 6775947"/>
              <a:gd name="connsiteY81" fmla="*/ 100688 h 4298032"/>
              <a:gd name="connsiteX82" fmla="*/ 4448908 w 6775947"/>
              <a:gd name="connsiteY82" fmla="*/ 65519 h 4298032"/>
              <a:gd name="connsiteX83" fmla="*/ 4554415 w 6775947"/>
              <a:gd name="connsiteY83" fmla="*/ 1042 h 4298032"/>
              <a:gd name="connsiteX84" fmla="*/ 4613030 w 6775947"/>
              <a:gd name="connsiteY84" fmla="*/ 106550 h 4298032"/>
              <a:gd name="connsiteX85" fmla="*/ 4671646 w 6775947"/>
              <a:gd name="connsiteY85" fmla="*/ 100689 h 4298032"/>
              <a:gd name="connsiteX86" fmla="*/ 5246077 w 6775947"/>
              <a:gd name="connsiteY86" fmla="*/ 94827 h 4298032"/>
              <a:gd name="connsiteX87" fmla="*/ 5304692 w 6775947"/>
              <a:gd name="connsiteY87" fmla="*/ 106550 h 4298032"/>
              <a:gd name="connsiteX88" fmla="*/ 5345723 w 6775947"/>
              <a:gd name="connsiteY88" fmla="*/ 112412 h 4298032"/>
              <a:gd name="connsiteX89" fmla="*/ 5527430 w 6775947"/>
              <a:gd name="connsiteY89" fmla="*/ 118273 h 4298032"/>
              <a:gd name="connsiteX90" fmla="*/ 5545015 w 6775947"/>
              <a:gd name="connsiteY90" fmla="*/ 124135 h 4298032"/>
              <a:gd name="connsiteX91" fmla="*/ 5586046 w 6775947"/>
              <a:gd name="connsiteY91" fmla="*/ 159304 h 4298032"/>
              <a:gd name="connsiteX92" fmla="*/ 5615354 w 6775947"/>
              <a:gd name="connsiteY92" fmla="*/ 182750 h 4298032"/>
              <a:gd name="connsiteX93" fmla="*/ 5632938 w 6775947"/>
              <a:gd name="connsiteY93" fmla="*/ 188612 h 4298032"/>
              <a:gd name="connsiteX94" fmla="*/ 5656384 w 6775947"/>
              <a:gd name="connsiteY94" fmla="*/ 206196 h 4298032"/>
              <a:gd name="connsiteX95" fmla="*/ 5709138 w 6775947"/>
              <a:gd name="connsiteY95" fmla="*/ 241366 h 4298032"/>
              <a:gd name="connsiteX96" fmla="*/ 5738446 w 6775947"/>
              <a:gd name="connsiteY96" fmla="*/ 270673 h 4298032"/>
              <a:gd name="connsiteX97" fmla="*/ 5756030 w 6775947"/>
              <a:gd name="connsiteY97" fmla="*/ 305842 h 4298032"/>
              <a:gd name="connsiteX98" fmla="*/ 5791200 w 6775947"/>
              <a:gd name="connsiteY98" fmla="*/ 364458 h 4298032"/>
              <a:gd name="connsiteX99" fmla="*/ 5756030 w 6775947"/>
              <a:gd name="connsiteY99" fmla="*/ 616504 h 4298032"/>
              <a:gd name="connsiteX100" fmla="*/ 5709138 w 6775947"/>
              <a:gd name="connsiteY100" fmla="*/ 774766 h 4298032"/>
              <a:gd name="connsiteX101" fmla="*/ 5650523 w 6775947"/>
              <a:gd name="connsiteY101" fmla="*/ 903719 h 4298032"/>
              <a:gd name="connsiteX102" fmla="*/ 5597769 w 6775947"/>
              <a:gd name="connsiteY102" fmla="*/ 1032673 h 4298032"/>
              <a:gd name="connsiteX103" fmla="*/ 5591907 w 6775947"/>
              <a:gd name="connsiteY103" fmla="*/ 1061981 h 4298032"/>
              <a:gd name="connsiteX104" fmla="*/ 5586046 w 6775947"/>
              <a:gd name="connsiteY104" fmla="*/ 1079566 h 4298032"/>
              <a:gd name="connsiteX105" fmla="*/ 5556738 w 6775947"/>
              <a:gd name="connsiteY105" fmla="*/ 1196796 h 4298032"/>
              <a:gd name="connsiteX106" fmla="*/ 5515707 w 6775947"/>
              <a:gd name="connsiteY106" fmla="*/ 1302304 h 4298032"/>
              <a:gd name="connsiteX107" fmla="*/ 5480538 w 6775947"/>
              <a:gd name="connsiteY107" fmla="*/ 1419535 h 4298032"/>
              <a:gd name="connsiteX108" fmla="*/ 5468815 w 6775947"/>
              <a:gd name="connsiteY108" fmla="*/ 1448842 h 4298032"/>
              <a:gd name="connsiteX109" fmla="*/ 5439507 w 6775947"/>
              <a:gd name="connsiteY109" fmla="*/ 1501596 h 4298032"/>
              <a:gd name="connsiteX110" fmla="*/ 5421923 w 6775947"/>
              <a:gd name="connsiteY110" fmla="*/ 1554350 h 4298032"/>
              <a:gd name="connsiteX111" fmla="*/ 5392615 w 6775947"/>
              <a:gd name="connsiteY111" fmla="*/ 1630550 h 4298032"/>
              <a:gd name="connsiteX112" fmla="*/ 5369169 w 6775947"/>
              <a:gd name="connsiteY112" fmla="*/ 1700889 h 4298032"/>
              <a:gd name="connsiteX113" fmla="*/ 5351584 w 6775947"/>
              <a:gd name="connsiteY113" fmla="*/ 1859150 h 4298032"/>
              <a:gd name="connsiteX114" fmla="*/ 5339861 w 6775947"/>
              <a:gd name="connsiteY114" fmla="*/ 1888458 h 4298032"/>
              <a:gd name="connsiteX115" fmla="*/ 5334000 w 6775947"/>
              <a:gd name="connsiteY115" fmla="*/ 1911904 h 4298032"/>
              <a:gd name="connsiteX116" fmla="*/ 5316415 w 6775947"/>
              <a:gd name="connsiteY116" fmla="*/ 1993966 h 4298032"/>
              <a:gd name="connsiteX117" fmla="*/ 5292969 w 6775947"/>
              <a:gd name="connsiteY117" fmla="*/ 2029135 h 4298032"/>
              <a:gd name="connsiteX118" fmla="*/ 5269523 w 6775947"/>
              <a:gd name="connsiteY118" fmla="*/ 2076027 h 4298032"/>
              <a:gd name="connsiteX119" fmla="*/ 5257800 w 6775947"/>
              <a:gd name="connsiteY119" fmla="*/ 2099473 h 4298032"/>
              <a:gd name="connsiteX120" fmla="*/ 5240215 w 6775947"/>
              <a:gd name="connsiteY120" fmla="*/ 2122919 h 4298032"/>
              <a:gd name="connsiteX121" fmla="*/ 5234354 w 6775947"/>
              <a:gd name="connsiteY121" fmla="*/ 2152227 h 4298032"/>
              <a:gd name="connsiteX122" fmla="*/ 5222630 w 6775947"/>
              <a:gd name="connsiteY122" fmla="*/ 2163950 h 4298032"/>
              <a:gd name="connsiteX123" fmla="*/ 5210907 w 6775947"/>
              <a:gd name="connsiteY123" fmla="*/ 2187396 h 4298032"/>
              <a:gd name="connsiteX124" fmla="*/ 5193323 w 6775947"/>
              <a:gd name="connsiteY124" fmla="*/ 2210842 h 4298032"/>
              <a:gd name="connsiteX125" fmla="*/ 5175738 w 6775947"/>
              <a:gd name="connsiteY125" fmla="*/ 2287042 h 4298032"/>
              <a:gd name="connsiteX126" fmla="*/ 5216769 w 6775947"/>
              <a:gd name="connsiteY126" fmla="*/ 2328073 h 4298032"/>
              <a:gd name="connsiteX127" fmla="*/ 5234353 w 6775947"/>
              <a:gd name="connsiteY127" fmla="*/ 2369103 h 4298032"/>
              <a:gd name="connsiteX128" fmla="*/ 5251939 w 6775947"/>
              <a:gd name="connsiteY128" fmla="*/ 2380828 h 4298032"/>
              <a:gd name="connsiteX129" fmla="*/ 5281246 w 6775947"/>
              <a:gd name="connsiteY129" fmla="*/ 2451166 h 4298032"/>
              <a:gd name="connsiteX130" fmla="*/ 5287107 w 6775947"/>
              <a:gd name="connsiteY130" fmla="*/ 2580119 h 4298032"/>
              <a:gd name="connsiteX131" fmla="*/ 5298830 w 6775947"/>
              <a:gd name="connsiteY131" fmla="*/ 2638735 h 4298032"/>
              <a:gd name="connsiteX132" fmla="*/ 5310554 w 6775947"/>
              <a:gd name="connsiteY132" fmla="*/ 2744242 h 4298032"/>
              <a:gd name="connsiteX133" fmla="*/ 5316415 w 6775947"/>
              <a:gd name="connsiteY133" fmla="*/ 2908366 h 4298032"/>
              <a:gd name="connsiteX134" fmla="*/ 5357446 w 6775947"/>
              <a:gd name="connsiteY134" fmla="*/ 3002150 h 4298032"/>
              <a:gd name="connsiteX135" fmla="*/ 5363307 w 6775947"/>
              <a:gd name="connsiteY135" fmla="*/ 3037319 h 4298032"/>
              <a:gd name="connsiteX136" fmla="*/ 5380892 w 6775947"/>
              <a:gd name="connsiteY136" fmla="*/ 3060766 h 4298032"/>
              <a:gd name="connsiteX137" fmla="*/ 5386754 w 6775947"/>
              <a:gd name="connsiteY137" fmla="*/ 3107658 h 4298032"/>
              <a:gd name="connsiteX138" fmla="*/ 5404338 w 6775947"/>
              <a:gd name="connsiteY138" fmla="*/ 3154550 h 4298032"/>
              <a:gd name="connsiteX139" fmla="*/ 5404338 w 6775947"/>
              <a:gd name="connsiteY139" fmla="*/ 3347981 h 4298032"/>
              <a:gd name="connsiteX140" fmla="*/ 5398477 w 6775947"/>
              <a:gd name="connsiteY140" fmla="*/ 3846212 h 4298032"/>
              <a:gd name="connsiteX141" fmla="*/ 5380892 w 6775947"/>
              <a:gd name="connsiteY141" fmla="*/ 3904827 h 4298032"/>
              <a:gd name="connsiteX142" fmla="*/ 5369169 w 6775947"/>
              <a:gd name="connsiteY142" fmla="*/ 3939996 h 4298032"/>
              <a:gd name="connsiteX143" fmla="*/ 5339861 w 6775947"/>
              <a:gd name="connsiteY143" fmla="*/ 3969304 h 4298032"/>
              <a:gd name="connsiteX144" fmla="*/ 5322277 w 6775947"/>
              <a:gd name="connsiteY144" fmla="*/ 4004473 h 4298032"/>
              <a:gd name="connsiteX145" fmla="*/ 5257800 w 6775947"/>
              <a:gd name="connsiteY145" fmla="*/ 4080673 h 4298032"/>
              <a:gd name="connsiteX146" fmla="*/ 5228492 w 6775947"/>
              <a:gd name="connsiteY146" fmla="*/ 4104119 h 4298032"/>
              <a:gd name="connsiteX147" fmla="*/ 5146430 w 6775947"/>
              <a:gd name="connsiteY147" fmla="*/ 4145150 h 4298032"/>
              <a:gd name="connsiteX148" fmla="*/ 5117123 w 6775947"/>
              <a:gd name="connsiteY148" fmla="*/ 4162735 h 4298032"/>
              <a:gd name="connsiteX149" fmla="*/ 5087815 w 6775947"/>
              <a:gd name="connsiteY149" fmla="*/ 4168596 h 4298032"/>
              <a:gd name="connsiteX150" fmla="*/ 4988169 w 6775947"/>
              <a:gd name="connsiteY150" fmla="*/ 4186181 h 4298032"/>
              <a:gd name="connsiteX151" fmla="*/ 4753707 w 6775947"/>
              <a:gd name="connsiteY151" fmla="*/ 4174458 h 4298032"/>
              <a:gd name="connsiteX152" fmla="*/ 4695092 w 6775947"/>
              <a:gd name="connsiteY152" fmla="*/ 4162735 h 4298032"/>
              <a:gd name="connsiteX153" fmla="*/ 4589584 w 6775947"/>
              <a:gd name="connsiteY153" fmla="*/ 4174458 h 4298032"/>
              <a:gd name="connsiteX154" fmla="*/ 4560277 w 6775947"/>
              <a:gd name="connsiteY154" fmla="*/ 4186181 h 4298032"/>
              <a:gd name="connsiteX155" fmla="*/ 4484077 w 6775947"/>
              <a:gd name="connsiteY155" fmla="*/ 4203766 h 4298032"/>
              <a:gd name="connsiteX156" fmla="*/ 4443046 w 6775947"/>
              <a:gd name="connsiteY156" fmla="*/ 4221350 h 4298032"/>
              <a:gd name="connsiteX157" fmla="*/ 4413738 w 6775947"/>
              <a:gd name="connsiteY157" fmla="*/ 4227212 h 4298032"/>
              <a:gd name="connsiteX158" fmla="*/ 4355123 w 6775947"/>
              <a:gd name="connsiteY158" fmla="*/ 4238935 h 4298032"/>
              <a:gd name="connsiteX159" fmla="*/ 4273061 w 6775947"/>
              <a:gd name="connsiteY159" fmla="*/ 4233073 h 4298032"/>
              <a:gd name="connsiteX160" fmla="*/ 4185138 w 6775947"/>
              <a:gd name="connsiteY160" fmla="*/ 4221350 h 4298032"/>
              <a:gd name="connsiteX161" fmla="*/ 4155830 w 6775947"/>
              <a:gd name="connsiteY161" fmla="*/ 4233073 h 4298032"/>
              <a:gd name="connsiteX162" fmla="*/ 4138246 w 6775947"/>
              <a:gd name="connsiteY162" fmla="*/ 4238935 h 4298032"/>
              <a:gd name="connsiteX163" fmla="*/ 3991707 w 6775947"/>
              <a:gd name="connsiteY163" fmla="*/ 4250658 h 4298032"/>
              <a:gd name="connsiteX164" fmla="*/ 3933092 w 6775947"/>
              <a:gd name="connsiteY164" fmla="*/ 4274104 h 4298032"/>
              <a:gd name="connsiteX165" fmla="*/ 3915507 w 6775947"/>
              <a:gd name="connsiteY165" fmla="*/ 4285827 h 4298032"/>
              <a:gd name="connsiteX166" fmla="*/ 3704492 w 6775947"/>
              <a:gd name="connsiteY166" fmla="*/ 4291689 h 4298032"/>
              <a:gd name="connsiteX167" fmla="*/ 3563815 w 6775947"/>
              <a:gd name="connsiteY167" fmla="*/ 4297551 h 4298032"/>
              <a:gd name="connsiteX168" fmla="*/ 3452446 w 6775947"/>
              <a:gd name="connsiteY168" fmla="*/ 4268242 h 4298032"/>
              <a:gd name="connsiteX169" fmla="*/ 3264877 w 6775947"/>
              <a:gd name="connsiteY169" fmla="*/ 4215489 h 4298032"/>
              <a:gd name="connsiteX170" fmla="*/ 3253154 w 6775947"/>
              <a:gd name="connsiteY170" fmla="*/ 4092396 h 4298032"/>
              <a:gd name="connsiteX171" fmla="*/ 3276600 w 6775947"/>
              <a:gd name="connsiteY171" fmla="*/ 3852073 h 4298032"/>
              <a:gd name="connsiteX172" fmla="*/ 3264877 w 6775947"/>
              <a:gd name="connsiteY172" fmla="*/ 3687950 h 4298032"/>
              <a:gd name="connsiteX173" fmla="*/ 3259015 w 6775947"/>
              <a:gd name="connsiteY173" fmla="*/ 3646919 h 4298032"/>
              <a:gd name="connsiteX174" fmla="*/ 3247292 w 6775947"/>
              <a:gd name="connsiteY174" fmla="*/ 3623473 h 4298032"/>
              <a:gd name="connsiteX175" fmla="*/ 3229707 w 6775947"/>
              <a:gd name="connsiteY175" fmla="*/ 3558996 h 4298032"/>
              <a:gd name="connsiteX176" fmla="*/ 3194538 w 6775947"/>
              <a:gd name="connsiteY176" fmla="*/ 3482796 h 4298032"/>
              <a:gd name="connsiteX177" fmla="*/ 3153507 w 6775947"/>
              <a:gd name="connsiteY177" fmla="*/ 3377289 h 4298032"/>
              <a:gd name="connsiteX178" fmla="*/ 3135923 w 6775947"/>
              <a:gd name="connsiteY178" fmla="*/ 3254196 h 4298032"/>
              <a:gd name="connsiteX179" fmla="*/ 3118338 w 6775947"/>
              <a:gd name="connsiteY179" fmla="*/ 3207304 h 4298032"/>
              <a:gd name="connsiteX180" fmla="*/ 3094892 w 6775947"/>
              <a:gd name="connsiteY180" fmla="*/ 2656319 h 4298032"/>
              <a:gd name="connsiteX181" fmla="*/ 3048000 w 6775947"/>
              <a:gd name="connsiteY181" fmla="*/ 2521504 h 4298032"/>
              <a:gd name="connsiteX182" fmla="*/ 3012830 w 6775947"/>
              <a:gd name="connsiteY182" fmla="*/ 2410135 h 4298032"/>
              <a:gd name="connsiteX183" fmla="*/ 3006969 w 6775947"/>
              <a:gd name="connsiteY183" fmla="*/ 2322212 h 4298032"/>
              <a:gd name="connsiteX184" fmla="*/ 2995246 w 6775947"/>
              <a:gd name="connsiteY184" fmla="*/ 2011550 h 4298032"/>
              <a:gd name="connsiteX185" fmla="*/ 2965938 w 6775947"/>
              <a:gd name="connsiteY185" fmla="*/ 1841566 h 4298032"/>
              <a:gd name="connsiteX186" fmla="*/ 2960077 w 6775947"/>
              <a:gd name="connsiteY186" fmla="*/ 1712612 h 4298032"/>
              <a:gd name="connsiteX187" fmla="*/ 2936630 w 6775947"/>
              <a:gd name="connsiteY187" fmla="*/ 1607104 h 4298032"/>
              <a:gd name="connsiteX188" fmla="*/ 2924907 w 6775947"/>
              <a:gd name="connsiteY188" fmla="*/ 1566073 h 4298032"/>
              <a:gd name="connsiteX189" fmla="*/ 2901461 w 6775947"/>
              <a:gd name="connsiteY189" fmla="*/ 1448842 h 4298032"/>
              <a:gd name="connsiteX190" fmla="*/ 2872154 w 6775947"/>
              <a:gd name="connsiteY190" fmla="*/ 1325750 h 4298032"/>
              <a:gd name="connsiteX191" fmla="*/ 2848707 w 6775947"/>
              <a:gd name="connsiteY191" fmla="*/ 1214381 h 4298032"/>
              <a:gd name="connsiteX192" fmla="*/ 2836984 w 6775947"/>
              <a:gd name="connsiteY192" fmla="*/ 1079566 h 4298032"/>
              <a:gd name="connsiteX193" fmla="*/ 2819400 w 6775947"/>
              <a:gd name="connsiteY193" fmla="*/ 991642 h 4298032"/>
              <a:gd name="connsiteX194" fmla="*/ 2813538 w 6775947"/>
              <a:gd name="connsiteY194" fmla="*/ 933027 h 4298032"/>
              <a:gd name="connsiteX195" fmla="*/ 2801815 w 6775947"/>
              <a:gd name="connsiteY195" fmla="*/ 839242 h 4298032"/>
              <a:gd name="connsiteX196" fmla="*/ 2795954 w 6775947"/>
              <a:gd name="connsiteY196" fmla="*/ 499273 h 4298032"/>
              <a:gd name="connsiteX197" fmla="*/ 2784230 w 6775947"/>
              <a:gd name="connsiteY197" fmla="*/ 358596 h 4298032"/>
              <a:gd name="connsiteX198" fmla="*/ 2754923 w 6775947"/>
              <a:gd name="connsiteY198" fmla="*/ 299981 h 4298032"/>
              <a:gd name="connsiteX199" fmla="*/ 2708030 w 6775947"/>
              <a:gd name="connsiteY199" fmla="*/ 200335 h 4298032"/>
              <a:gd name="connsiteX200" fmla="*/ 2702169 w 6775947"/>
              <a:gd name="connsiteY200" fmla="*/ 182750 h 4298032"/>
              <a:gd name="connsiteX201" fmla="*/ 2678723 w 6775947"/>
              <a:gd name="connsiteY201" fmla="*/ 153442 h 4298032"/>
              <a:gd name="connsiteX202" fmla="*/ 2602523 w 6775947"/>
              <a:gd name="connsiteY202" fmla="*/ 135858 h 4298032"/>
              <a:gd name="connsiteX203" fmla="*/ 2584938 w 6775947"/>
              <a:gd name="connsiteY203" fmla="*/ 129996 h 4298032"/>
              <a:gd name="connsiteX204" fmla="*/ 2514600 w 6775947"/>
              <a:gd name="connsiteY204" fmla="*/ 124135 h 4298032"/>
              <a:gd name="connsiteX205" fmla="*/ 2467707 w 6775947"/>
              <a:gd name="connsiteY205" fmla="*/ 59658 h 4298032"/>
              <a:gd name="connsiteX206" fmla="*/ 2403230 w 6775947"/>
              <a:gd name="connsiteY206" fmla="*/ 53796 h 4298032"/>
              <a:gd name="connsiteX207" fmla="*/ 2321169 w 6775947"/>
              <a:gd name="connsiteY207" fmla="*/ 47935 h 4298032"/>
              <a:gd name="connsiteX208" fmla="*/ 1793630 w 6775947"/>
              <a:gd name="connsiteY208" fmla="*/ 53796 h 4298032"/>
              <a:gd name="connsiteX209" fmla="*/ 1752600 w 6775947"/>
              <a:gd name="connsiteY209" fmla="*/ 65519 h 4298032"/>
              <a:gd name="connsiteX210" fmla="*/ 1717430 w 6775947"/>
              <a:gd name="connsiteY210" fmla="*/ 83104 h 4298032"/>
              <a:gd name="connsiteX211" fmla="*/ 1652954 w 6775947"/>
              <a:gd name="connsiteY211" fmla="*/ 88966 h 4298032"/>
              <a:gd name="connsiteX212" fmla="*/ 1371600 w 6775947"/>
              <a:gd name="connsiteY212" fmla="*/ 77242 h 4298032"/>
              <a:gd name="connsiteX213" fmla="*/ 826477 w 6775947"/>
              <a:gd name="connsiteY213" fmla="*/ 59658 h 4298032"/>
              <a:gd name="connsiteX214" fmla="*/ 451338 w 6775947"/>
              <a:gd name="connsiteY214" fmla="*/ 65519 h 4298032"/>
              <a:gd name="connsiteX215" fmla="*/ 375138 w 6775947"/>
              <a:gd name="connsiteY215" fmla="*/ 88966 h 4298032"/>
              <a:gd name="connsiteX216" fmla="*/ 199292 w 6775947"/>
              <a:gd name="connsiteY216" fmla="*/ 182750 h 4298032"/>
              <a:gd name="connsiteX217" fmla="*/ 146538 w 6775947"/>
              <a:gd name="connsiteY217" fmla="*/ 217919 h 4298032"/>
              <a:gd name="connsiteX218" fmla="*/ 29307 w 6775947"/>
              <a:gd name="connsiteY218" fmla="*/ 552027 h 4298032"/>
              <a:gd name="connsiteX219" fmla="*/ 0 w 6775947"/>
              <a:gd name="connsiteY219" fmla="*/ 921304 h 4298032"/>
              <a:gd name="connsiteX220" fmla="*/ 23446 w 6775947"/>
              <a:gd name="connsiteY220" fmla="*/ 2064304 h 4298032"/>
              <a:gd name="connsiteX221" fmla="*/ 93784 w 6775947"/>
              <a:gd name="connsiteY221" fmla="*/ 2339796 h 4298032"/>
              <a:gd name="connsiteX222" fmla="*/ 433754 w 6775947"/>
              <a:gd name="connsiteY222" fmla="*/ 2961119 h 4298032"/>
              <a:gd name="connsiteX223" fmla="*/ 662354 w 6775947"/>
              <a:gd name="connsiteY223" fmla="*/ 3254196 h 4298032"/>
              <a:gd name="connsiteX224" fmla="*/ 785446 w 6775947"/>
              <a:gd name="connsiteY224" fmla="*/ 3418319 h 4298032"/>
              <a:gd name="connsiteX225" fmla="*/ 1066800 w 6775947"/>
              <a:gd name="connsiteY225" fmla="*/ 3770012 h 4298032"/>
              <a:gd name="connsiteX226" fmla="*/ 1436077 w 6775947"/>
              <a:gd name="connsiteY226" fmla="*/ 4027919 h 4298032"/>
              <a:gd name="connsiteX227" fmla="*/ 1735015 w 6775947"/>
              <a:gd name="connsiteY227" fmla="*/ 4162735 h 4298032"/>
              <a:gd name="connsiteX228" fmla="*/ 1817077 w 6775947"/>
              <a:gd name="connsiteY228" fmla="*/ 4197904 h 4298032"/>
              <a:gd name="connsiteX229" fmla="*/ 1893277 w 6775947"/>
              <a:gd name="connsiteY229" fmla="*/ 4233073 h 4298032"/>
              <a:gd name="connsiteX230" fmla="*/ 2039815 w 6775947"/>
              <a:gd name="connsiteY230" fmla="*/ 4244796 h 4298032"/>
              <a:gd name="connsiteX231" fmla="*/ 2250830 w 6775947"/>
              <a:gd name="connsiteY231" fmla="*/ 4221350 h 4298032"/>
              <a:gd name="connsiteX232" fmla="*/ 2286000 w 6775947"/>
              <a:gd name="connsiteY232" fmla="*/ 4215489 h 4298032"/>
              <a:gd name="connsiteX233" fmla="*/ 2450123 w 6775947"/>
              <a:gd name="connsiteY233" fmla="*/ 4221350 h 4298032"/>
              <a:gd name="connsiteX234" fmla="*/ 2567354 w 6775947"/>
              <a:gd name="connsiteY234" fmla="*/ 4233073 h 4298032"/>
              <a:gd name="connsiteX235" fmla="*/ 2608384 w 6775947"/>
              <a:gd name="connsiteY235" fmla="*/ 4238935 h 4298032"/>
              <a:gd name="connsiteX236" fmla="*/ 2813538 w 6775947"/>
              <a:gd name="connsiteY236" fmla="*/ 4244796 h 4298032"/>
              <a:gd name="connsiteX237" fmla="*/ 2924907 w 6775947"/>
              <a:gd name="connsiteY237" fmla="*/ 4256519 h 4298032"/>
              <a:gd name="connsiteX238" fmla="*/ 2960077 w 6775947"/>
              <a:gd name="connsiteY238" fmla="*/ 4262381 h 4298032"/>
              <a:gd name="connsiteX239" fmla="*/ 3006969 w 6775947"/>
              <a:gd name="connsiteY239" fmla="*/ 4268242 h 4298032"/>
              <a:gd name="connsiteX240" fmla="*/ 3106615 w 6775947"/>
              <a:gd name="connsiteY240" fmla="*/ 4285827 h 4298032"/>
              <a:gd name="connsiteX241" fmla="*/ 3130061 w 6775947"/>
              <a:gd name="connsiteY241" fmla="*/ 4291689 h 4298032"/>
              <a:gd name="connsiteX242" fmla="*/ 3294184 w 6775947"/>
              <a:gd name="connsiteY242" fmla="*/ 4285827 h 4298032"/>
              <a:gd name="connsiteX243" fmla="*/ 3323492 w 6775947"/>
              <a:gd name="connsiteY243" fmla="*/ 4279966 h 4298032"/>
              <a:gd name="connsiteX244" fmla="*/ 3364523 w 6775947"/>
              <a:gd name="connsiteY244" fmla="*/ 4274104 h 4298032"/>
              <a:gd name="connsiteX245" fmla="*/ 4525107 w 6775947"/>
              <a:gd name="connsiteY245" fmla="*/ 4279966 h 4298032"/>
              <a:gd name="connsiteX246" fmla="*/ 4759569 w 6775947"/>
              <a:gd name="connsiteY246" fmla="*/ 4233073 h 4298032"/>
              <a:gd name="connsiteX247" fmla="*/ 5175738 w 6775947"/>
              <a:gd name="connsiteY247" fmla="*/ 4209627 h 4298032"/>
              <a:gd name="connsiteX248" fmla="*/ 5216769 w 6775947"/>
              <a:gd name="connsiteY248" fmla="*/ 4180319 h 4298032"/>
              <a:gd name="connsiteX249" fmla="*/ 5234354 w 6775947"/>
              <a:gd name="connsiteY249" fmla="*/ 4156873 h 4298032"/>
              <a:gd name="connsiteX250" fmla="*/ 5251938 w 6775947"/>
              <a:gd name="connsiteY250" fmla="*/ 4139289 h 4298032"/>
              <a:gd name="connsiteX251" fmla="*/ 5275384 w 6775947"/>
              <a:gd name="connsiteY251" fmla="*/ 4109981 h 4298032"/>
              <a:gd name="connsiteX252" fmla="*/ 5404338 w 6775947"/>
              <a:gd name="connsiteY252" fmla="*/ 4022058 h 4298032"/>
              <a:gd name="connsiteX253" fmla="*/ 5498123 w 6775947"/>
              <a:gd name="connsiteY253" fmla="*/ 3934135 h 4298032"/>
              <a:gd name="connsiteX254" fmla="*/ 5550877 w 6775947"/>
              <a:gd name="connsiteY254" fmla="*/ 3898966 h 4298032"/>
              <a:gd name="connsiteX255" fmla="*/ 5715000 w 6775947"/>
              <a:gd name="connsiteY255" fmla="*/ 3723119 h 4298032"/>
              <a:gd name="connsiteX256" fmla="*/ 5802923 w 6775947"/>
              <a:gd name="connsiteY256" fmla="*/ 3617612 h 4298032"/>
              <a:gd name="connsiteX257" fmla="*/ 5838092 w 6775947"/>
              <a:gd name="connsiteY257" fmla="*/ 3547273 h 4298032"/>
              <a:gd name="connsiteX258" fmla="*/ 5879123 w 6775947"/>
              <a:gd name="connsiteY258" fmla="*/ 3476935 h 4298032"/>
              <a:gd name="connsiteX259" fmla="*/ 5908430 w 6775947"/>
              <a:gd name="connsiteY259" fmla="*/ 3447627 h 4298032"/>
              <a:gd name="connsiteX260" fmla="*/ 5926015 w 6775947"/>
              <a:gd name="connsiteY260" fmla="*/ 3412458 h 4298032"/>
              <a:gd name="connsiteX261" fmla="*/ 6119446 w 6775947"/>
              <a:gd name="connsiteY261" fmla="*/ 3219027 h 4298032"/>
              <a:gd name="connsiteX262" fmla="*/ 6236677 w 6775947"/>
              <a:gd name="connsiteY262" fmla="*/ 3095935 h 4298032"/>
              <a:gd name="connsiteX263" fmla="*/ 6318738 w 6775947"/>
              <a:gd name="connsiteY263" fmla="*/ 2961119 h 4298032"/>
              <a:gd name="connsiteX264" fmla="*/ 6330461 w 6775947"/>
              <a:gd name="connsiteY264" fmla="*/ 2902504 h 4298032"/>
              <a:gd name="connsiteX265" fmla="*/ 6453554 w 6775947"/>
              <a:gd name="connsiteY265" fmla="*/ 2574258 h 4298032"/>
              <a:gd name="connsiteX266" fmla="*/ 6547338 w 6775947"/>
              <a:gd name="connsiteY266" fmla="*/ 2398412 h 4298032"/>
              <a:gd name="connsiteX267" fmla="*/ 6629400 w 6775947"/>
              <a:gd name="connsiteY267" fmla="*/ 2263596 h 4298032"/>
              <a:gd name="connsiteX268" fmla="*/ 6646984 w 6775947"/>
              <a:gd name="connsiteY268" fmla="*/ 2228427 h 4298032"/>
              <a:gd name="connsiteX269" fmla="*/ 6705600 w 6775947"/>
              <a:gd name="connsiteY269" fmla="*/ 2175673 h 4298032"/>
              <a:gd name="connsiteX270" fmla="*/ 6723184 w 6775947"/>
              <a:gd name="connsiteY270" fmla="*/ 2122919 h 4298032"/>
              <a:gd name="connsiteX271" fmla="*/ 6764215 w 6775947"/>
              <a:gd name="connsiteY271" fmla="*/ 1882596 h 4298032"/>
              <a:gd name="connsiteX272" fmla="*/ 6764215 w 6775947"/>
              <a:gd name="connsiteY272" fmla="*/ 827519 h 4298032"/>
              <a:gd name="connsiteX273" fmla="*/ 6740769 w 6775947"/>
              <a:gd name="connsiteY273" fmla="*/ 241366 h 4298032"/>
              <a:gd name="connsiteX274" fmla="*/ 6729046 w 6775947"/>
              <a:gd name="connsiteY274" fmla="*/ 171027 h 4298032"/>
              <a:gd name="connsiteX275" fmla="*/ 6723184 w 6775947"/>
              <a:gd name="connsiteY275" fmla="*/ 147581 h 4298032"/>
              <a:gd name="connsiteX276" fmla="*/ 6670430 w 6775947"/>
              <a:gd name="connsiteY276" fmla="*/ 100689 h 4298032"/>
              <a:gd name="connsiteX277" fmla="*/ 6559061 w 6775947"/>
              <a:gd name="connsiteY277" fmla="*/ 71381 h 4298032"/>
              <a:gd name="connsiteX278" fmla="*/ 6506307 w 6775947"/>
              <a:gd name="connsiteY278" fmla="*/ 42073 h 4298032"/>
              <a:gd name="connsiteX279" fmla="*/ 6477000 w 6775947"/>
              <a:gd name="connsiteY279" fmla="*/ 30350 h 4298032"/>
              <a:gd name="connsiteX280" fmla="*/ 6371492 w 6775947"/>
              <a:gd name="connsiteY280" fmla="*/ 59658 h 4298032"/>
              <a:gd name="connsiteX281" fmla="*/ 5597769 w 6775947"/>
              <a:gd name="connsiteY281" fmla="*/ 30350 h 4298032"/>
              <a:gd name="connsiteX282" fmla="*/ 5533292 w 6775947"/>
              <a:gd name="connsiteY282" fmla="*/ 24489 h 4298032"/>
              <a:gd name="connsiteX283" fmla="*/ 5175738 w 6775947"/>
              <a:gd name="connsiteY283" fmla="*/ 30350 h 4298032"/>
              <a:gd name="connsiteX284" fmla="*/ 5064369 w 6775947"/>
              <a:gd name="connsiteY284" fmla="*/ 42073 h 4298032"/>
              <a:gd name="connsiteX285" fmla="*/ 4360984 w 6775947"/>
              <a:gd name="connsiteY285" fmla="*/ 53796 h 4298032"/>
              <a:gd name="connsiteX286" fmla="*/ 4314092 w 6775947"/>
              <a:gd name="connsiteY286" fmla="*/ 106550 h 4298032"/>
              <a:gd name="connsiteX287" fmla="*/ 4302369 w 6775947"/>
              <a:gd name="connsiteY287" fmla="*/ 165166 h 4298032"/>
              <a:gd name="connsiteX0" fmla="*/ 4302369 w 6775947"/>
              <a:gd name="connsiteY0" fmla="*/ 165069 h 4297935"/>
              <a:gd name="connsiteX1" fmla="*/ 4302369 w 6775947"/>
              <a:gd name="connsiteY1" fmla="*/ 165069 h 4297935"/>
              <a:gd name="connsiteX2" fmla="*/ 4232030 w 6775947"/>
              <a:gd name="connsiteY2" fmla="*/ 129899 h 4297935"/>
              <a:gd name="connsiteX3" fmla="*/ 4208584 w 6775947"/>
              <a:gd name="connsiteY3" fmla="*/ 112315 h 4297935"/>
              <a:gd name="connsiteX4" fmla="*/ 4149969 w 6775947"/>
              <a:gd name="connsiteY4" fmla="*/ 94730 h 4297935"/>
              <a:gd name="connsiteX5" fmla="*/ 4097215 w 6775947"/>
              <a:gd name="connsiteY5" fmla="*/ 83007 h 4297935"/>
              <a:gd name="connsiteX6" fmla="*/ 4073769 w 6775947"/>
              <a:gd name="connsiteY6" fmla="*/ 77145 h 4297935"/>
              <a:gd name="connsiteX7" fmla="*/ 3927230 w 6775947"/>
              <a:gd name="connsiteY7" fmla="*/ 65422 h 4297935"/>
              <a:gd name="connsiteX8" fmla="*/ 3745523 w 6775947"/>
              <a:gd name="connsiteY8" fmla="*/ 41976 h 4297935"/>
              <a:gd name="connsiteX9" fmla="*/ 3716215 w 6775947"/>
              <a:gd name="connsiteY9" fmla="*/ 30253 h 4297935"/>
              <a:gd name="connsiteX10" fmla="*/ 3563815 w 6775947"/>
              <a:gd name="connsiteY10" fmla="*/ 30253 h 4297935"/>
              <a:gd name="connsiteX11" fmla="*/ 3499338 w 6775947"/>
              <a:gd name="connsiteY11" fmla="*/ 47838 h 4297935"/>
              <a:gd name="connsiteX12" fmla="*/ 3458307 w 6775947"/>
              <a:gd name="connsiteY12" fmla="*/ 53699 h 4297935"/>
              <a:gd name="connsiteX13" fmla="*/ 3376246 w 6775947"/>
              <a:gd name="connsiteY13" fmla="*/ 65422 h 4297935"/>
              <a:gd name="connsiteX14" fmla="*/ 3352800 w 6775947"/>
              <a:gd name="connsiteY14" fmla="*/ 71284 h 4297935"/>
              <a:gd name="connsiteX15" fmla="*/ 3288323 w 6775947"/>
              <a:gd name="connsiteY15" fmla="*/ 100592 h 4297935"/>
              <a:gd name="connsiteX16" fmla="*/ 3194538 w 6775947"/>
              <a:gd name="connsiteY16" fmla="*/ 118176 h 4297935"/>
              <a:gd name="connsiteX17" fmla="*/ 3112477 w 6775947"/>
              <a:gd name="connsiteY17" fmla="*/ 147484 h 4297935"/>
              <a:gd name="connsiteX18" fmla="*/ 3059723 w 6775947"/>
              <a:gd name="connsiteY18" fmla="*/ 217822 h 4297935"/>
              <a:gd name="connsiteX19" fmla="*/ 2971800 w 6775947"/>
              <a:gd name="connsiteY19" fmla="*/ 358499 h 4297935"/>
              <a:gd name="connsiteX20" fmla="*/ 2960077 w 6775947"/>
              <a:gd name="connsiteY20" fmla="*/ 405392 h 4297935"/>
              <a:gd name="connsiteX21" fmla="*/ 2948354 w 6775947"/>
              <a:gd name="connsiteY21" fmla="*/ 446422 h 4297935"/>
              <a:gd name="connsiteX22" fmla="*/ 2954215 w 6775947"/>
              <a:gd name="connsiteY22" fmla="*/ 721915 h 4297935"/>
              <a:gd name="connsiteX23" fmla="*/ 2971800 w 6775947"/>
              <a:gd name="connsiteY23" fmla="*/ 915345 h 4297935"/>
              <a:gd name="connsiteX24" fmla="*/ 2989384 w 6775947"/>
              <a:gd name="connsiteY24" fmla="*/ 1038438 h 4297935"/>
              <a:gd name="connsiteX25" fmla="*/ 3018692 w 6775947"/>
              <a:gd name="connsiteY25" fmla="*/ 1138084 h 4297935"/>
              <a:gd name="connsiteX26" fmla="*/ 3036277 w 6775947"/>
              <a:gd name="connsiteY26" fmla="*/ 1214284 h 4297935"/>
              <a:gd name="connsiteX27" fmla="*/ 3042138 w 6775947"/>
              <a:gd name="connsiteY27" fmla="*/ 1278761 h 4297935"/>
              <a:gd name="connsiteX28" fmla="*/ 3071446 w 6775947"/>
              <a:gd name="connsiteY28" fmla="*/ 1337376 h 4297935"/>
              <a:gd name="connsiteX29" fmla="*/ 3171092 w 6775947"/>
              <a:gd name="connsiteY29" fmla="*/ 1560115 h 4297935"/>
              <a:gd name="connsiteX30" fmla="*/ 3200400 w 6775947"/>
              <a:gd name="connsiteY30" fmla="*/ 1612869 h 4297935"/>
              <a:gd name="connsiteX31" fmla="*/ 3229707 w 6775947"/>
              <a:gd name="connsiteY31" fmla="*/ 1659761 h 4297935"/>
              <a:gd name="connsiteX32" fmla="*/ 3276600 w 6775947"/>
              <a:gd name="connsiteY32" fmla="*/ 1747684 h 4297935"/>
              <a:gd name="connsiteX33" fmla="*/ 3341077 w 6775947"/>
              <a:gd name="connsiteY33" fmla="*/ 1853192 h 4297935"/>
              <a:gd name="connsiteX34" fmla="*/ 3446584 w 6775947"/>
              <a:gd name="connsiteY34" fmla="*/ 1958699 h 4297935"/>
              <a:gd name="connsiteX35" fmla="*/ 3511061 w 6775947"/>
              <a:gd name="connsiteY35" fmla="*/ 2034899 h 4297935"/>
              <a:gd name="connsiteX36" fmla="*/ 3616569 w 6775947"/>
              <a:gd name="connsiteY36" fmla="*/ 2116961 h 4297935"/>
              <a:gd name="connsiteX37" fmla="*/ 3675184 w 6775947"/>
              <a:gd name="connsiteY37" fmla="*/ 2157992 h 4297935"/>
              <a:gd name="connsiteX38" fmla="*/ 3774830 w 6775947"/>
              <a:gd name="connsiteY38" fmla="*/ 2234192 h 4297935"/>
              <a:gd name="connsiteX39" fmla="*/ 3833446 w 6775947"/>
              <a:gd name="connsiteY39" fmla="*/ 2245915 h 4297935"/>
              <a:gd name="connsiteX40" fmla="*/ 3903784 w 6775947"/>
              <a:gd name="connsiteY40" fmla="*/ 2263499 h 4297935"/>
              <a:gd name="connsiteX41" fmla="*/ 3944815 w 6775947"/>
              <a:gd name="connsiteY41" fmla="*/ 2269361 h 4297935"/>
              <a:gd name="connsiteX42" fmla="*/ 4050323 w 6775947"/>
              <a:gd name="connsiteY42" fmla="*/ 2286945 h 4297935"/>
              <a:gd name="connsiteX43" fmla="*/ 4073769 w 6775947"/>
              <a:gd name="connsiteY43" fmla="*/ 2292807 h 4297935"/>
              <a:gd name="connsiteX44" fmla="*/ 4155830 w 6775947"/>
              <a:gd name="connsiteY44" fmla="*/ 2298669 h 4297935"/>
              <a:gd name="connsiteX45" fmla="*/ 4255477 w 6775947"/>
              <a:gd name="connsiteY45" fmla="*/ 2357284 h 4297935"/>
              <a:gd name="connsiteX46" fmla="*/ 4284784 w 6775947"/>
              <a:gd name="connsiteY46" fmla="*/ 2369007 h 4297935"/>
              <a:gd name="connsiteX47" fmla="*/ 4378569 w 6775947"/>
              <a:gd name="connsiteY47" fmla="*/ 2374869 h 4297935"/>
              <a:gd name="connsiteX48" fmla="*/ 4448907 w 6775947"/>
              <a:gd name="connsiteY48" fmla="*/ 2380730 h 4297935"/>
              <a:gd name="connsiteX49" fmla="*/ 4548554 w 6775947"/>
              <a:gd name="connsiteY49" fmla="*/ 2374869 h 4297935"/>
              <a:gd name="connsiteX50" fmla="*/ 4548553 w 6775947"/>
              <a:gd name="connsiteY50" fmla="*/ 2392453 h 4297935"/>
              <a:gd name="connsiteX51" fmla="*/ 4583722 w 6775947"/>
              <a:gd name="connsiteY51" fmla="*/ 2374869 h 4297935"/>
              <a:gd name="connsiteX52" fmla="*/ 4677507 w 6775947"/>
              <a:gd name="connsiteY52" fmla="*/ 2292807 h 4297935"/>
              <a:gd name="connsiteX53" fmla="*/ 4736123 w 6775947"/>
              <a:gd name="connsiteY53" fmla="*/ 2240054 h 4297935"/>
              <a:gd name="connsiteX54" fmla="*/ 4747846 w 6775947"/>
              <a:gd name="connsiteY54" fmla="*/ 2169715 h 4297935"/>
              <a:gd name="connsiteX55" fmla="*/ 4706815 w 6775947"/>
              <a:gd name="connsiteY55" fmla="*/ 2075930 h 4297935"/>
              <a:gd name="connsiteX56" fmla="*/ 4695092 w 6775947"/>
              <a:gd name="connsiteY56" fmla="*/ 2029038 h 4297935"/>
              <a:gd name="connsiteX57" fmla="*/ 4683369 w 6775947"/>
              <a:gd name="connsiteY57" fmla="*/ 1993869 h 4297935"/>
              <a:gd name="connsiteX58" fmla="*/ 4665784 w 6775947"/>
              <a:gd name="connsiteY58" fmla="*/ 1888361 h 4297935"/>
              <a:gd name="connsiteX59" fmla="*/ 4636477 w 6775947"/>
              <a:gd name="connsiteY59" fmla="*/ 1759407 h 4297935"/>
              <a:gd name="connsiteX60" fmla="*/ 4613030 w 6775947"/>
              <a:gd name="connsiteY60" fmla="*/ 1478053 h 4297935"/>
              <a:gd name="connsiteX61" fmla="*/ 4601307 w 6775947"/>
              <a:gd name="connsiteY61" fmla="*/ 1431161 h 4297935"/>
              <a:gd name="connsiteX62" fmla="*/ 4583723 w 6775947"/>
              <a:gd name="connsiteY62" fmla="*/ 1395992 h 4297935"/>
              <a:gd name="connsiteX63" fmla="*/ 4577861 w 6775947"/>
              <a:gd name="connsiteY63" fmla="*/ 1378407 h 4297935"/>
              <a:gd name="connsiteX64" fmla="*/ 4566138 w 6775947"/>
              <a:gd name="connsiteY64" fmla="*/ 1308069 h 4297935"/>
              <a:gd name="connsiteX65" fmla="*/ 4548554 w 6775947"/>
              <a:gd name="connsiteY65" fmla="*/ 1226007 h 4297935"/>
              <a:gd name="connsiteX66" fmla="*/ 4542692 w 6775947"/>
              <a:gd name="connsiteY66" fmla="*/ 1173253 h 4297935"/>
              <a:gd name="connsiteX67" fmla="*/ 4478215 w 6775947"/>
              <a:gd name="connsiteY67" fmla="*/ 1102915 h 4297935"/>
              <a:gd name="connsiteX68" fmla="*/ 4460630 w 6775947"/>
              <a:gd name="connsiteY68" fmla="*/ 1085330 h 4297935"/>
              <a:gd name="connsiteX69" fmla="*/ 4437184 w 6775947"/>
              <a:gd name="connsiteY69" fmla="*/ 1044299 h 4297935"/>
              <a:gd name="connsiteX70" fmla="*/ 4419600 w 6775947"/>
              <a:gd name="connsiteY70" fmla="*/ 1003269 h 4297935"/>
              <a:gd name="connsiteX71" fmla="*/ 4378569 w 6775947"/>
              <a:gd name="connsiteY71" fmla="*/ 886038 h 4297935"/>
              <a:gd name="connsiteX72" fmla="*/ 4325815 w 6775947"/>
              <a:gd name="connsiteY72" fmla="*/ 845007 h 4297935"/>
              <a:gd name="connsiteX73" fmla="*/ 4308230 w 6775947"/>
              <a:gd name="connsiteY73" fmla="*/ 827422 h 4297935"/>
              <a:gd name="connsiteX74" fmla="*/ 4296507 w 6775947"/>
              <a:gd name="connsiteY74" fmla="*/ 780530 h 4297935"/>
              <a:gd name="connsiteX75" fmla="*/ 4325815 w 6775947"/>
              <a:gd name="connsiteY75" fmla="*/ 522622 h 4297935"/>
              <a:gd name="connsiteX76" fmla="*/ 4314092 w 6775947"/>
              <a:gd name="connsiteY76" fmla="*/ 440561 h 4297935"/>
              <a:gd name="connsiteX77" fmla="*/ 4319954 w 6775947"/>
              <a:gd name="connsiteY77" fmla="*/ 417115 h 4297935"/>
              <a:gd name="connsiteX78" fmla="*/ 4337538 w 6775947"/>
              <a:gd name="connsiteY78" fmla="*/ 311607 h 4297935"/>
              <a:gd name="connsiteX79" fmla="*/ 4343400 w 6775947"/>
              <a:gd name="connsiteY79" fmla="*/ 276438 h 4297935"/>
              <a:gd name="connsiteX80" fmla="*/ 4355123 w 6775947"/>
              <a:gd name="connsiteY80" fmla="*/ 194377 h 4297935"/>
              <a:gd name="connsiteX81" fmla="*/ 4360984 w 6775947"/>
              <a:gd name="connsiteY81" fmla="*/ 100591 h 4297935"/>
              <a:gd name="connsiteX82" fmla="*/ 4448908 w 6775947"/>
              <a:gd name="connsiteY82" fmla="*/ 65422 h 4297935"/>
              <a:gd name="connsiteX83" fmla="*/ 4554415 w 6775947"/>
              <a:gd name="connsiteY83" fmla="*/ 945 h 4297935"/>
              <a:gd name="connsiteX84" fmla="*/ 4613030 w 6775947"/>
              <a:gd name="connsiteY84" fmla="*/ 106453 h 4297935"/>
              <a:gd name="connsiteX85" fmla="*/ 4677508 w 6775947"/>
              <a:gd name="connsiteY85" fmla="*/ 30253 h 4297935"/>
              <a:gd name="connsiteX86" fmla="*/ 5246077 w 6775947"/>
              <a:gd name="connsiteY86" fmla="*/ 94730 h 4297935"/>
              <a:gd name="connsiteX87" fmla="*/ 5304692 w 6775947"/>
              <a:gd name="connsiteY87" fmla="*/ 106453 h 4297935"/>
              <a:gd name="connsiteX88" fmla="*/ 5345723 w 6775947"/>
              <a:gd name="connsiteY88" fmla="*/ 112315 h 4297935"/>
              <a:gd name="connsiteX89" fmla="*/ 5527430 w 6775947"/>
              <a:gd name="connsiteY89" fmla="*/ 118176 h 4297935"/>
              <a:gd name="connsiteX90" fmla="*/ 5545015 w 6775947"/>
              <a:gd name="connsiteY90" fmla="*/ 124038 h 4297935"/>
              <a:gd name="connsiteX91" fmla="*/ 5586046 w 6775947"/>
              <a:gd name="connsiteY91" fmla="*/ 159207 h 4297935"/>
              <a:gd name="connsiteX92" fmla="*/ 5615354 w 6775947"/>
              <a:gd name="connsiteY92" fmla="*/ 182653 h 4297935"/>
              <a:gd name="connsiteX93" fmla="*/ 5632938 w 6775947"/>
              <a:gd name="connsiteY93" fmla="*/ 188515 h 4297935"/>
              <a:gd name="connsiteX94" fmla="*/ 5656384 w 6775947"/>
              <a:gd name="connsiteY94" fmla="*/ 206099 h 4297935"/>
              <a:gd name="connsiteX95" fmla="*/ 5709138 w 6775947"/>
              <a:gd name="connsiteY95" fmla="*/ 241269 h 4297935"/>
              <a:gd name="connsiteX96" fmla="*/ 5738446 w 6775947"/>
              <a:gd name="connsiteY96" fmla="*/ 270576 h 4297935"/>
              <a:gd name="connsiteX97" fmla="*/ 5756030 w 6775947"/>
              <a:gd name="connsiteY97" fmla="*/ 305745 h 4297935"/>
              <a:gd name="connsiteX98" fmla="*/ 5791200 w 6775947"/>
              <a:gd name="connsiteY98" fmla="*/ 364361 h 4297935"/>
              <a:gd name="connsiteX99" fmla="*/ 5756030 w 6775947"/>
              <a:gd name="connsiteY99" fmla="*/ 616407 h 4297935"/>
              <a:gd name="connsiteX100" fmla="*/ 5709138 w 6775947"/>
              <a:gd name="connsiteY100" fmla="*/ 774669 h 4297935"/>
              <a:gd name="connsiteX101" fmla="*/ 5650523 w 6775947"/>
              <a:gd name="connsiteY101" fmla="*/ 903622 h 4297935"/>
              <a:gd name="connsiteX102" fmla="*/ 5597769 w 6775947"/>
              <a:gd name="connsiteY102" fmla="*/ 1032576 h 4297935"/>
              <a:gd name="connsiteX103" fmla="*/ 5591907 w 6775947"/>
              <a:gd name="connsiteY103" fmla="*/ 1061884 h 4297935"/>
              <a:gd name="connsiteX104" fmla="*/ 5586046 w 6775947"/>
              <a:gd name="connsiteY104" fmla="*/ 1079469 h 4297935"/>
              <a:gd name="connsiteX105" fmla="*/ 5556738 w 6775947"/>
              <a:gd name="connsiteY105" fmla="*/ 1196699 h 4297935"/>
              <a:gd name="connsiteX106" fmla="*/ 5515707 w 6775947"/>
              <a:gd name="connsiteY106" fmla="*/ 1302207 h 4297935"/>
              <a:gd name="connsiteX107" fmla="*/ 5480538 w 6775947"/>
              <a:gd name="connsiteY107" fmla="*/ 1419438 h 4297935"/>
              <a:gd name="connsiteX108" fmla="*/ 5468815 w 6775947"/>
              <a:gd name="connsiteY108" fmla="*/ 1448745 h 4297935"/>
              <a:gd name="connsiteX109" fmla="*/ 5439507 w 6775947"/>
              <a:gd name="connsiteY109" fmla="*/ 1501499 h 4297935"/>
              <a:gd name="connsiteX110" fmla="*/ 5421923 w 6775947"/>
              <a:gd name="connsiteY110" fmla="*/ 1554253 h 4297935"/>
              <a:gd name="connsiteX111" fmla="*/ 5392615 w 6775947"/>
              <a:gd name="connsiteY111" fmla="*/ 1630453 h 4297935"/>
              <a:gd name="connsiteX112" fmla="*/ 5369169 w 6775947"/>
              <a:gd name="connsiteY112" fmla="*/ 1700792 h 4297935"/>
              <a:gd name="connsiteX113" fmla="*/ 5351584 w 6775947"/>
              <a:gd name="connsiteY113" fmla="*/ 1859053 h 4297935"/>
              <a:gd name="connsiteX114" fmla="*/ 5339861 w 6775947"/>
              <a:gd name="connsiteY114" fmla="*/ 1888361 h 4297935"/>
              <a:gd name="connsiteX115" fmla="*/ 5334000 w 6775947"/>
              <a:gd name="connsiteY115" fmla="*/ 1911807 h 4297935"/>
              <a:gd name="connsiteX116" fmla="*/ 5316415 w 6775947"/>
              <a:gd name="connsiteY116" fmla="*/ 1993869 h 4297935"/>
              <a:gd name="connsiteX117" fmla="*/ 5292969 w 6775947"/>
              <a:gd name="connsiteY117" fmla="*/ 2029038 h 4297935"/>
              <a:gd name="connsiteX118" fmla="*/ 5269523 w 6775947"/>
              <a:gd name="connsiteY118" fmla="*/ 2075930 h 4297935"/>
              <a:gd name="connsiteX119" fmla="*/ 5257800 w 6775947"/>
              <a:gd name="connsiteY119" fmla="*/ 2099376 h 4297935"/>
              <a:gd name="connsiteX120" fmla="*/ 5240215 w 6775947"/>
              <a:gd name="connsiteY120" fmla="*/ 2122822 h 4297935"/>
              <a:gd name="connsiteX121" fmla="*/ 5234354 w 6775947"/>
              <a:gd name="connsiteY121" fmla="*/ 2152130 h 4297935"/>
              <a:gd name="connsiteX122" fmla="*/ 5222630 w 6775947"/>
              <a:gd name="connsiteY122" fmla="*/ 2163853 h 4297935"/>
              <a:gd name="connsiteX123" fmla="*/ 5210907 w 6775947"/>
              <a:gd name="connsiteY123" fmla="*/ 2187299 h 4297935"/>
              <a:gd name="connsiteX124" fmla="*/ 5193323 w 6775947"/>
              <a:gd name="connsiteY124" fmla="*/ 2210745 h 4297935"/>
              <a:gd name="connsiteX125" fmla="*/ 5175738 w 6775947"/>
              <a:gd name="connsiteY125" fmla="*/ 2286945 h 4297935"/>
              <a:gd name="connsiteX126" fmla="*/ 5216769 w 6775947"/>
              <a:gd name="connsiteY126" fmla="*/ 2327976 h 4297935"/>
              <a:gd name="connsiteX127" fmla="*/ 5234353 w 6775947"/>
              <a:gd name="connsiteY127" fmla="*/ 2369006 h 4297935"/>
              <a:gd name="connsiteX128" fmla="*/ 5251939 w 6775947"/>
              <a:gd name="connsiteY128" fmla="*/ 2380731 h 4297935"/>
              <a:gd name="connsiteX129" fmla="*/ 5281246 w 6775947"/>
              <a:gd name="connsiteY129" fmla="*/ 2451069 h 4297935"/>
              <a:gd name="connsiteX130" fmla="*/ 5287107 w 6775947"/>
              <a:gd name="connsiteY130" fmla="*/ 2580022 h 4297935"/>
              <a:gd name="connsiteX131" fmla="*/ 5298830 w 6775947"/>
              <a:gd name="connsiteY131" fmla="*/ 2638638 h 4297935"/>
              <a:gd name="connsiteX132" fmla="*/ 5310554 w 6775947"/>
              <a:gd name="connsiteY132" fmla="*/ 2744145 h 4297935"/>
              <a:gd name="connsiteX133" fmla="*/ 5316415 w 6775947"/>
              <a:gd name="connsiteY133" fmla="*/ 2908269 h 4297935"/>
              <a:gd name="connsiteX134" fmla="*/ 5357446 w 6775947"/>
              <a:gd name="connsiteY134" fmla="*/ 3002053 h 4297935"/>
              <a:gd name="connsiteX135" fmla="*/ 5363307 w 6775947"/>
              <a:gd name="connsiteY135" fmla="*/ 3037222 h 4297935"/>
              <a:gd name="connsiteX136" fmla="*/ 5380892 w 6775947"/>
              <a:gd name="connsiteY136" fmla="*/ 3060669 h 4297935"/>
              <a:gd name="connsiteX137" fmla="*/ 5386754 w 6775947"/>
              <a:gd name="connsiteY137" fmla="*/ 3107561 h 4297935"/>
              <a:gd name="connsiteX138" fmla="*/ 5404338 w 6775947"/>
              <a:gd name="connsiteY138" fmla="*/ 3154453 h 4297935"/>
              <a:gd name="connsiteX139" fmla="*/ 5404338 w 6775947"/>
              <a:gd name="connsiteY139" fmla="*/ 3347884 h 4297935"/>
              <a:gd name="connsiteX140" fmla="*/ 5398477 w 6775947"/>
              <a:gd name="connsiteY140" fmla="*/ 3846115 h 4297935"/>
              <a:gd name="connsiteX141" fmla="*/ 5380892 w 6775947"/>
              <a:gd name="connsiteY141" fmla="*/ 3904730 h 4297935"/>
              <a:gd name="connsiteX142" fmla="*/ 5369169 w 6775947"/>
              <a:gd name="connsiteY142" fmla="*/ 3939899 h 4297935"/>
              <a:gd name="connsiteX143" fmla="*/ 5339861 w 6775947"/>
              <a:gd name="connsiteY143" fmla="*/ 3969207 h 4297935"/>
              <a:gd name="connsiteX144" fmla="*/ 5322277 w 6775947"/>
              <a:gd name="connsiteY144" fmla="*/ 4004376 h 4297935"/>
              <a:gd name="connsiteX145" fmla="*/ 5257800 w 6775947"/>
              <a:gd name="connsiteY145" fmla="*/ 4080576 h 4297935"/>
              <a:gd name="connsiteX146" fmla="*/ 5228492 w 6775947"/>
              <a:gd name="connsiteY146" fmla="*/ 4104022 h 4297935"/>
              <a:gd name="connsiteX147" fmla="*/ 5146430 w 6775947"/>
              <a:gd name="connsiteY147" fmla="*/ 4145053 h 4297935"/>
              <a:gd name="connsiteX148" fmla="*/ 5117123 w 6775947"/>
              <a:gd name="connsiteY148" fmla="*/ 4162638 h 4297935"/>
              <a:gd name="connsiteX149" fmla="*/ 5087815 w 6775947"/>
              <a:gd name="connsiteY149" fmla="*/ 4168499 h 4297935"/>
              <a:gd name="connsiteX150" fmla="*/ 4988169 w 6775947"/>
              <a:gd name="connsiteY150" fmla="*/ 4186084 h 4297935"/>
              <a:gd name="connsiteX151" fmla="*/ 4753707 w 6775947"/>
              <a:gd name="connsiteY151" fmla="*/ 4174361 h 4297935"/>
              <a:gd name="connsiteX152" fmla="*/ 4695092 w 6775947"/>
              <a:gd name="connsiteY152" fmla="*/ 4162638 h 4297935"/>
              <a:gd name="connsiteX153" fmla="*/ 4589584 w 6775947"/>
              <a:gd name="connsiteY153" fmla="*/ 4174361 h 4297935"/>
              <a:gd name="connsiteX154" fmla="*/ 4560277 w 6775947"/>
              <a:gd name="connsiteY154" fmla="*/ 4186084 h 4297935"/>
              <a:gd name="connsiteX155" fmla="*/ 4484077 w 6775947"/>
              <a:gd name="connsiteY155" fmla="*/ 4203669 h 4297935"/>
              <a:gd name="connsiteX156" fmla="*/ 4443046 w 6775947"/>
              <a:gd name="connsiteY156" fmla="*/ 4221253 h 4297935"/>
              <a:gd name="connsiteX157" fmla="*/ 4413738 w 6775947"/>
              <a:gd name="connsiteY157" fmla="*/ 4227115 h 4297935"/>
              <a:gd name="connsiteX158" fmla="*/ 4355123 w 6775947"/>
              <a:gd name="connsiteY158" fmla="*/ 4238838 h 4297935"/>
              <a:gd name="connsiteX159" fmla="*/ 4273061 w 6775947"/>
              <a:gd name="connsiteY159" fmla="*/ 4232976 h 4297935"/>
              <a:gd name="connsiteX160" fmla="*/ 4185138 w 6775947"/>
              <a:gd name="connsiteY160" fmla="*/ 4221253 h 4297935"/>
              <a:gd name="connsiteX161" fmla="*/ 4155830 w 6775947"/>
              <a:gd name="connsiteY161" fmla="*/ 4232976 h 4297935"/>
              <a:gd name="connsiteX162" fmla="*/ 4138246 w 6775947"/>
              <a:gd name="connsiteY162" fmla="*/ 4238838 h 4297935"/>
              <a:gd name="connsiteX163" fmla="*/ 3991707 w 6775947"/>
              <a:gd name="connsiteY163" fmla="*/ 4250561 h 4297935"/>
              <a:gd name="connsiteX164" fmla="*/ 3933092 w 6775947"/>
              <a:gd name="connsiteY164" fmla="*/ 4274007 h 4297935"/>
              <a:gd name="connsiteX165" fmla="*/ 3915507 w 6775947"/>
              <a:gd name="connsiteY165" fmla="*/ 4285730 h 4297935"/>
              <a:gd name="connsiteX166" fmla="*/ 3704492 w 6775947"/>
              <a:gd name="connsiteY166" fmla="*/ 4291592 h 4297935"/>
              <a:gd name="connsiteX167" fmla="*/ 3563815 w 6775947"/>
              <a:gd name="connsiteY167" fmla="*/ 4297454 h 4297935"/>
              <a:gd name="connsiteX168" fmla="*/ 3452446 w 6775947"/>
              <a:gd name="connsiteY168" fmla="*/ 4268145 h 4297935"/>
              <a:gd name="connsiteX169" fmla="*/ 3264877 w 6775947"/>
              <a:gd name="connsiteY169" fmla="*/ 4215392 h 4297935"/>
              <a:gd name="connsiteX170" fmla="*/ 3253154 w 6775947"/>
              <a:gd name="connsiteY170" fmla="*/ 4092299 h 4297935"/>
              <a:gd name="connsiteX171" fmla="*/ 3276600 w 6775947"/>
              <a:gd name="connsiteY171" fmla="*/ 3851976 h 4297935"/>
              <a:gd name="connsiteX172" fmla="*/ 3264877 w 6775947"/>
              <a:gd name="connsiteY172" fmla="*/ 3687853 h 4297935"/>
              <a:gd name="connsiteX173" fmla="*/ 3259015 w 6775947"/>
              <a:gd name="connsiteY173" fmla="*/ 3646822 h 4297935"/>
              <a:gd name="connsiteX174" fmla="*/ 3247292 w 6775947"/>
              <a:gd name="connsiteY174" fmla="*/ 3623376 h 4297935"/>
              <a:gd name="connsiteX175" fmla="*/ 3229707 w 6775947"/>
              <a:gd name="connsiteY175" fmla="*/ 3558899 h 4297935"/>
              <a:gd name="connsiteX176" fmla="*/ 3194538 w 6775947"/>
              <a:gd name="connsiteY176" fmla="*/ 3482699 h 4297935"/>
              <a:gd name="connsiteX177" fmla="*/ 3153507 w 6775947"/>
              <a:gd name="connsiteY177" fmla="*/ 3377192 h 4297935"/>
              <a:gd name="connsiteX178" fmla="*/ 3135923 w 6775947"/>
              <a:gd name="connsiteY178" fmla="*/ 3254099 h 4297935"/>
              <a:gd name="connsiteX179" fmla="*/ 3118338 w 6775947"/>
              <a:gd name="connsiteY179" fmla="*/ 3207207 h 4297935"/>
              <a:gd name="connsiteX180" fmla="*/ 3094892 w 6775947"/>
              <a:gd name="connsiteY180" fmla="*/ 2656222 h 4297935"/>
              <a:gd name="connsiteX181" fmla="*/ 3048000 w 6775947"/>
              <a:gd name="connsiteY181" fmla="*/ 2521407 h 4297935"/>
              <a:gd name="connsiteX182" fmla="*/ 3012830 w 6775947"/>
              <a:gd name="connsiteY182" fmla="*/ 2410038 h 4297935"/>
              <a:gd name="connsiteX183" fmla="*/ 3006969 w 6775947"/>
              <a:gd name="connsiteY183" fmla="*/ 2322115 h 4297935"/>
              <a:gd name="connsiteX184" fmla="*/ 2995246 w 6775947"/>
              <a:gd name="connsiteY184" fmla="*/ 2011453 h 4297935"/>
              <a:gd name="connsiteX185" fmla="*/ 2965938 w 6775947"/>
              <a:gd name="connsiteY185" fmla="*/ 1841469 h 4297935"/>
              <a:gd name="connsiteX186" fmla="*/ 2960077 w 6775947"/>
              <a:gd name="connsiteY186" fmla="*/ 1712515 h 4297935"/>
              <a:gd name="connsiteX187" fmla="*/ 2936630 w 6775947"/>
              <a:gd name="connsiteY187" fmla="*/ 1607007 h 4297935"/>
              <a:gd name="connsiteX188" fmla="*/ 2924907 w 6775947"/>
              <a:gd name="connsiteY188" fmla="*/ 1565976 h 4297935"/>
              <a:gd name="connsiteX189" fmla="*/ 2901461 w 6775947"/>
              <a:gd name="connsiteY189" fmla="*/ 1448745 h 4297935"/>
              <a:gd name="connsiteX190" fmla="*/ 2872154 w 6775947"/>
              <a:gd name="connsiteY190" fmla="*/ 1325653 h 4297935"/>
              <a:gd name="connsiteX191" fmla="*/ 2848707 w 6775947"/>
              <a:gd name="connsiteY191" fmla="*/ 1214284 h 4297935"/>
              <a:gd name="connsiteX192" fmla="*/ 2836984 w 6775947"/>
              <a:gd name="connsiteY192" fmla="*/ 1079469 h 4297935"/>
              <a:gd name="connsiteX193" fmla="*/ 2819400 w 6775947"/>
              <a:gd name="connsiteY193" fmla="*/ 991545 h 4297935"/>
              <a:gd name="connsiteX194" fmla="*/ 2813538 w 6775947"/>
              <a:gd name="connsiteY194" fmla="*/ 932930 h 4297935"/>
              <a:gd name="connsiteX195" fmla="*/ 2801815 w 6775947"/>
              <a:gd name="connsiteY195" fmla="*/ 839145 h 4297935"/>
              <a:gd name="connsiteX196" fmla="*/ 2795954 w 6775947"/>
              <a:gd name="connsiteY196" fmla="*/ 499176 h 4297935"/>
              <a:gd name="connsiteX197" fmla="*/ 2784230 w 6775947"/>
              <a:gd name="connsiteY197" fmla="*/ 358499 h 4297935"/>
              <a:gd name="connsiteX198" fmla="*/ 2754923 w 6775947"/>
              <a:gd name="connsiteY198" fmla="*/ 299884 h 4297935"/>
              <a:gd name="connsiteX199" fmla="*/ 2708030 w 6775947"/>
              <a:gd name="connsiteY199" fmla="*/ 200238 h 4297935"/>
              <a:gd name="connsiteX200" fmla="*/ 2702169 w 6775947"/>
              <a:gd name="connsiteY200" fmla="*/ 182653 h 4297935"/>
              <a:gd name="connsiteX201" fmla="*/ 2678723 w 6775947"/>
              <a:gd name="connsiteY201" fmla="*/ 153345 h 4297935"/>
              <a:gd name="connsiteX202" fmla="*/ 2602523 w 6775947"/>
              <a:gd name="connsiteY202" fmla="*/ 135761 h 4297935"/>
              <a:gd name="connsiteX203" fmla="*/ 2584938 w 6775947"/>
              <a:gd name="connsiteY203" fmla="*/ 129899 h 4297935"/>
              <a:gd name="connsiteX204" fmla="*/ 2514600 w 6775947"/>
              <a:gd name="connsiteY204" fmla="*/ 124038 h 4297935"/>
              <a:gd name="connsiteX205" fmla="*/ 2467707 w 6775947"/>
              <a:gd name="connsiteY205" fmla="*/ 59561 h 4297935"/>
              <a:gd name="connsiteX206" fmla="*/ 2403230 w 6775947"/>
              <a:gd name="connsiteY206" fmla="*/ 53699 h 4297935"/>
              <a:gd name="connsiteX207" fmla="*/ 2321169 w 6775947"/>
              <a:gd name="connsiteY207" fmla="*/ 47838 h 4297935"/>
              <a:gd name="connsiteX208" fmla="*/ 1793630 w 6775947"/>
              <a:gd name="connsiteY208" fmla="*/ 53699 h 4297935"/>
              <a:gd name="connsiteX209" fmla="*/ 1752600 w 6775947"/>
              <a:gd name="connsiteY209" fmla="*/ 65422 h 4297935"/>
              <a:gd name="connsiteX210" fmla="*/ 1717430 w 6775947"/>
              <a:gd name="connsiteY210" fmla="*/ 83007 h 4297935"/>
              <a:gd name="connsiteX211" fmla="*/ 1652954 w 6775947"/>
              <a:gd name="connsiteY211" fmla="*/ 88869 h 4297935"/>
              <a:gd name="connsiteX212" fmla="*/ 1371600 w 6775947"/>
              <a:gd name="connsiteY212" fmla="*/ 77145 h 4297935"/>
              <a:gd name="connsiteX213" fmla="*/ 826477 w 6775947"/>
              <a:gd name="connsiteY213" fmla="*/ 59561 h 4297935"/>
              <a:gd name="connsiteX214" fmla="*/ 451338 w 6775947"/>
              <a:gd name="connsiteY214" fmla="*/ 65422 h 4297935"/>
              <a:gd name="connsiteX215" fmla="*/ 375138 w 6775947"/>
              <a:gd name="connsiteY215" fmla="*/ 88869 h 4297935"/>
              <a:gd name="connsiteX216" fmla="*/ 199292 w 6775947"/>
              <a:gd name="connsiteY216" fmla="*/ 182653 h 4297935"/>
              <a:gd name="connsiteX217" fmla="*/ 146538 w 6775947"/>
              <a:gd name="connsiteY217" fmla="*/ 217822 h 4297935"/>
              <a:gd name="connsiteX218" fmla="*/ 29307 w 6775947"/>
              <a:gd name="connsiteY218" fmla="*/ 551930 h 4297935"/>
              <a:gd name="connsiteX219" fmla="*/ 0 w 6775947"/>
              <a:gd name="connsiteY219" fmla="*/ 921207 h 4297935"/>
              <a:gd name="connsiteX220" fmla="*/ 23446 w 6775947"/>
              <a:gd name="connsiteY220" fmla="*/ 2064207 h 4297935"/>
              <a:gd name="connsiteX221" fmla="*/ 93784 w 6775947"/>
              <a:gd name="connsiteY221" fmla="*/ 2339699 h 4297935"/>
              <a:gd name="connsiteX222" fmla="*/ 433754 w 6775947"/>
              <a:gd name="connsiteY222" fmla="*/ 2961022 h 4297935"/>
              <a:gd name="connsiteX223" fmla="*/ 662354 w 6775947"/>
              <a:gd name="connsiteY223" fmla="*/ 3254099 h 4297935"/>
              <a:gd name="connsiteX224" fmla="*/ 785446 w 6775947"/>
              <a:gd name="connsiteY224" fmla="*/ 3418222 h 4297935"/>
              <a:gd name="connsiteX225" fmla="*/ 1066800 w 6775947"/>
              <a:gd name="connsiteY225" fmla="*/ 3769915 h 4297935"/>
              <a:gd name="connsiteX226" fmla="*/ 1436077 w 6775947"/>
              <a:gd name="connsiteY226" fmla="*/ 4027822 h 4297935"/>
              <a:gd name="connsiteX227" fmla="*/ 1735015 w 6775947"/>
              <a:gd name="connsiteY227" fmla="*/ 4162638 h 4297935"/>
              <a:gd name="connsiteX228" fmla="*/ 1817077 w 6775947"/>
              <a:gd name="connsiteY228" fmla="*/ 4197807 h 4297935"/>
              <a:gd name="connsiteX229" fmla="*/ 1893277 w 6775947"/>
              <a:gd name="connsiteY229" fmla="*/ 4232976 h 4297935"/>
              <a:gd name="connsiteX230" fmla="*/ 2039815 w 6775947"/>
              <a:gd name="connsiteY230" fmla="*/ 4244699 h 4297935"/>
              <a:gd name="connsiteX231" fmla="*/ 2250830 w 6775947"/>
              <a:gd name="connsiteY231" fmla="*/ 4221253 h 4297935"/>
              <a:gd name="connsiteX232" fmla="*/ 2286000 w 6775947"/>
              <a:gd name="connsiteY232" fmla="*/ 4215392 h 4297935"/>
              <a:gd name="connsiteX233" fmla="*/ 2450123 w 6775947"/>
              <a:gd name="connsiteY233" fmla="*/ 4221253 h 4297935"/>
              <a:gd name="connsiteX234" fmla="*/ 2567354 w 6775947"/>
              <a:gd name="connsiteY234" fmla="*/ 4232976 h 4297935"/>
              <a:gd name="connsiteX235" fmla="*/ 2608384 w 6775947"/>
              <a:gd name="connsiteY235" fmla="*/ 4238838 h 4297935"/>
              <a:gd name="connsiteX236" fmla="*/ 2813538 w 6775947"/>
              <a:gd name="connsiteY236" fmla="*/ 4244699 h 4297935"/>
              <a:gd name="connsiteX237" fmla="*/ 2924907 w 6775947"/>
              <a:gd name="connsiteY237" fmla="*/ 4256422 h 4297935"/>
              <a:gd name="connsiteX238" fmla="*/ 2960077 w 6775947"/>
              <a:gd name="connsiteY238" fmla="*/ 4262284 h 4297935"/>
              <a:gd name="connsiteX239" fmla="*/ 3006969 w 6775947"/>
              <a:gd name="connsiteY239" fmla="*/ 4268145 h 4297935"/>
              <a:gd name="connsiteX240" fmla="*/ 3106615 w 6775947"/>
              <a:gd name="connsiteY240" fmla="*/ 4285730 h 4297935"/>
              <a:gd name="connsiteX241" fmla="*/ 3130061 w 6775947"/>
              <a:gd name="connsiteY241" fmla="*/ 4291592 h 4297935"/>
              <a:gd name="connsiteX242" fmla="*/ 3294184 w 6775947"/>
              <a:gd name="connsiteY242" fmla="*/ 4285730 h 4297935"/>
              <a:gd name="connsiteX243" fmla="*/ 3323492 w 6775947"/>
              <a:gd name="connsiteY243" fmla="*/ 4279869 h 4297935"/>
              <a:gd name="connsiteX244" fmla="*/ 3364523 w 6775947"/>
              <a:gd name="connsiteY244" fmla="*/ 4274007 h 4297935"/>
              <a:gd name="connsiteX245" fmla="*/ 4525107 w 6775947"/>
              <a:gd name="connsiteY245" fmla="*/ 4279869 h 4297935"/>
              <a:gd name="connsiteX246" fmla="*/ 4759569 w 6775947"/>
              <a:gd name="connsiteY246" fmla="*/ 4232976 h 4297935"/>
              <a:gd name="connsiteX247" fmla="*/ 5175738 w 6775947"/>
              <a:gd name="connsiteY247" fmla="*/ 4209530 h 4297935"/>
              <a:gd name="connsiteX248" fmla="*/ 5216769 w 6775947"/>
              <a:gd name="connsiteY248" fmla="*/ 4180222 h 4297935"/>
              <a:gd name="connsiteX249" fmla="*/ 5234354 w 6775947"/>
              <a:gd name="connsiteY249" fmla="*/ 4156776 h 4297935"/>
              <a:gd name="connsiteX250" fmla="*/ 5251938 w 6775947"/>
              <a:gd name="connsiteY250" fmla="*/ 4139192 h 4297935"/>
              <a:gd name="connsiteX251" fmla="*/ 5275384 w 6775947"/>
              <a:gd name="connsiteY251" fmla="*/ 4109884 h 4297935"/>
              <a:gd name="connsiteX252" fmla="*/ 5404338 w 6775947"/>
              <a:gd name="connsiteY252" fmla="*/ 4021961 h 4297935"/>
              <a:gd name="connsiteX253" fmla="*/ 5498123 w 6775947"/>
              <a:gd name="connsiteY253" fmla="*/ 3934038 h 4297935"/>
              <a:gd name="connsiteX254" fmla="*/ 5550877 w 6775947"/>
              <a:gd name="connsiteY254" fmla="*/ 3898869 h 4297935"/>
              <a:gd name="connsiteX255" fmla="*/ 5715000 w 6775947"/>
              <a:gd name="connsiteY255" fmla="*/ 3723022 h 4297935"/>
              <a:gd name="connsiteX256" fmla="*/ 5802923 w 6775947"/>
              <a:gd name="connsiteY256" fmla="*/ 3617515 h 4297935"/>
              <a:gd name="connsiteX257" fmla="*/ 5838092 w 6775947"/>
              <a:gd name="connsiteY257" fmla="*/ 3547176 h 4297935"/>
              <a:gd name="connsiteX258" fmla="*/ 5879123 w 6775947"/>
              <a:gd name="connsiteY258" fmla="*/ 3476838 h 4297935"/>
              <a:gd name="connsiteX259" fmla="*/ 5908430 w 6775947"/>
              <a:gd name="connsiteY259" fmla="*/ 3447530 h 4297935"/>
              <a:gd name="connsiteX260" fmla="*/ 5926015 w 6775947"/>
              <a:gd name="connsiteY260" fmla="*/ 3412361 h 4297935"/>
              <a:gd name="connsiteX261" fmla="*/ 6119446 w 6775947"/>
              <a:gd name="connsiteY261" fmla="*/ 3218930 h 4297935"/>
              <a:gd name="connsiteX262" fmla="*/ 6236677 w 6775947"/>
              <a:gd name="connsiteY262" fmla="*/ 3095838 h 4297935"/>
              <a:gd name="connsiteX263" fmla="*/ 6318738 w 6775947"/>
              <a:gd name="connsiteY263" fmla="*/ 2961022 h 4297935"/>
              <a:gd name="connsiteX264" fmla="*/ 6330461 w 6775947"/>
              <a:gd name="connsiteY264" fmla="*/ 2902407 h 4297935"/>
              <a:gd name="connsiteX265" fmla="*/ 6453554 w 6775947"/>
              <a:gd name="connsiteY265" fmla="*/ 2574161 h 4297935"/>
              <a:gd name="connsiteX266" fmla="*/ 6547338 w 6775947"/>
              <a:gd name="connsiteY266" fmla="*/ 2398315 h 4297935"/>
              <a:gd name="connsiteX267" fmla="*/ 6629400 w 6775947"/>
              <a:gd name="connsiteY267" fmla="*/ 2263499 h 4297935"/>
              <a:gd name="connsiteX268" fmla="*/ 6646984 w 6775947"/>
              <a:gd name="connsiteY268" fmla="*/ 2228330 h 4297935"/>
              <a:gd name="connsiteX269" fmla="*/ 6705600 w 6775947"/>
              <a:gd name="connsiteY269" fmla="*/ 2175576 h 4297935"/>
              <a:gd name="connsiteX270" fmla="*/ 6723184 w 6775947"/>
              <a:gd name="connsiteY270" fmla="*/ 2122822 h 4297935"/>
              <a:gd name="connsiteX271" fmla="*/ 6764215 w 6775947"/>
              <a:gd name="connsiteY271" fmla="*/ 1882499 h 4297935"/>
              <a:gd name="connsiteX272" fmla="*/ 6764215 w 6775947"/>
              <a:gd name="connsiteY272" fmla="*/ 827422 h 4297935"/>
              <a:gd name="connsiteX273" fmla="*/ 6740769 w 6775947"/>
              <a:gd name="connsiteY273" fmla="*/ 241269 h 4297935"/>
              <a:gd name="connsiteX274" fmla="*/ 6729046 w 6775947"/>
              <a:gd name="connsiteY274" fmla="*/ 170930 h 4297935"/>
              <a:gd name="connsiteX275" fmla="*/ 6723184 w 6775947"/>
              <a:gd name="connsiteY275" fmla="*/ 147484 h 4297935"/>
              <a:gd name="connsiteX276" fmla="*/ 6670430 w 6775947"/>
              <a:gd name="connsiteY276" fmla="*/ 100592 h 4297935"/>
              <a:gd name="connsiteX277" fmla="*/ 6559061 w 6775947"/>
              <a:gd name="connsiteY277" fmla="*/ 71284 h 4297935"/>
              <a:gd name="connsiteX278" fmla="*/ 6506307 w 6775947"/>
              <a:gd name="connsiteY278" fmla="*/ 41976 h 4297935"/>
              <a:gd name="connsiteX279" fmla="*/ 6477000 w 6775947"/>
              <a:gd name="connsiteY279" fmla="*/ 30253 h 4297935"/>
              <a:gd name="connsiteX280" fmla="*/ 6371492 w 6775947"/>
              <a:gd name="connsiteY280" fmla="*/ 59561 h 4297935"/>
              <a:gd name="connsiteX281" fmla="*/ 5597769 w 6775947"/>
              <a:gd name="connsiteY281" fmla="*/ 30253 h 4297935"/>
              <a:gd name="connsiteX282" fmla="*/ 5533292 w 6775947"/>
              <a:gd name="connsiteY282" fmla="*/ 24392 h 4297935"/>
              <a:gd name="connsiteX283" fmla="*/ 5175738 w 6775947"/>
              <a:gd name="connsiteY283" fmla="*/ 30253 h 4297935"/>
              <a:gd name="connsiteX284" fmla="*/ 5064369 w 6775947"/>
              <a:gd name="connsiteY284" fmla="*/ 41976 h 4297935"/>
              <a:gd name="connsiteX285" fmla="*/ 4360984 w 6775947"/>
              <a:gd name="connsiteY285" fmla="*/ 53699 h 4297935"/>
              <a:gd name="connsiteX286" fmla="*/ 4314092 w 6775947"/>
              <a:gd name="connsiteY286" fmla="*/ 106453 h 4297935"/>
              <a:gd name="connsiteX287" fmla="*/ 4302369 w 6775947"/>
              <a:gd name="connsiteY287" fmla="*/ 165069 h 429793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613030 w 6775947"/>
              <a:gd name="connsiteY60" fmla="*/ 1478533 h 4298415"/>
              <a:gd name="connsiteX61" fmla="*/ 4601307 w 6775947"/>
              <a:gd name="connsiteY61" fmla="*/ 1431641 h 4298415"/>
              <a:gd name="connsiteX62" fmla="*/ 4583723 w 6775947"/>
              <a:gd name="connsiteY62" fmla="*/ 1396472 h 4298415"/>
              <a:gd name="connsiteX63" fmla="*/ 4577861 w 6775947"/>
              <a:gd name="connsiteY63" fmla="*/ 1378887 h 4298415"/>
              <a:gd name="connsiteX64" fmla="*/ 4566138 w 6775947"/>
              <a:gd name="connsiteY64" fmla="*/ 1308549 h 4298415"/>
              <a:gd name="connsiteX65" fmla="*/ 4548554 w 6775947"/>
              <a:gd name="connsiteY65" fmla="*/ 12264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5815 w 6775947"/>
              <a:gd name="connsiteY75" fmla="*/ 523102 h 4298415"/>
              <a:gd name="connsiteX76" fmla="*/ 4314092 w 6775947"/>
              <a:gd name="connsiteY76" fmla="*/ 441041 h 4298415"/>
              <a:gd name="connsiteX77" fmla="*/ 4319954 w 6775947"/>
              <a:gd name="connsiteY77" fmla="*/ 417595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46077 w 6775947"/>
              <a:gd name="connsiteY86" fmla="*/ 95210 h 4298415"/>
              <a:gd name="connsiteX87" fmla="*/ 5304692 w 6775947"/>
              <a:gd name="connsiteY87" fmla="*/ 106933 h 4298415"/>
              <a:gd name="connsiteX88" fmla="*/ 5345723 w 6775947"/>
              <a:gd name="connsiteY88" fmla="*/ 112795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613030 w 6775947"/>
              <a:gd name="connsiteY60" fmla="*/ 1478533 h 4298415"/>
              <a:gd name="connsiteX61" fmla="*/ 4601307 w 6775947"/>
              <a:gd name="connsiteY61" fmla="*/ 1431641 h 4298415"/>
              <a:gd name="connsiteX62" fmla="*/ 4583723 w 6775947"/>
              <a:gd name="connsiteY62" fmla="*/ 1396472 h 4298415"/>
              <a:gd name="connsiteX63" fmla="*/ 4577861 w 6775947"/>
              <a:gd name="connsiteY63" fmla="*/ 1378887 h 4298415"/>
              <a:gd name="connsiteX64" fmla="*/ 4566138 w 6775947"/>
              <a:gd name="connsiteY64" fmla="*/ 1308549 h 4298415"/>
              <a:gd name="connsiteX65" fmla="*/ 4548554 w 6775947"/>
              <a:gd name="connsiteY65" fmla="*/ 12264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5815 w 6775947"/>
              <a:gd name="connsiteY75" fmla="*/ 523102 h 4298415"/>
              <a:gd name="connsiteX76" fmla="*/ 4314092 w 6775947"/>
              <a:gd name="connsiteY76" fmla="*/ 441041 h 4298415"/>
              <a:gd name="connsiteX77" fmla="*/ 4319954 w 6775947"/>
              <a:gd name="connsiteY77" fmla="*/ 417595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46077 w 6775947"/>
              <a:gd name="connsiteY86" fmla="*/ 95210 h 4298415"/>
              <a:gd name="connsiteX87" fmla="*/ 5304692 w 6775947"/>
              <a:gd name="connsiteY87" fmla="*/ 106933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613030 w 6775947"/>
              <a:gd name="connsiteY60" fmla="*/ 1478533 h 4298415"/>
              <a:gd name="connsiteX61" fmla="*/ 4601307 w 6775947"/>
              <a:gd name="connsiteY61" fmla="*/ 1431641 h 4298415"/>
              <a:gd name="connsiteX62" fmla="*/ 4583723 w 6775947"/>
              <a:gd name="connsiteY62" fmla="*/ 1396472 h 4298415"/>
              <a:gd name="connsiteX63" fmla="*/ 4577861 w 6775947"/>
              <a:gd name="connsiteY63" fmla="*/ 1378887 h 4298415"/>
              <a:gd name="connsiteX64" fmla="*/ 4566138 w 6775947"/>
              <a:gd name="connsiteY64" fmla="*/ 1308549 h 4298415"/>
              <a:gd name="connsiteX65" fmla="*/ 4548554 w 6775947"/>
              <a:gd name="connsiteY65" fmla="*/ 12264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5815 w 6775947"/>
              <a:gd name="connsiteY75" fmla="*/ 523102 h 4298415"/>
              <a:gd name="connsiteX76" fmla="*/ 4314092 w 6775947"/>
              <a:gd name="connsiteY76" fmla="*/ 441041 h 4298415"/>
              <a:gd name="connsiteX77" fmla="*/ 4319954 w 6775947"/>
              <a:gd name="connsiteY77" fmla="*/ 417595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46077 w 6775947"/>
              <a:gd name="connsiteY86" fmla="*/ 95210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613030 w 6775947"/>
              <a:gd name="connsiteY60" fmla="*/ 1478533 h 4298415"/>
              <a:gd name="connsiteX61" fmla="*/ 4601307 w 6775947"/>
              <a:gd name="connsiteY61" fmla="*/ 1431641 h 4298415"/>
              <a:gd name="connsiteX62" fmla="*/ 4583723 w 6775947"/>
              <a:gd name="connsiteY62" fmla="*/ 1396472 h 4298415"/>
              <a:gd name="connsiteX63" fmla="*/ 4577861 w 6775947"/>
              <a:gd name="connsiteY63" fmla="*/ 1378887 h 4298415"/>
              <a:gd name="connsiteX64" fmla="*/ 4566138 w 6775947"/>
              <a:gd name="connsiteY64" fmla="*/ 1308549 h 4298415"/>
              <a:gd name="connsiteX65" fmla="*/ 4548554 w 6775947"/>
              <a:gd name="connsiteY65" fmla="*/ 12264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5815 w 6775947"/>
              <a:gd name="connsiteY75" fmla="*/ 523102 h 4298415"/>
              <a:gd name="connsiteX76" fmla="*/ 4314092 w 6775947"/>
              <a:gd name="connsiteY76" fmla="*/ 441041 h 4298415"/>
              <a:gd name="connsiteX77" fmla="*/ 4319954 w 6775947"/>
              <a:gd name="connsiteY77" fmla="*/ 417595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601307 w 6775947"/>
              <a:gd name="connsiteY61" fmla="*/ 1431641 h 4298415"/>
              <a:gd name="connsiteX62" fmla="*/ 4583723 w 6775947"/>
              <a:gd name="connsiteY62" fmla="*/ 1396472 h 4298415"/>
              <a:gd name="connsiteX63" fmla="*/ 4577861 w 6775947"/>
              <a:gd name="connsiteY63" fmla="*/ 1378887 h 4298415"/>
              <a:gd name="connsiteX64" fmla="*/ 4566138 w 6775947"/>
              <a:gd name="connsiteY64" fmla="*/ 1308549 h 4298415"/>
              <a:gd name="connsiteX65" fmla="*/ 4548554 w 6775947"/>
              <a:gd name="connsiteY65" fmla="*/ 12264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5815 w 6775947"/>
              <a:gd name="connsiteY75" fmla="*/ 523102 h 4298415"/>
              <a:gd name="connsiteX76" fmla="*/ 4314092 w 6775947"/>
              <a:gd name="connsiteY76" fmla="*/ 441041 h 4298415"/>
              <a:gd name="connsiteX77" fmla="*/ 4319954 w 6775947"/>
              <a:gd name="connsiteY77" fmla="*/ 417595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601307 w 6775947"/>
              <a:gd name="connsiteY61" fmla="*/ 1431641 h 4298415"/>
              <a:gd name="connsiteX62" fmla="*/ 4482123 w 6775947"/>
              <a:gd name="connsiteY62" fmla="*/ 1396472 h 4298415"/>
              <a:gd name="connsiteX63" fmla="*/ 4577861 w 6775947"/>
              <a:gd name="connsiteY63" fmla="*/ 1378887 h 4298415"/>
              <a:gd name="connsiteX64" fmla="*/ 4566138 w 6775947"/>
              <a:gd name="connsiteY64" fmla="*/ 1308549 h 4298415"/>
              <a:gd name="connsiteX65" fmla="*/ 4548554 w 6775947"/>
              <a:gd name="connsiteY65" fmla="*/ 12264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5815 w 6775947"/>
              <a:gd name="connsiteY75" fmla="*/ 523102 h 4298415"/>
              <a:gd name="connsiteX76" fmla="*/ 4314092 w 6775947"/>
              <a:gd name="connsiteY76" fmla="*/ 441041 h 4298415"/>
              <a:gd name="connsiteX77" fmla="*/ 4319954 w 6775947"/>
              <a:gd name="connsiteY77" fmla="*/ 417595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577861 w 6775947"/>
              <a:gd name="connsiteY63" fmla="*/ 1378887 h 4298415"/>
              <a:gd name="connsiteX64" fmla="*/ 4566138 w 6775947"/>
              <a:gd name="connsiteY64" fmla="*/ 1308549 h 4298415"/>
              <a:gd name="connsiteX65" fmla="*/ 4548554 w 6775947"/>
              <a:gd name="connsiteY65" fmla="*/ 12264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5815 w 6775947"/>
              <a:gd name="connsiteY75" fmla="*/ 523102 h 4298415"/>
              <a:gd name="connsiteX76" fmla="*/ 4314092 w 6775947"/>
              <a:gd name="connsiteY76" fmla="*/ 441041 h 4298415"/>
              <a:gd name="connsiteX77" fmla="*/ 4319954 w 6775947"/>
              <a:gd name="connsiteY77" fmla="*/ 417595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566138 w 6775947"/>
              <a:gd name="connsiteY64" fmla="*/ 1308549 h 4298415"/>
              <a:gd name="connsiteX65" fmla="*/ 4548554 w 6775947"/>
              <a:gd name="connsiteY65" fmla="*/ 12264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5815 w 6775947"/>
              <a:gd name="connsiteY75" fmla="*/ 523102 h 4298415"/>
              <a:gd name="connsiteX76" fmla="*/ 4314092 w 6775947"/>
              <a:gd name="connsiteY76" fmla="*/ 441041 h 4298415"/>
              <a:gd name="connsiteX77" fmla="*/ 4319954 w 6775947"/>
              <a:gd name="connsiteY77" fmla="*/ 417595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566138 w 6775947"/>
              <a:gd name="connsiteY64" fmla="*/ 1308549 h 4298415"/>
              <a:gd name="connsiteX65" fmla="*/ 4427904 w 6775947"/>
              <a:gd name="connsiteY65" fmla="*/ 12010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5815 w 6775947"/>
              <a:gd name="connsiteY75" fmla="*/ 523102 h 4298415"/>
              <a:gd name="connsiteX76" fmla="*/ 4314092 w 6775947"/>
              <a:gd name="connsiteY76" fmla="*/ 441041 h 4298415"/>
              <a:gd name="connsiteX77" fmla="*/ 4319954 w 6775947"/>
              <a:gd name="connsiteY77" fmla="*/ 417595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331188 w 6775947"/>
              <a:gd name="connsiteY64" fmla="*/ 1276799 h 4298415"/>
              <a:gd name="connsiteX65" fmla="*/ 4427904 w 6775947"/>
              <a:gd name="connsiteY65" fmla="*/ 12010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5815 w 6775947"/>
              <a:gd name="connsiteY75" fmla="*/ 523102 h 4298415"/>
              <a:gd name="connsiteX76" fmla="*/ 4314092 w 6775947"/>
              <a:gd name="connsiteY76" fmla="*/ 441041 h 4298415"/>
              <a:gd name="connsiteX77" fmla="*/ 4319954 w 6775947"/>
              <a:gd name="connsiteY77" fmla="*/ 417595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331188 w 6775947"/>
              <a:gd name="connsiteY64" fmla="*/ 1276799 h 4298415"/>
              <a:gd name="connsiteX65" fmla="*/ 4427904 w 6775947"/>
              <a:gd name="connsiteY65" fmla="*/ 12010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42144 w 6775947"/>
              <a:gd name="connsiteY75" fmla="*/ 724487 h 4298415"/>
              <a:gd name="connsiteX76" fmla="*/ 4314092 w 6775947"/>
              <a:gd name="connsiteY76" fmla="*/ 441041 h 4298415"/>
              <a:gd name="connsiteX77" fmla="*/ 4319954 w 6775947"/>
              <a:gd name="connsiteY77" fmla="*/ 417595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331188 w 6775947"/>
              <a:gd name="connsiteY64" fmla="*/ 1276799 h 4298415"/>
              <a:gd name="connsiteX65" fmla="*/ 4427904 w 6775947"/>
              <a:gd name="connsiteY65" fmla="*/ 12010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42144 w 6775947"/>
              <a:gd name="connsiteY75" fmla="*/ 724487 h 4298415"/>
              <a:gd name="connsiteX76" fmla="*/ 4314092 w 6775947"/>
              <a:gd name="connsiteY76" fmla="*/ 441041 h 4298415"/>
              <a:gd name="connsiteX77" fmla="*/ 4292740 w 6775947"/>
              <a:gd name="connsiteY77" fmla="*/ 199881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331188 w 6775947"/>
              <a:gd name="connsiteY64" fmla="*/ 1276799 h 4298415"/>
              <a:gd name="connsiteX65" fmla="*/ 4427904 w 6775947"/>
              <a:gd name="connsiteY65" fmla="*/ 12010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0373 w 6775947"/>
              <a:gd name="connsiteY75" fmla="*/ 724487 h 4298415"/>
              <a:gd name="connsiteX76" fmla="*/ 4314092 w 6775947"/>
              <a:gd name="connsiteY76" fmla="*/ 441041 h 4298415"/>
              <a:gd name="connsiteX77" fmla="*/ 4292740 w 6775947"/>
              <a:gd name="connsiteY77" fmla="*/ 199881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91200 w 6775947"/>
              <a:gd name="connsiteY98" fmla="*/ 364841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331188 w 6775947"/>
              <a:gd name="connsiteY64" fmla="*/ 1276799 h 4298415"/>
              <a:gd name="connsiteX65" fmla="*/ 4427904 w 6775947"/>
              <a:gd name="connsiteY65" fmla="*/ 12010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0373 w 6775947"/>
              <a:gd name="connsiteY75" fmla="*/ 724487 h 4298415"/>
              <a:gd name="connsiteX76" fmla="*/ 4314092 w 6775947"/>
              <a:gd name="connsiteY76" fmla="*/ 441041 h 4298415"/>
              <a:gd name="connsiteX77" fmla="*/ 4292740 w 6775947"/>
              <a:gd name="connsiteY77" fmla="*/ 199881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25886 w 6775947"/>
              <a:gd name="connsiteY98" fmla="*/ 392055 h 4298415"/>
              <a:gd name="connsiteX99" fmla="*/ 5756030 w 6775947"/>
              <a:gd name="connsiteY99" fmla="*/ 616887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331188 w 6775947"/>
              <a:gd name="connsiteY64" fmla="*/ 1276799 h 4298415"/>
              <a:gd name="connsiteX65" fmla="*/ 4427904 w 6775947"/>
              <a:gd name="connsiteY65" fmla="*/ 12010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0373 w 6775947"/>
              <a:gd name="connsiteY75" fmla="*/ 724487 h 4298415"/>
              <a:gd name="connsiteX76" fmla="*/ 4314092 w 6775947"/>
              <a:gd name="connsiteY76" fmla="*/ 441041 h 4298415"/>
              <a:gd name="connsiteX77" fmla="*/ 4292740 w 6775947"/>
              <a:gd name="connsiteY77" fmla="*/ 199881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756030 w 6775947"/>
              <a:gd name="connsiteY97" fmla="*/ 306225 h 4298415"/>
              <a:gd name="connsiteX98" fmla="*/ 5725886 w 6775947"/>
              <a:gd name="connsiteY98" fmla="*/ 392055 h 4298415"/>
              <a:gd name="connsiteX99" fmla="*/ 5712487 w 6775947"/>
              <a:gd name="connsiteY99" fmla="*/ 649544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331188 w 6775947"/>
              <a:gd name="connsiteY64" fmla="*/ 1276799 h 4298415"/>
              <a:gd name="connsiteX65" fmla="*/ 4427904 w 6775947"/>
              <a:gd name="connsiteY65" fmla="*/ 12010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0373 w 6775947"/>
              <a:gd name="connsiteY75" fmla="*/ 724487 h 4298415"/>
              <a:gd name="connsiteX76" fmla="*/ 4314092 w 6775947"/>
              <a:gd name="connsiteY76" fmla="*/ 441041 h 4298415"/>
              <a:gd name="connsiteX77" fmla="*/ 4292740 w 6775947"/>
              <a:gd name="connsiteY77" fmla="*/ 199881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690716 w 6775947"/>
              <a:gd name="connsiteY97" fmla="*/ 279011 h 4298415"/>
              <a:gd name="connsiteX98" fmla="*/ 5725886 w 6775947"/>
              <a:gd name="connsiteY98" fmla="*/ 392055 h 4298415"/>
              <a:gd name="connsiteX99" fmla="*/ 5712487 w 6775947"/>
              <a:gd name="connsiteY99" fmla="*/ 649544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264877 w 6775947"/>
              <a:gd name="connsiteY172" fmla="*/ 3688333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530480 w 6775947"/>
              <a:gd name="connsiteY60" fmla="*/ 1529333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331188 w 6775947"/>
              <a:gd name="connsiteY64" fmla="*/ 1276799 h 4298415"/>
              <a:gd name="connsiteX65" fmla="*/ 4427904 w 6775947"/>
              <a:gd name="connsiteY65" fmla="*/ 12010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0373 w 6775947"/>
              <a:gd name="connsiteY75" fmla="*/ 724487 h 4298415"/>
              <a:gd name="connsiteX76" fmla="*/ 4314092 w 6775947"/>
              <a:gd name="connsiteY76" fmla="*/ 441041 h 4298415"/>
              <a:gd name="connsiteX77" fmla="*/ 4292740 w 6775947"/>
              <a:gd name="connsiteY77" fmla="*/ 199881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690716 w 6775947"/>
              <a:gd name="connsiteY97" fmla="*/ 279011 h 4298415"/>
              <a:gd name="connsiteX98" fmla="*/ 5725886 w 6775947"/>
              <a:gd name="connsiteY98" fmla="*/ 392055 h 4298415"/>
              <a:gd name="connsiteX99" fmla="*/ 5712487 w 6775947"/>
              <a:gd name="connsiteY99" fmla="*/ 649544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313863 w 6775947"/>
              <a:gd name="connsiteY172" fmla="*/ 3644791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636477 w 6775947"/>
              <a:gd name="connsiteY59" fmla="*/ 1759887 h 4298415"/>
              <a:gd name="connsiteX60" fmla="*/ 4459043 w 6775947"/>
              <a:gd name="connsiteY60" fmla="*/ 1600770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331188 w 6775947"/>
              <a:gd name="connsiteY64" fmla="*/ 1276799 h 4298415"/>
              <a:gd name="connsiteX65" fmla="*/ 4427904 w 6775947"/>
              <a:gd name="connsiteY65" fmla="*/ 12010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0373 w 6775947"/>
              <a:gd name="connsiteY75" fmla="*/ 724487 h 4298415"/>
              <a:gd name="connsiteX76" fmla="*/ 4314092 w 6775947"/>
              <a:gd name="connsiteY76" fmla="*/ 441041 h 4298415"/>
              <a:gd name="connsiteX77" fmla="*/ 4292740 w 6775947"/>
              <a:gd name="connsiteY77" fmla="*/ 199881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690716 w 6775947"/>
              <a:gd name="connsiteY97" fmla="*/ 279011 h 4298415"/>
              <a:gd name="connsiteX98" fmla="*/ 5725886 w 6775947"/>
              <a:gd name="connsiteY98" fmla="*/ 392055 h 4298415"/>
              <a:gd name="connsiteX99" fmla="*/ 5712487 w 6775947"/>
              <a:gd name="connsiteY99" fmla="*/ 649544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313863 w 6775947"/>
              <a:gd name="connsiteY172" fmla="*/ 3644791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  <a:gd name="connsiteX0" fmla="*/ 4302369 w 6775947"/>
              <a:gd name="connsiteY0" fmla="*/ 165549 h 4298415"/>
              <a:gd name="connsiteX1" fmla="*/ 4302369 w 6775947"/>
              <a:gd name="connsiteY1" fmla="*/ 165549 h 4298415"/>
              <a:gd name="connsiteX2" fmla="*/ 4232030 w 6775947"/>
              <a:gd name="connsiteY2" fmla="*/ 130379 h 4298415"/>
              <a:gd name="connsiteX3" fmla="*/ 4208584 w 6775947"/>
              <a:gd name="connsiteY3" fmla="*/ 112795 h 4298415"/>
              <a:gd name="connsiteX4" fmla="*/ 4149969 w 6775947"/>
              <a:gd name="connsiteY4" fmla="*/ 95210 h 4298415"/>
              <a:gd name="connsiteX5" fmla="*/ 4097215 w 6775947"/>
              <a:gd name="connsiteY5" fmla="*/ 83487 h 4298415"/>
              <a:gd name="connsiteX6" fmla="*/ 4073769 w 6775947"/>
              <a:gd name="connsiteY6" fmla="*/ 77625 h 4298415"/>
              <a:gd name="connsiteX7" fmla="*/ 3927230 w 6775947"/>
              <a:gd name="connsiteY7" fmla="*/ 65902 h 4298415"/>
              <a:gd name="connsiteX8" fmla="*/ 3745523 w 6775947"/>
              <a:gd name="connsiteY8" fmla="*/ 42456 h 4298415"/>
              <a:gd name="connsiteX9" fmla="*/ 3716215 w 6775947"/>
              <a:gd name="connsiteY9" fmla="*/ 30733 h 4298415"/>
              <a:gd name="connsiteX10" fmla="*/ 3563815 w 6775947"/>
              <a:gd name="connsiteY10" fmla="*/ 30733 h 4298415"/>
              <a:gd name="connsiteX11" fmla="*/ 3499338 w 6775947"/>
              <a:gd name="connsiteY11" fmla="*/ 48318 h 4298415"/>
              <a:gd name="connsiteX12" fmla="*/ 3458307 w 6775947"/>
              <a:gd name="connsiteY12" fmla="*/ 54179 h 4298415"/>
              <a:gd name="connsiteX13" fmla="*/ 3376246 w 6775947"/>
              <a:gd name="connsiteY13" fmla="*/ 65902 h 4298415"/>
              <a:gd name="connsiteX14" fmla="*/ 3352800 w 6775947"/>
              <a:gd name="connsiteY14" fmla="*/ 71764 h 4298415"/>
              <a:gd name="connsiteX15" fmla="*/ 3288323 w 6775947"/>
              <a:gd name="connsiteY15" fmla="*/ 101072 h 4298415"/>
              <a:gd name="connsiteX16" fmla="*/ 3194538 w 6775947"/>
              <a:gd name="connsiteY16" fmla="*/ 118656 h 4298415"/>
              <a:gd name="connsiteX17" fmla="*/ 3112477 w 6775947"/>
              <a:gd name="connsiteY17" fmla="*/ 147964 h 4298415"/>
              <a:gd name="connsiteX18" fmla="*/ 3059723 w 6775947"/>
              <a:gd name="connsiteY18" fmla="*/ 218302 h 4298415"/>
              <a:gd name="connsiteX19" fmla="*/ 2971800 w 6775947"/>
              <a:gd name="connsiteY19" fmla="*/ 358979 h 4298415"/>
              <a:gd name="connsiteX20" fmla="*/ 2960077 w 6775947"/>
              <a:gd name="connsiteY20" fmla="*/ 405872 h 4298415"/>
              <a:gd name="connsiteX21" fmla="*/ 2948354 w 6775947"/>
              <a:gd name="connsiteY21" fmla="*/ 446902 h 4298415"/>
              <a:gd name="connsiteX22" fmla="*/ 2954215 w 6775947"/>
              <a:gd name="connsiteY22" fmla="*/ 722395 h 4298415"/>
              <a:gd name="connsiteX23" fmla="*/ 2971800 w 6775947"/>
              <a:gd name="connsiteY23" fmla="*/ 915825 h 4298415"/>
              <a:gd name="connsiteX24" fmla="*/ 2989384 w 6775947"/>
              <a:gd name="connsiteY24" fmla="*/ 1038918 h 4298415"/>
              <a:gd name="connsiteX25" fmla="*/ 3018692 w 6775947"/>
              <a:gd name="connsiteY25" fmla="*/ 1138564 h 4298415"/>
              <a:gd name="connsiteX26" fmla="*/ 3036277 w 6775947"/>
              <a:gd name="connsiteY26" fmla="*/ 1214764 h 4298415"/>
              <a:gd name="connsiteX27" fmla="*/ 3042138 w 6775947"/>
              <a:gd name="connsiteY27" fmla="*/ 1279241 h 4298415"/>
              <a:gd name="connsiteX28" fmla="*/ 3071446 w 6775947"/>
              <a:gd name="connsiteY28" fmla="*/ 1337856 h 4298415"/>
              <a:gd name="connsiteX29" fmla="*/ 3171092 w 6775947"/>
              <a:gd name="connsiteY29" fmla="*/ 1560595 h 4298415"/>
              <a:gd name="connsiteX30" fmla="*/ 3200400 w 6775947"/>
              <a:gd name="connsiteY30" fmla="*/ 1613349 h 4298415"/>
              <a:gd name="connsiteX31" fmla="*/ 3229707 w 6775947"/>
              <a:gd name="connsiteY31" fmla="*/ 1660241 h 4298415"/>
              <a:gd name="connsiteX32" fmla="*/ 3276600 w 6775947"/>
              <a:gd name="connsiteY32" fmla="*/ 1748164 h 4298415"/>
              <a:gd name="connsiteX33" fmla="*/ 3341077 w 6775947"/>
              <a:gd name="connsiteY33" fmla="*/ 1853672 h 4298415"/>
              <a:gd name="connsiteX34" fmla="*/ 3446584 w 6775947"/>
              <a:gd name="connsiteY34" fmla="*/ 1959179 h 4298415"/>
              <a:gd name="connsiteX35" fmla="*/ 3511061 w 6775947"/>
              <a:gd name="connsiteY35" fmla="*/ 2035379 h 4298415"/>
              <a:gd name="connsiteX36" fmla="*/ 3616569 w 6775947"/>
              <a:gd name="connsiteY36" fmla="*/ 2117441 h 4298415"/>
              <a:gd name="connsiteX37" fmla="*/ 3675184 w 6775947"/>
              <a:gd name="connsiteY37" fmla="*/ 2158472 h 4298415"/>
              <a:gd name="connsiteX38" fmla="*/ 3774830 w 6775947"/>
              <a:gd name="connsiteY38" fmla="*/ 2234672 h 4298415"/>
              <a:gd name="connsiteX39" fmla="*/ 3833446 w 6775947"/>
              <a:gd name="connsiteY39" fmla="*/ 2246395 h 4298415"/>
              <a:gd name="connsiteX40" fmla="*/ 3903784 w 6775947"/>
              <a:gd name="connsiteY40" fmla="*/ 2263979 h 4298415"/>
              <a:gd name="connsiteX41" fmla="*/ 3944815 w 6775947"/>
              <a:gd name="connsiteY41" fmla="*/ 2269841 h 4298415"/>
              <a:gd name="connsiteX42" fmla="*/ 4050323 w 6775947"/>
              <a:gd name="connsiteY42" fmla="*/ 2287425 h 4298415"/>
              <a:gd name="connsiteX43" fmla="*/ 4073769 w 6775947"/>
              <a:gd name="connsiteY43" fmla="*/ 2293287 h 4298415"/>
              <a:gd name="connsiteX44" fmla="*/ 4155830 w 6775947"/>
              <a:gd name="connsiteY44" fmla="*/ 2299149 h 4298415"/>
              <a:gd name="connsiteX45" fmla="*/ 4255477 w 6775947"/>
              <a:gd name="connsiteY45" fmla="*/ 2357764 h 4298415"/>
              <a:gd name="connsiteX46" fmla="*/ 4284784 w 6775947"/>
              <a:gd name="connsiteY46" fmla="*/ 2369487 h 4298415"/>
              <a:gd name="connsiteX47" fmla="*/ 4378569 w 6775947"/>
              <a:gd name="connsiteY47" fmla="*/ 2375349 h 4298415"/>
              <a:gd name="connsiteX48" fmla="*/ 4448907 w 6775947"/>
              <a:gd name="connsiteY48" fmla="*/ 2381210 h 4298415"/>
              <a:gd name="connsiteX49" fmla="*/ 4548554 w 6775947"/>
              <a:gd name="connsiteY49" fmla="*/ 2375349 h 4298415"/>
              <a:gd name="connsiteX50" fmla="*/ 4548553 w 6775947"/>
              <a:gd name="connsiteY50" fmla="*/ 2392933 h 4298415"/>
              <a:gd name="connsiteX51" fmla="*/ 4583722 w 6775947"/>
              <a:gd name="connsiteY51" fmla="*/ 2375349 h 4298415"/>
              <a:gd name="connsiteX52" fmla="*/ 4677507 w 6775947"/>
              <a:gd name="connsiteY52" fmla="*/ 2293287 h 4298415"/>
              <a:gd name="connsiteX53" fmla="*/ 4736123 w 6775947"/>
              <a:gd name="connsiteY53" fmla="*/ 2240534 h 4298415"/>
              <a:gd name="connsiteX54" fmla="*/ 4747846 w 6775947"/>
              <a:gd name="connsiteY54" fmla="*/ 2170195 h 4298415"/>
              <a:gd name="connsiteX55" fmla="*/ 4706815 w 6775947"/>
              <a:gd name="connsiteY55" fmla="*/ 2076410 h 4298415"/>
              <a:gd name="connsiteX56" fmla="*/ 4695092 w 6775947"/>
              <a:gd name="connsiteY56" fmla="*/ 2029518 h 4298415"/>
              <a:gd name="connsiteX57" fmla="*/ 4683369 w 6775947"/>
              <a:gd name="connsiteY57" fmla="*/ 1994349 h 4298415"/>
              <a:gd name="connsiteX58" fmla="*/ 4665784 w 6775947"/>
              <a:gd name="connsiteY58" fmla="*/ 1888841 h 4298415"/>
              <a:gd name="connsiteX59" fmla="*/ 4555514 w 6775947"/>
              <a:gd name="connsiteY59" fmla="*/ 1826562 h 4298415"/>
              <a:gd name="connsiteX60" fmla="*/ 4459043 w 6775947"/>
              <a:gd name="connsiteY60" fmla="*/ 1600770 h 4298415"/>
              <a:gd name="connsiteX61" fmla="*/ 4455257 w 6775947"/>
              <a:gd name="connsiteY61" fmla="*/ 1431641 h 4298415"/>
              <a:gd name="connsiteX62" fmla="*/ 4482123 w 6775947"/>
              <a:gd name="connsiteY62" fmla="*/ 1396472 h 4298415"/>
              <a:gd name="connsiteX63" fmla="*/ 4374661 w 6775947"/>
              <a:gd name="connsiteY63" fmla="*/ 1302687 h 4298415"/>
              <a:gd name="connsiteX64" fmla="*/ 4331188 w 6775947"/>
              <a:gd name="connsiteY64" fmla="*/ 1276799 h 4298415"/>
              <a:gd name="connsiteX65" fmla="*/ 4427904 w 6775947"/>
              <a:gd name="connsiteY65" fmla="*/ 1201087 h 4298415"/>
              <a:gd name="connsiteX66" fmla="*/ 4542692 w 6775947"/>
              <a:gd name="connsiteY66" fmla="*/ 1173733 h 4298415"/>
              <a:gd name="connsiteX67" fmla="*/ 4478215 w 6775947"/>
              <a:gd name="connsiteY67" fmla="*/ 1103395 h 4298415"/>
              <a:gd name="connsiteX68" fmla="*/ 4460630 w 6775947"/>
              <a:gd name="connsiteY68" fmla="*/ 1085810 h 4298415"/>
              <a:gd name="connsiteX69" fmla="*/ 4437184 w 6775947"/>
              <a:gd name="connsiteY69" fmla="*/ 1044779 h 4298415"/>
              <a:gd name="connsiteX70" fmla="*/ 4419600 w 6775947"/>
              <a:gd name="connsiteY70" fmla="*/ 1003749 h 4298415"/>
              <a:gd name="connsiteX71" fmla="*/ 4378569 w 6775947"/>
              <a:gd name="connsiteY71" fmla="*/ 886518 h 4298415"/>
              <a:gd name="connsiteX72" fmla="*/ 4325815 w 6775947"/>
              <a:gd name="connsiteY72" fmla="*/ 845487 h 4298415"/>
              <a:gd name="connsiteX73" fmla="*/ 4308230 w 6775947"/>
              <a:gd name="connsiteY73" fmla="*/ 827902 h 4298415"/>
              <a:gd name="connsiteX74" fmla="*/ 4296507 w 6775947"/>
              <a:gd name="connsiteY74" fmla="*/ 781010 h 4298415"/>
              <a:gd name="connsiteX75" fmla="*/ 4320373 w 6775947"/>
              <a:gd name="connsiteY75" fmla="*/ 724487 h 4298415"/>
              <a:gd name="connsiteX76" fmla="*/ 4314092 w 6775947"/>
              <a:gd name="connsiteY76" fmla="*/ 441041 h 4298415"/>
              <a:gd name="connsiteX77" fmla="*/ 4292740 w 6775947"/>
              <a:gd name="connsiteY77" fmla="*/ 199881 h 4298415"/>
              <a:gd name="connsiteX78" fmla="*/ 4337538 w 6775947"/>
              <a:gd name="connsiteY78" fmla="*/ 312087 h 4298415"/>
              <a:gd name="connsiteX79" fmla="*/ 4343400 w 6775947"/>
              <a:gd name="connsiteY79" fmla="*/ 276918 h 4298415"/>
              <a:gd name="connsiteX80" fmla="*/ 4355123 w 6775947"/>
              <a:gd name="connsiteY80" fmla="*/ 194857 h 4298415"/>
              <a:gd name="connsiteX81" fmla="*/ 4360984 w 6775947"/>
              <a:gd name="connsiteY81" fmla="*/ 101071 h 4298415"/>
              <a:gd name="connsiteX82" fmla="*/ 4448908 w 6775947"/>
              <a:gd name="connsiteY82" fmla="*/ 65902 h 4298415"/>
              <a:gd name="connsiteX83" fmla="*/ 4554415 w 6775947"/>
              <a:gd name="connsiteY83" fmla="*/ 1425 h 4298415"/>
              <a:gd name="connsiteX84" fmla="*/ 4577861 w 6775947"/>
              <a:gd name="connsiteY84" fmla="*/ 65902 h 4298415"/>
              <a:gd name="connsiteX85" fmla="*/ 4677508 w 6775947"/>
              <a:gd name="connsiteY85" fmla="*/ 30733 h 4298415"/>
              <a:gd name="connsiteX86" fmla="*/ 5222630 w 6775947"/>
              <a:gd name="connsiteY86" fmla="*/ 48318 h 4298415"/>
              <a:gd name="connsiteX87" fmla="*/ 5292969 w 6775947"/>
              <a:gd name="connsiteY87" fmla="*/ 77625 h 4298415"/>
              <a:gd name="connsiteX88" fmla="*/ 5345723 w 6775947"/>
              <a:gd name="connsiteY88" fmla="*/ 54179 h 4298415"/>
              <a:gd name="connsiteX89" fmla="*/ 5527430 w 6775947"/>
              <a:gd name="connsiteY89" fmla="*/ 118656 h 4298415"/>
              <a:gd name="connsiteX90" fmla="*/ 5545015 w 6775947"/>
              <a:gd name="connsiteY90" fmla="*/ 124518 h 4298415"/>
              <a:gd name="connsiteX91" fmla="*/ 5586046 w 6775947"/>
              <a:gd name="connsiteY91" fmla="*/ 159687 h 4298415"/>
              <a:gd name="connsiteX92" fmla="*/ 5615354 w 6775947"/>
              <a:gd name="connsiteY92" fmla="*/ 183133 h 4298415"/>
              <a:gd name="connsiteX93" fmla="*/ 5632938 w 6775947"/>
              <a:gd name="connsiteY93" fmla="*/ 188995 h 4298415"/>
              <a:gd name="connsiteX94" fmla="*/ 5656384 w 6775947"/>
              <a:gd name="connsiteY94" fmla="*/ 206579 h 4298415"/>
              <a:gd name="connsiteX95" fmla="*/ 5709138 w 6775947"/>
              <a:gd name="connsiteY95" fmla="*/ 241749 h 4298415"/>
              <a:gd name="connsiteX96" fmla="*/ 5738446 w 6775947"/>
              <a:gd name="connsiteY96" fmla="*/ 271056 h 4298415"/>
              <a:gd name="connsiteX97" fmla="*/ 5690716 w 6775947"/>
              <a:gd name="connsiteY97" fmla="*/ 279011 h 4298415"/>
              <a:gd name="connsiteX98" fmla="*/ 5725886 w 6775947"/>
              <a:gd name="connsiteY98" fmla="*/ 392055 h 4298415"/>
              <a:gd name="connsiteX99" fmla="*/ 5712487 w 6775947"/>
              <a:gd name="connsiteY99" fmla="*/ 649544 h 4298415"/>
              <a:gd name="connsiteX100" fmla="*/ 5709138 w 6775947"/>
              <a:gd name="connsiteY100" fmla="*/ 775149 h 4298415"/>
              <a:gd name="connsiteX101" fmla="*/ 5650523 w 6775947"/>
              <a:gd name="connsiteY101" fmla="*/ 904102 h 4298415"/>
              <a:gd name="connsiteX102" fmla="*/ 5597769 w 6775947"/>
              <a:gd name="connsiteY102" fmla="*/ 1033056 h 4298415"/>
              <a:gd name="connsiteX103" fmla="*/ 5591907 w 6775947"/>
              <a:gd name="connsiteY103" fmla="*/ 1062364 h 4298415"/>
              <a:gd name="connsiteX104" fmla="*/ 5586046 w 6775947"/>
              <a:gd name="connsiteY104" fmla="*/ 1079949 h 4298415"/>
              <a:gd name="connsiteX105" fmla="*/ 5556738 w 6775947"/>
              <a:gd name="connsiteY105" fmla="*/ 1197179 h 4298415"/>
              <a:gd name="connsiteX106" fmla="*/ 5515707 w 6775947"/>
              <a:gd name="connsiteY106" fmla="*/ 1302687 h 4298415"/>
              <a:gd name="connsiteX107" fmla="*/ 5480538 w 6775947"/>
              <a:gd name="connsiteY107" fmla="*/ 1419918 h 4298415"/>
              <a:gd name="connsiteX108" fmla="*/ 5468815 w 6775947"/>
              <a:gd name="connsiteY108" fmla="*/ 1449225 h 4298415"/>
              <a:gd name="connsiteX109" fmla="*/ 5439507 w 6775947"/>
              <a:gd name="connsiteY109" fmla="*/ 1501979 h 4298415"/>
              <a:gd name="connsiteX110" fmla="*/ 5421923 w 6775947"/>
              <a:gd name="connsiteY110" fmla="*/ 1554733 h 4298415"/>
              <a:gd name="connsiteX111" fmla="*/ 5392615 w 6775947"/>
              <a:gd name="connsiteY111" fmla="*/ 1630933 h 4298415"/>
              <a:gd name="connsiteX112" fmla="*/ 5369169 w 6775947"/>
              <a:gd name="connsiteY112" fmla="*/ 1701272 h 4298415"/>
              <a:gd name="connsiteX113" fmla="*/ 5351584 w 6775947"/>
              <a:gd name="connsiteY113" fmla="*/ 1859533 h 4298415"/>
              <a:gd name="connsiteX114" fmla="*/ 5339861 w 6775947"/>
              <a:gd name="connsiteY114" fmla="*/ 1888841 h 4298415"/>
              <a:gd name="connsiteX115" fmla="*/ 5334000 w 6775947"/>
              <a:gd name="connsiteY115" fmla="*/ 1912287 h 4298415"/>
              <a:gd name="connsiteX116" fmla="*/ 5316415 w 6775947"/>
              <a:gd name="connsiteY116" fmla="*/ 1994349 h 4298415"/>
              <a:gd name="connsiteX117" fmla="*/ 5292969 w 6775947"/>
              <a:gd name="connsiteY117" fmla="*/ 2029518 h 4298415"/>
              <a:gd name="connsiteX118" fmla="*/ 5269523 w 6775947"/>
              <a:gd name="connsiteY118" fmla="*/ 2076410 h 4298415"/>
              <a:gd name="connsiteX119" fmla="*/ 5257800 w 6775947"/>
              <a:gd name="connsiteY119" fmla="*/ 2099856 h 4298415"/>
              <a:gd name="connsiteX120" fmla="*/ 5240215 w 6775947"/>
              <a:gd name="connsiteY120" fmla="*/ 2123302 h 4298415"/>
              <a:gd name="connsiteX121" fmla="*/ 5234354 w 6775947"/>
              <a:gd name="connsiteY121" fmla="*/ 2152610 h 4298415"/>
              <a:gd name="connsiteX122" fmla="*/ 5222630 w 6775947"/>
              <a:gd name="connsiteY122" fmla="*/ 2164333 h 4298415"/>
              <a:gd name="connsiteX123" fmla="*/ 5210907 w 6775947"/>
              <a:gd name="connsiteY123" fmla="*/ 2187779 h 4298415"/>
              <a:gd name="connsiteX124" fmla="*/ 5193323 w 6775947"/>
              <a:gd name="connsiteY124" fmla="*/ 2211225 h 4298415"/>
              <a:gd name="connsiteX125" fmla="*/ 5175738 w 6775947"/>
              <a:gd name="connsiteY125" fmla="*/ 2287425 h 4298415"/>
              <a:gd name="connsiteX126" fmla="*/ 5216769 w 6775947"/>
              <a:gd name="connsiteY126" fmla="*/ 2328456 h 4298415"/>
              <a:gd name="connsiteX127" fmla="*/ 5234353 w 6775947"/>
              <a:gd name="connsiteY127" fmla="*/ 2369486 h 4298415"/>
              <a:gd name="connsiteX128" fmla="*/ 5251939 w 6775947"/>
              <a:gd name="connsiteY128" fmla="*/ 2381211 h 4298415"/>
              <a:gd name="connsiteX129" fmla="*/ 5281246 w 6775947"/>
              <a:gd name="connsiteY129" fmla="*/ 2451549 h 4298415"/>
              <a:gd name="connsiteX130" fmla="*/ 5287107 w 6775947"/>
              <a:gd name="connsiteY130" fmla="*/ 2580502 h 4298415"/>
              <a:gd name="connsiteX131" fmla="*/ 5298830 w 6775947"/>
              <a:gd name="connsiteY131" fmla="*/ 2639118 h 4298415"/>
              <a:gd name="connsiteX132" fmla="*/ 5310554 w 6775947"/>
              <a:gd name="connsiteY132" fmla="*/ 2744625 h 4298415"/>
              <a:gd name="connsiteX133" fmla="*/ 5316415 w 6775947"/>
              <a:gd name="connsiteY133" fmla="*/ 2908749 h 4298415"/>
              <a:gd name="connsiteX134" fmla="*/ 5357446 w 6775947"/>
              <a:gd name="connsiteY134" fmla="*/ 3002533 h 4298415"/>
              <a:gd name="connsiteX135" fmla="*/ 5363307 w 6775947"/>
              <a:gd name="connsiteY135" fmla="*/ 3037702 h 4298415"/>
              <a:gd name="connsiteX136" fmla="*/ 5380892 w 6775947"/>
              <a:gd name="connsiteY136" fmla="*/ 3061149 h 4298415"/>
              <a:gd name="connsiteX137" fmla="*/ 5386754 w 6775947"/>
              <a:gd name="connsiteY137" fmla="*/ 3108041 h 4298415"/>
              <a:gd name="connsiteX138" fmla="*/ 5404338 w 6775947"/>
              <a:gd name="connsiteY138" fmla="*/ 3154933 h 4298415"/>
              <a:gd name="connsiteX139" fmla="*/ 5404338 w 6775947"/>
              <a:gd name="connsiteY139" fmla="*/ 3348364 h 4298415"/>
              <a:gd name="connsiteX140" fmla="*/ 5398477 w 6775947"/>
              <a:gd name="connsiteY140" fmla="*/ 3846595 h 4298415"/>
              <a:gd name="connsiteX141" fmla="*/ 5380892 w 6775947"/>
              <a:gd name="connsiteY141" fmla="*/ 3905210 h 4298415"/>
              <a:gd name="connsiteX142" fmla="*/ 5369169 w 6775947"/>
              <a:gd name="connsiteY142" fmla="*/ 3940379 h 4298415"/>
              <a:gd name="connsiteX143" fmla="*/ 5339861 w 6775947"/>
              <a:gd name="connsiteY143" fmla="*/ 3969687 h 4298415"/>
              <a:gd name="connsiteX144" fmla="*/ 5322277 w 6775947"/>
              <a:gd name="connsiteY144" fmla="*/ 4004856 h 4298415"/>
              <a:gd name="connsiteX145" fmla="*/ 5257800 w 6775947"/>
              <a:gd name="connsiteY145" fmla="*/ 4081056 h 4298415"/>
              <a:gd name="connsiteX146" fmla="*/ 5228492 w 6775947"/>
              <a:gd name="connsiteY146" fmla="*/ 4104502 h 4298415"/>
              <a:gd name="connsiteX147" fmla="*/ 5146430 w 6775947"/>
              <a:gd name="connsiteY147" fmla="*/ 4145533 h 4298415"/>
              <a:gd name="connsiteX148" fmla="*/ 5117123 w 6775947"/>
              <a:gd name="connsiteY148" fmla="*/ 4163118 h 4298415"/>
              <a:gd name="connsiteX149" fmla="*/ 5087815 w 6775947"/>
              <a:gd name="connsiteY149" fmla="*/ 4168979 h 4298415"/>
              <a:gd name="connsiteX150" fmla="*/ 4988169 w 6775947"/>
              <a:gd name="connsiteY150" fmla="*/ 4186564 h 4298415"/>
              <a:gd name="connsiteX151" fmla="*/ 4753707 w 6775947"/>
              <a:gd name="connsiteY151" fmla="*/ 4174841 h 4298415"/>
              <a:gd name="connsiteX152" fmla="*/ 4695092 w 6775947"/>
              <a:gd name="connsiteY152" fmla="*/ 4163118 h 4298415"/>
              <a:gd name="connsiteX153" fmla="*/ 4589584 w 6775947"/>
              <a:gd name="connsiteY153" fmla="*/ 4174841 h 4298415"/>
              <a:gd name="connsiteX154" fmla="*/ 4560277 w 6775947"/>
              <a:gd name="connsiteY154" fmla="*/ 4186564 h 4298415"/>
              <a:gd name="connsiteX155" fmla="*/ 4484077 w 6775947"/>
              <a:gd name="connsiteY155" fmla="*/ 4204149 h 4298415"/>
              <a:gd name="connsiteX156" fmla="*/ 4443046 w 6775947"/>
              <a:gd name="connsiteY156" fmla="*/ 4221733 h 4298415"/>
              <a:gd name="connsiteX157" fmla="*/ 4413738 w 6775947"/>
              <a:gd name="connsiteY157" fmla="*/ 4227595 h 4298415"/>
              <a:gd name="connsiteX158" fmla="*/ 4355123 w 6775947"/>
              <a:gd name="connsiteY158" fmla="*/ 4239318 h 4298415"/>
              <a:gd name="connsiteX159" fmla="*/ 4273061 w 6775947"/>
              <a:gd name="connsiteY159" fmla="*/ 4233456 h 4298415"/>
              <a:gd name="connsiteX160" fmla="*/ 4185138 w 6775947"/>
              <a:gd name="connsiteY160" fmla="*/ 4221733 h 4298415"/>
              <a:gd name="connsiteX161" fmla="*/ 4155830 w 6775947"/>
              <a:gd name="connsiteY161" fmla="*/ 4233456 h 4298415"/>
              <a:gd name="connsiteX162" fmla="*/ 4138246 w 6775947"/>
              <a:gd name="connsiteY162" fmla="*/ 4239318 h 4298415"/>
              <a:gd name="connsiteX163" fmla="*/ 3991707 w 6775947"/>
              <a:gd name="connsiteY163" fmla="*/ 4251041 h 4298415"/>
              <a:gd name="connsiteX164" fmla="*/ 3933092 w 6775947"/>
              <a:gd name="connsiteY164" fmla="*/ 4274487 h 4298415"/>
              <a:gd name="connsiteX165" fmla="*/ 3915507 w 6775947"/>
              <a:gd name="connsiteY165" fmla="*/ 4286210 h 4298415"/>
              <a:gd name="connsiteX166" fmla="*/ 3704492 w 6775947"/>
              <a:gd name="connsiteY166" fmla="*/ 4292072 h 4298415"/>
              <a:gd name="connsiteX167" fmla="*/ 3563815 w 6775947"/>
              <a:gd name="connsiteY167" fmla="*/ 4297934 h 4298415"/>
              <a:gd name="connsiteX168" fmla="*/ 3452446 w 6775947"/>
              <a:gd name="connsiteY168" fmla="*/ 4268625 h 4298415"/>
              <a:gd name="connsiteX169" fmla="*/ 3264877 w 6775947"/>
              <a:gd name="connsiteY169" fmla="*/ 4215872 h 4298415"/>
              <a:gd name="connsiteX170" fmla="*/ 3253154 w 6775947"/>
              <a:gd name="connsiteY170" fmla="*/ 4092779 h 4298415"/>
              <a:gd name="connsiteX171" fmla="*/ 3276600 w 6775947"/>
              <a:gd name="connsiteY171" fmla="*/ 3852456 h 4298415"/>
              <a:gd name="connsiteX172" fmla="*/ 3313863 w 6775947"/>
              <a:gd name="connsiteY172" fmla="*/ 3644791 h 4298415"/>
              <a:gd name="connsiteX173" fmla="*/ 3259015 w 6775947"/>
              <a:gd name="connsiteY173" fmla="*/ 3647302 h 4298415"/>
              <a:gd name="connsiteX174" fmla="*/ 3247292 w 6775947"/>
              <a:gd name="connsiteY174" fmla="*/ 3623856 h 4298415"/>
              <a:gd name="connsiteX175" fmla="*/ 3229707 w 6775947"/>
              <a:gd name="connsiteY175" fmla="*/ 3559379 h 4298415"/>
              <a:gd name="connsiteX176" fmla="*/ 3194538 w 6775947"/>
              <a:gd name="connsiteY176" fmla="*/ 3483179 h 4298415"/>
              <a:gd name="connsiteX177" fmla="*/ 3153507 w 6775947"/>
              <a:gd name="connsiteY177" fmla="*/ 3377672 h 4298415"/>
              <a:gd name="connsiteX178" fmla="*/ 3135923 w 6775947"/>
              <a:gd name="connsiteY178" fmla="*/ 3254579 h 4298415"/>
              <a:gd name="connsiteX179" fmla="*/ 3118338 w 6775947"/>
              <a:gd name="connsiteY179" fmla="*/ 3207687 h 4298415"/>
              <a:gd name="connsiteX180" fmla="*/ 3094892 w 6775947"/>
              <a:gd name="connsiteY180" fmla="*/ 2656702 h 4298415"/>
              <a:gd name="connsiteX181" fmla="*/ 3048000 w 6775947"/>
              <a:gd name="connsiteY181" fmla="*/ 2521887 h 4298415"/>
              <a:gd name="connsiteX182" fmla="*/ 3012830 w 6775947"/>
              <a:gd name="connsiteY182" fmla="*/ 2410518 h 4298415"/>
              <a:gd name="connsiteX183" fmla="*/ 3006969 w 6775947"/>
              <a:gd name="connsiteY183" fmla="*/ 2322595 h 4298415"/>
              <a:gd name="connsiteX184" fmla="*/ 2995246 w 6775947"/>
              <a:gd name="connsiteY184" fmla="*/ 2011933 h 4298415"/>
              <a:gd name="connsiteX185" fmla="*/ 2965938 w 6775947"/>
              <a:gd name="connsiteY185" fmla="*/ 1841949 h 4298415"/>
              <a:gd name="connsiteX186" fmla="*/ 2960077 w 6775947"/>
              <a:gd name="connsiteY186" fmla="*/ 1712995 h 4298415"/>
              <a:gd name="connsiteX187" fmla="*/ 2936630 w 6775947"/>
              <a:gd name="connsiteY187" fmla="*/ 1607487 h 4298415"/>
              <a:gd name="connsiteX188" fmla="*/ 2924907 w 6775947"/>
              <a:gd name="connsiteY188" fmla="*/ 1566456 h 4298415"/>
              <a:gd name="connsiteX189" fmla="*/ 2901461 w 6775947"/>
              <a:gd name="connsiteY189" fmla="*/ 1449225 h 4298415"/>
              <a:gd name="connsiteX190" fmla="*/ 2872154 w 6775947"/>
              <a:gd name="connsiteY190" fmla="*/ 1326133 h 4298415"/>
              <a:gd name="connsiteX191" fmla="*/ 2848707 w 6775947"/>
              <a:gd name="connsiteY191" fmla="*/ 1214764 h 4298415"/>
              <a:gd name="connsiteX192" fmla="*/ 2836984 w 6775947"/>
              <a:gd name="connsiteY192" fmla="*/ 1079949 h 4298415"/>
              <a:gd name="connsiteX193" fmla="*/ 2819400 w 6775947"/>
              <a:gd name="connsiteY193" fmla="*/ 992025 h 4298415"/>
              <a:gd name="connsiteX194" fmla="*/ 2813538 w 6775947"/>
              <a:gd name="connsiteY194" fmla="*/ 933410 h 4298415"/>
              <a:gd name="connsiteX195" fmla="*/ 2801815 w 6775947"/>
              <a:gd name="connsiteY195" fmla="*/ 839625 h 4298415"/>
              <a:gd name="connsiteX196" fmla="*/ 2795954 w 6775947"/>
              <a:gd name="connsiteY196" fmla="*/ 499656 h 4298415"/>
              <a:gd name="connsiteX197" fmla="*/ 2784230 w 6775947"/>
              <a:gd name="connsiteY197" fmla="*/ 358979 h 4298415"/>
              <a:gd name="connsiteX198" fmla="*/ 2754923 w 6775947"/>
              <a:gd name="connsiteY198" fmla="*/ 300364 h 4298415"/>
              <a:gd name="connsiteX199" fmla="*/ 2708030 w 6775947"/>
              <a:gd name="connsiteY199" fmla="*/ 200718 h 4298415"/>
              <a:gd name="connsiteX200" fmla="*/ 2702169 w 6775947"/>
              <a:gd name="connsiteY200" fmla="*/ 183133 h 4298415"/>
              <a:gd name="connsiteX201" fmla="*/ 2678723 w 6775947"/>
              <a:gd name="connsiteY201" fmla="*/ 153825 h 4298415"/>
              <a:gd name="connsiteX202" fmla="*/ 2602523 w 6775947"/>
              <a:gd name="connsiteY202" fmla="*/ 136241 h 4298415"/>
              <a:gd name="connsiteX203" fmla="*/ 2584938 w 6775947"/>
              <a:gd name="connsiteY203" fmla="*/ 130379 h 4298415"/>
              <a:gd name="connsiteX204" fmla="*/ 2514600 w 6775947"/>
              <a:gd name="connsiteY204" fmla="*/ 124518 h 4298415"/>
              <a:gd name="connsiteX205" fmla="*/ 2467707 w 6775947"/>
              <a:gd name="connsiteY205" fmla="*/ 60041 h 4298415"/>
              <a:gd name="connsiteX206" fmla="*/ 2403230 w 6775947"/>
              <a:gd name="connsiteY206" fmla="*/ 54179 h 4298415"/>
              <a:gd name="connsiteX207" fmla="*/ 2321169 w 6775947"/>
              <a:gd name="connsiteY207" fmla="*/ 48318 h 4298415"/>
              <a:gd name="connsiteX208" fmla="*/ 1793630 w 6775947"/>
              <a:gd name="connsiteY208" fmla="*/ 54179 h 4298415"/>
              <a:gd name="connsiteX209" fmla="*/ 1752600 w 6775947"/>
              <a:gd name="connsiteY209" fmla="*/ 65902 h 4298415"/>
              <a:gd name="connsiteX210" fmla="*/ 1717430 w 6775947"/>
              <a:gd name="connsiteY210" fmla="*/ 83487 h 4298415"/>
              <a:gd name="connsiteX211" fmla="*/ 1652954 w 6775947"/>
              <a:gd name="connsiteY211" fmla="*/ 89349 h 4298415"/>
              <a:gd name="connsiteX212" fmla="*/ 1371600 w 6775947"/>
              <a:gd name="connsiteY212" fmla="*/ 77625 h 4298415"/>
              <a:gd name="connsiteX213" fmla="*/ 826477 w 6775947"/>
              <a:gd name="connsiteY213" fmla="*/ 60041 h 4298415"/>
              <a:gd name="connsiteX214" fmla="*/ 451338 w 6775947"/>
              <a:gd name="connsiteY214" fmla="*/ 65902 h 4298415"/>
              <a:gd name="connsiteX215" fmla="*/ 375138 w 6775947"/>
              <a:gd name="connsiteY215" fmla="*/ 89349 h 4298415"/>
              <a:gd name="connsiteX216" fmla="*/ 199292 w 6775947"/>
              <a:gd name="connsiteY216" fmla="*/ 183133 h 4298415"/>
              <a:gd name="connsiteX217" fmla="*/ 146538 w 6775947"/>
              <a:gd name="connsiteY217" fmla="*/ 218302 h 4298415"/>
              <a:gd name="connsiteX218" fmla="*/ 29307 w 6775947"/>
              <a:gd name="connsiteY218" fmla="*/ 552410 h 4298415"/>
              <a:gd name="connsiteX219" fmla="*/ 0 w 6775947"/>
              <a:gd name="connsiteY219" fmla="*/ 921687 h 4298415"/>
              <a:gd name="connsiteX220" fmla="*/ 23446 w 6775947"/>
              <a:gd name="connsiteY220" fmla="*/ 2064687 h 4298415"/>
              <a:gd name="connsiteX221" fmla="*/ 93784 w 6775947"/>
              <a:gd name="connsiteY221" fmla="*/ 2340179 h 4298415"/>
              <a:gd name="connsiteX222" fmla="*/ 433754 w 6775947"/>
              <a:gd name="connsiteY222" fmla="*/ 2961502 h 4298415"/>
              <a:gd name="connsiteX223" fmla="*/ 662354 w 6775947"/>
              <a:gd name="connsiteY223" fmla="*/ 3254579 h 4298415"/>
              <a:gd name="connsiteX224" fmla="*/ 785446 w 6775947"/>
              <a:gd name="connsiteY224" fmla="*/ 3418702 h 4298415"/>
              <a:gd name="connsiteX225" fmla="*/ 1066800 w 6775947"/>
              <a:gd name="connsiteY225" fmla="*/ 3770395 h 4298415"/>
              <a:gd name="connsiteX226" fmla="*/ 1436077 w 6775947"/>
              <a:gd name="connsiteY226" fmla="*/ 4028302 h 4298415"/>
              <a:gd name="connsiteX227" fmla="*/ 1735015 w 6775947"/>
              <a:gd name="connsiteY227" fmla="*/ 4163118 h 4298415"/>
              <a:gd name="connsiteX228" fmla="*/ 1817077 w 6775947"/>
              <a:gd name="connsiteY228" fmla="*/ 4198287 h 4298415"/>
              <a:gd name="connsiteX229" fmla="*/ 1893277 w 6775947"/>
              <a:gd name="connsiteY229" fmla="*/ 4233456 h 4298415"/>
              <a:gd name="connsiteX230" fmla="*/ 2039815 w 6775947"/>
              <a:gd name="connsiteY230" fmla="*/ 4245179 h 4298415"/>
              <a:gd name="connsiteX231" fmla="*/ 2250830 w 6775947"/>
              <a:gd name="connsiteY231" fmla="*/ 4221733 h 4298415"/>
              <a:gd name="connsiteX232" fmla="*/ 2286000 w 6775947"/>
              <a:gd name="connsiteY232" fmla="*/ 4215872 h 4298415"/>
              <a:gd name="connsiteX233" fmla="*/ 2450123 w 6775947"/>
              <a:gd name="connsiteY233" fmla="*/ 4221733 h 4298415"/>
              <a:gd name="connsiteX234" fmla="*/ 2567354 w 6775947"/>
              <a:gd name="connsiteY234" fmla="*/ 4233456 h 4298415"/>
              <a:gd name="connsiteX235" fmla="*/ 2608384 w 6775947"/>
              <a:gd name="connsiteY235" fmla="*/ 4239318 h 4298415"/>
              <a:gd name="connsiteX236" fmla="*/ 2813538 w 6775947"/>
              <a:gd name="connsiteY236" fmla="*/ 4245179 h 4298415"/>
              <a:gd name="connsiteX237" fmla="*/ 2924907 w 6775947"/>
              <a:gd name="connsiteY237" fmla="*/ 4256902 h 4298415"/>
              <a:gd name="connsiteX238" fmla="*/ 2960077 w 6775947"/>
              <a:gd name="connsiteY238" fmla="*/ 4262764 h 4298415"/>
              <a:gd name="connsiteX239" fmla="*/ 3006969 w 6775947"/>
              <a:gd name="connsiteY239" fmla="*/ 4268625 h 4298415"/>
              <a:gd name="connsiteX240" fmla="*/ 3106615 w 6775947"/>
              <a:gd name="connsiteY240" fmla="*/ 4286210 h 4298415"/>
              <a:gd name="connsiteX241" fmla="*/ 3130061 w 6775947"/>
              <a:gd name="connsiteY241" fmla="*/ 4292072 h 4298415"/>
              <a:gd name="connsiteX242" fmla="*/ 3294184 w 6775947"/>
              <a:gd name="connsiteY242" fmla="*/ 4286210 h 4298415"/>
              <a:gd name="connsiteX243" fmla="*/ 3323492 w 6775947"/>
              <a:gd name="connsiteY243" fmla="*/ 4280349 h 4298415"/>
              <a:gd name="connsiteX244" fmla="*/ 3364523 w 6775947"/>
              <a:gd name="connsiteY244" fmla="*/ 4274487 h 4298415"/>
              <a:gd name="connsiteX245" fmla="*/ 4525107 w 6775947"/>
              <a:gd name="connsiteY245" fmla="*/ 4280349 h 4298415"/>
              <a:gd name="connsiteX246" fmla="*/ 4759569 w 6775947"/>
              <a:gd name="connsiteY246" fmla="*/ 4233456 h 4298415"/>
              <a:gd name="connsiteX247" fmla="*/ 5175738 w 6775947"/>
              <a:gd name="connsiteY247" fmla="*/ 4210010 h 4298415"/>
              <a:gd name="connsiteX248" fmla="*/ 5216769 w 6775947"/>
              <a:gd name="connsiteY248" fmla="*/ 4180702 h 4298415"/>
              <a:gd name="connsiteX249" fmla="*/ 5234354 w 6775947"/>
              <a:gd name="connsiteY249" fmla="*/ 4157256 h 4298415"/>
              <a:gd name="connsiteX250" fmla="*/ 5251938 w 6775947"/>
              <a:gd name="connsiteY250" fmla="*/ 4139672 h 4298415"/>
              <a:gd name="connsiteX251" fmla="*/ 5275384 w 6775947"/>
              <a:gd name="connsiteY251" fmla="*/ 4110364 h 4298415"/>
              <a:gd name="connsiteX252" fmla="*/ 5404338 w 6775947"/>
              <a:gd name="connsiteY252" fmla="*/ 4022441 h 4298415"/>
              <a:gd name="connsiteX253" fmla="*/ 5498123 w 6775947"/>
              <a:gd name="connsiteY253" fmla="*/ 3934518 h 4298415"/>
              <a:gd name="connsiteX254" fmla="*/ 5550877 w 6775947"/>
              <a:gd name="connsiteY254" fmla="*/ 3899349 h 4298415"/>
              <a:gd name="connsiteX255" fmla="*/ 5715000 w 6775947"/>
              <a:gd name="connsiteY255" fmla="*/ 3723502 h 4298415"/>
              <a:gd name="connsiteX256" fmla="*/ 5802923 w 6775947"/>
              <a:gd name="connsiteY256" fmla="*/ 3617995 h 4298415"/>
              <a:gd name="connsiteX257" fmla="*/ 5838092 w 6775947"/>
              <a:gd name="connsiteY257" fmla="*/ 3547656 h 4298415"/>
              <a:gd name="connsiteX258" fmla="*/ 5879123 w 6775947"/>
              <a:gd name="connsiteY258" fmla="*/ 3477318 h 4298415"/>
              <a:gd name="connsiteX259" fmla="*/ 5908430 w 6775947"/>
              <a:gd name="connsiteY259" fmla="*/ 3448010 h 4298415"/>
              <a:gd name="connsiteX260" fmla="*/ 5926015 w 6775947"/>
              <a:gd name="connsiteY260" fmla="*/ 3412841 h 4298415"/>
              <a:gd name="connsiteX261" fmla="*/ 6119446 w 6775947"/>
              <a:gd name="connsiteY261" fmla="*/ 3219410 h 4298415"/>
              <a:gd name="connsiteX262" fmla="*/ 6236677 w 6775947"/>
              <a:gd name="connsiteY262" fmla="*/ 3096318 h 4298415"/>
              <a:gd name="connsiteX263" fmla="*/ 6318738 w 6775947"/>
              <a:gd name="connsiteY263" fmla="*/ 2961502 h 4298415"/>
              <a:gd name="connsiteX264" fmla="*/ 6330461 w 6775947"/>
              <a:gd name="connsiteY264" fmla="*/ 2902887 h 4298415"/>
              <a:gd name="connsiteX265" fmla="*/ 6453554 w 6775947"/>
              <a:gd name="connsiteY265" fmla="*/ 2574641 h 4298415"/>
              <a:gd name="connsiteX266" fmla="*/ 6547338 w 6775947"/>
              <a:gd name="connsiteY266" fmla="*/ 2398795 h 4298415"/>
              <a:gd name="connsiteX267" fmla="*/ 6629400 w 6775947"/>
              <a:gd name="connsiteY267" fmla="*/ 2263979 h 4298415"/>
              <a:gd name="connsiteX268" fmla="*/ 6646984 w 6775947"/>
              <a:gd name="connsiteY268" fmla="*/ 2228810 h 4298415"/>
              <a:gd name="connsiteX269" fmla="*/ 6705600 w 6775947"/>
              <a:gd name="connsiteY269" fmla="*/ 2176056 h 4298415"/>
              <a:gd name="connsiteX270" fmla="*/ 6723184 w 6775947"/>
              <a:gd name="connsiteY270" fmla="*/ 2123302 h 4298415"/>
              <a:gd name="connsiteX271" fmla="*/ 6764215 w 6775947"/>
              <a:gd name="connsiteY271" fmla="*/ 1882979 h 4298415"/>
              <a:gd name="connsiteX272" fmla="*/ 6764215 w 6775947"/>
              <a:gd name="connsiteY272" fmla="*/ 827902 h 4298415"/>
              <a:gd name="connsiteX273" fmla="*/ 6740769 w 6775947"/>
              <a:gd name="connsiteY273" fmla="*/ 241749 h 4298415"/>
              <a:gd name="connsiteX274" fmla="*/ 6729046 w 6775947"/>
              <a:gd name="connsiteY274" fmla="*/ 171410 h 4298415"/>
              <a:gd name="connsiteX275" fmla="*/ 6723184 w 6775947"/>
              <a:gd name="connsiteY275" fmla="*/ 147964 h 4298415"/>
              <a:gd name="connsiteX276" fmla="*/ 6670430 w 6775947"/>
              <a:gd name="connsiteY276" fmla="*/ 101072 h 4298415"/>
              <a:gd name="connsiteX277" fmla="*/ 6559061 w 6775947"/>
              <a:gd name="connsiteY277" fmla="*/ 71764 h 4298415"/>
              <a:gd name="connsiteX278" fmla="*/ 6506307 w 6775947"/>
              <a:gd name="connsiteY278" fmla="*/ 42456 h 4298415"/>
              <a:gd name="connsiteX279" fmla="*/ 6477000 w 6775947"/>
              <a:gd name="connsiteY279" fmla="*/ 30733 h 4298415"/>
              <a:gd name="connsiteX280" fmla="*/ 6371492 w 6775947"/>
              <a:gd name="connsiteY280" fmla="*/ 60041 h 4298415"/>
              <a:gd name="connsiteX281" fmla="*/ 5597769 w 6775947"/>
              <a:gd name="connsiteY281" fmla="*/ 30733 h 4298415"/>
              <a:gd name="connsiteX282" fmla="*/ 5533292 w 6775947"/>
              <a:gd name="connsiteY282" fmla="*/ 24872 h 4298415"/>
              <a:gd name="connsiteX283" fmla="*/ 5175738 w 6775947"/>
              <a:gd name="connsiteY283" fmla="*/ 30733 h 4298415"/>
              <a:gd name="connsiteX284" fmla="*/ 5064369 w 6775947"/>
              <a:gd name="connsiteY284" fmla="*/ 42456 h 4298415"/>
              <a:gd name="connsiteX285" fmla="*/ 4360984 w 6775947"/>
              <a:gd name="connsiteY285" fmla="*/ 54179 h 4298415"/>
              <a:gd name="connsiteX286" fmla="*/ 4314092 w 6775947"/>
              <a:gd name="connsiteY286" fmla="*/ 106933 h 4298415"/>
              <a:gd name="connsiteX287" fmla="*/ 4302369 w 6775947"/>
              <a:gd name="connsiteY287" fmla="*/ 165549 h 4298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</a:cxnLst>
            <a:rect l="l" t="t" r="r" b="b"/>
            <a:pathLst>
              <a:path w="6775947" h="4298415">
                <a:moveTo>
                  <a:pt x="4302369" y="165549"/>
                </a:moveTo>
                <a:lnTo>
                  <a:pt x="4302369" y="165549"/>
                </a:lnTo>
                <a:cubicBezTo>
                  <a:pt x="4278923" y="153826"/>
                  <a:pt x="4254877" y="143231"/>
                  <a:pt x="4232030" y="130379"/>
                </a:cubicBezTo>
                <a:cubicBezTo>
                  <a:pt x="4223516" y="125590"/>
                  <a:pt x="4217322" y="117164"/>
                  <a:pt x="4208584" y="112795"/>
                </a:cubicBezTo>
                <a:cubicBezTo>
                  <a:pt x="4196161" y="106583"/>
                  <a:pt x="4165592" y="98815"/>
                  <a:pt x="4149969" y="95210"/>
                </a:cubicBezTo>
                <a:lnTo>
                  <a:pt x="4097215" y="83487"/>
                </a:lnTo>
                <a:cubicBezTo>
                  <a:pt x="4089365" y="81676"/>
                  <a:pt x="4081782" y="78454"/>
                  <a:pt x="4073769" y="77625"/>
                </a:cubicBezTo>
                <a:cubicBezTo>
                  <a:pt x="4025027" y="72583"/>
                  <a:pt x="3975954" y="71122"/>
                  <a:pt x="3927230" y="65902"/>
                </a:cubicBezTo>
                <a:cubicBezTo>
                  <a:pt x="3866506" y="59396"/>
                  <a:pt x="3806092" y="50271"/>
                  <a:pt x="3745523" y="42456"/>
                </a:cubicBezTo>
                <a:cubicBezTo>
                  <a:pt x="3735754" y="38548"/>
                  <a:pt x="3726293" y="33756"/>
                  <a:pt x="3716215" y="30733"/>
                </a:cubicBezTo>
                <a:cubicBezTo>
                  <a:pt x="3666648" y="15864"/>
                  <a:pt x="3614312" y="28329"/>
                  <a:pt x="3563815" y="30733"/>
                </a:cubicBezTo>
                <a:cubicBezTo>
                  <a:pt x="3542323" y="36595"/>
                  <a:pt x="3521085" y="43485"/>
                  <a:pt x="3499338" y="48318"/>
                </a:cubicBezTo>
                <a:cubicBezTo>
                  <a:pt x="3485851" y="51315"/>
                  <a:pt x="3471962" y="52078"/>
                  <a:pt x="3458307" y="54179"/>
                </a:cubicBezTo>
                <a:cubicBezTo>
                  <a:pt x="3385044" y="65450"/>
                  <a:pt x="3464827" y="54830"/>
                  <a:pt x="3376246" y="65902"/>
                </a:cubicBezTo>
                <a:cubicBezTo>
                  <a:pt x="3368431" y="67856"/>
                  <a:pt x="3360280" y="68772"/>
                  <a:pt x="3352800" y="71764"/>
                </a:cubicBezTo>
                <a:cubicBezTo>
                  <a:pt x="3311602" y="88244"/>
                  <a:pt x="3327084" y="89146"/>
                  <a:pt x="3288323" y="101072"/>
                </a:cubicBezTo>
                <a:cubicBezTo>
                  <a:pt x="3245782" y="114161"/>
                  <a:pt x="3238222" y="113196"/>
                  <a:pt x="3194538" y="118656"/>
                </a:cubicBezTo>
                <a:cubicBezTo>
                  <a:pt x="3179593" y="123638"/>
                  <a:pt x="3122223" y="142279"/>
                  <a:pt x="3112477" y="147964"/>
                </a:cubicBezTo>
                <a:cubicBezTo>
                  <a:pt x="3089978" y="161089"/>
                  <a:pt x="3071571" y="200985"/>
                  <a:pt x="3059723" y="218302"/>
                </a:cubicBezTo>
                <a:cubicBezTo>
                  <a:pt x="2981892" y="332055"/>
                  <a:pt x="3040595" y="231215"/>
                  <a:pt x="2971800" y="358979"/>
                </a:cubicBezTo>
                <a:cubicBezTo>
                  <a:pt x="2967892" y="374610"/>
                  <a:pt x="2964228" y="390304"/>
                  <a:pt x="2960077" y="405872"/>
                </a:cubicBezTo>
                <a:cubicBezTo>
                  <a:pt x="2956412" y="419616"/>
                  <a:pt x="2948617" y="432680"/>
                  <a:pt x="2948354" y="446902"/>
                </a:cubicBezTo>
                <a:cubicBezTo>
                  <a:pt x="2946653" y="538738"/>
                  <a:pt x="2951554" y="630582"/>
                  <a:pt x="2954215" y="722395"/>
                </a:cubicBezTo>
                <a:cubicBezTo>
                  <a:pt x="2959245" y="895933"/>
                  <a:pt x="2953306" y="797458"/>
                  <a:pt x="2971800" y="915825"/>
                </a:cubicBezTo>
                <a:cubicBezTo>
                  <a:pt x="2978198" y="956776"/>
                  <a:pt x="2980845" y="998360"/>
                  <a:pt x="2989384" y="1038918"/>
                </a:cubicBezTo>
                <a:cubicBezTo>
                  <a:pt x="2996516" y="1072798"/>
                  <a:pt x="3009771" y="1105111"/>
                  <a:pt x="3018692" y="1138564"/>
                </a:cubicBezTo>
                <a:cubicBezTo>
                  <a:pt x="3025409" y="1163751"/>
                  <a:pt x="3030415" y="1189364"/>
                  <a:pt x="3036277" y="1214764"/>
                </a:cubicBezTo>
                <a:cubicBezTo>
                  <a:pt x="3038231" y="1236256"/>
                  <a:pt x="3036209" y="1258490"/>
                  <a:pt x="3042138" y="1279241"/>
                </a:cubicBezTo>
                <a:cubicBezTo>
                  <a:pt x="3048139" y="1300245"/>
                  <a:pt x="3062482" y="1317935"/>
                  <a:pt x="3071446" y="1337856"/>
                </a:cubicBezTo>
                <a:cubicBezTo>
                  <a:pt x="3122588" y="1451504"/>
                  <a:pt x="3070853" y="1380167"/>
                  <a:pt x="3171092" y="1560595"/>
                </a:cubicBezTo>
                <a:cubicBezTo>
                  <a:pt x="3180861" y="1578180"/>
                  <a:pt x="3190201" y="1596010"/>
                  <a:pt x="3200400" y="1613349"/>
                </a:cubicBezTo>
                <a:cubicBezTo>
                  <a:pt x="3209746" y="1629236"/>
                  <a:pt x="3220637" y="1644195"/>
                  <a:pt x="3229707" y="1660241"/>
                </a:cubicBezTo>
                <a:cubicBezTo>
                  <a:pt x="3246051" y="1689157"/>
                  <a:pt x="3260852" y="1718919"/>
                  <a:pt x="3276600" y="1748164"/>
                </a:cubicBezTo>
                <a:cubicBezTo>
                  <a:pt x="3292708" y="1778078"/>
                  <a:pt x="3316151" y="1826579"/>
                  <a:pt x="3341077" y="1853672"/>
                </a:cubicBezTo>
                <a:cubicBezTo>
                  <a:pt x="3374751" y="1890275"/>
                  <a:pt x="3418996" y="1917795"/>
                  <a:pt x="3446584" y="1959179"/>
                </a:cubicBezTo>
                <a:cubicBezTo>
                  <a:pt x="3471755" y="1996937"/>
                  <a:pt x="3472427" y="2002927"/>
                  <a:pt x="3511061" y="2035379"/>
                </a:cubicBezTo>
                <a:cubicBezTo>
                  <a:pt x="3545177" y="2064036"/>
                  <a:pt x="3580925" y="2090708"/>
                  <a:pt x="3616569" y="2117441"/>
                </a:cubicBezTo>
                <a:cubicBezTo>
                  <a:pt x="3635649" y="2131751"/>
                  <a:pt x="3656239" y="2143985"/>
                  <a:pt x="3675184" y="2158472"/>
                </a:cubicBezTo>
                <a:cubicBezTo>
                  <a:pt x="3708399" y="2183872"/>
                  <a:pt x="3733828" y="2226472"/>
                  <a:pt x="3774830" y="2234672"/>
                </a:cubicBezTo>
                <a:cubicBezTo>
                  <a:pt x="3794369" y="2238580"/>
                  <a:pt x="3814016" y="2241979"/>
                  <a:pt x="3833446" y="2246395"/>
                </a:cubicBezTo>
                <a:cubicBezTo>
                  <a:pt x="3857013" y="2251751"/>
                  <a:pt x="3880135" y="2259000"/>
                  <a:pt x="3903784" y="2263979"/>
                </a:cubicBezTo>
                <a:cubicBezTo>
                  <a:pt x="3917304" y="2266825"/>
                  <a:pt x="3931138" y="2267887"/>
                  <a:pt x="3944815" y="2269841"/>
                </a:cubicBezTo>
                <a:cubicBezTo>
                  <a:pt x="3995741" y="2295304"/>
                  <a:pt x="3950281" y="2276309"/>
                  <a:pt x="4050323" y="2287425"/>
                </a:cubicBezTo>
                <a:cubicBezTo>
                  <a:pt x="4058330" y="2288315"/>
                  <a:pt x="4065762" y="2292397"/>
                  <a:pt x="4073769" y="2293287"/>
                </a:cubicBezTo>
                <a:cubicBezTo>
                  <a:pt x="4101025" y="2296316"/>
                  <a:pt x="4128476" y="2297195"/>
                  <a:pt x="4155830" y="2299149"/>
                </a:cubicBezTo>
                <a:cubicBezTo>
                  <a:pt x="4199308" y="2328134"/>
                  <a:pt x="4199589" y="2329820"/>
                  <a:pt x="4255477" y="2357764"/>
                </a:cubicBezTo>
                <a:cubicBezTo>
                  <a:pt x="4264888" y="2362469"/>
                  <a:pt x="4274368" y="2367999"/>
                  <a:pt x="4284784" y="2369487"/>
                </a:cubicBezTo>
                <a:cubicBezTo>
                  <a:pt x="4315792" y="2373917"/>
                  <a:pt x="4347326" y="2373117"/>
                  <a:pt x="4378569" y="2375349"/>
                </a:cubicBezTo>
                <a:cubicBezTo>
                  <a:pt x="4402036" y="2377025"/>
                  <a:pt x="4425461" y="2379256"/>
                  <a:pt x="4448907" y="2381210"/>
                </a:cubicBezTo>
                <a:lnTo>
                  <a:pt x="4548554" y="2375349"/>
                </a:lnTo>
                <a:cubicBezTo>
                  <a:pt x="4572026" y="2373730"/>
                  <a:pt x="4542692" y="2392933"/>
                  <a:pt x="4548553" y="2392933"/>
                </a:cubicBezTo>
                <a:cubicBezTo>
                  <a:pt x="4554414" y="2392933"/>
                  <a:pt x="4566586" y="2378776"/>
                  <a:pt x="4583722" y="2375349"/>
                </a:cubicBezTo>
                <a:cubicBezTo>
                  <a:pt x="4603261" y="2371441"/>
                  <a:pt x="4657968" y="2297195"/>
                  <a:pt x="4677507" y="2293287"/>
                </a:cubicBezTo>
                <a:cubicBezTo>
                  <a:pt x="4688426" y="2282367"/>
                  <a:pt x="4724400" y="2261049"/>
                  <a:pt x="4736123" y="2240534"/>
                </a:cubicBezTo>
                <a:cubicBezTo>
                  <a:pt x="4747846" y="2220019"/>
                  <a:pt x="4752731" y="2197549"/>
                  <a:pt x="4747846" y="2170195"/>
                </a:cubicBezTo>
                <a:cubicBezTo>
                  <a:pt x="4742961" y="2142841"/>
                  <a:pt x="4724995" y="2112768"/>
                  <a:pt x="4706815" y="2076410"/>
                </a:cubicBezTo>
                <a:cubicBezTo>
                  <a:pt x="4702907" y="2060779"/>
                  <a:pt x="4699518" y="2045010"/>
                  <a:pt x="4695092" y="2029518"/>
                </a:cubicBezTo>
                <a:cubicBezTo>
                  <a:pt x="4691697" y="2017636"/>
                  <a:pt x="4685889" y="2006446"/>
                  <a:pt x="4683369" y="1994349"/>
                </a:cubicBezTo>
                <a:cubicBezTo>
                  <a:pt x="4676097" y="1959444"/>
                  <a:pt x="4687093" y="1916805"/>
                  <a:pt x="4665784" y="1888841"/>
                </a:cubicBezTo>
                <a:cubicBezTo>
                  <a:pt x="4644475" y="1860877"/>
                  <a:pt x="4589971" y="1874574"/>
                  <a:pt x="4555514" y="1826562"/>
                </a:cubicBezTo>
                <a:cubicBezTo>
                  <a:pt x="4521057" y="1778550"/>
                  <a:pt x="4475752" y="1666590"/>
                  <a:pt x="4459043" y="1600770"/>
                </a:cubicBezTo>
                <a:cubicBezTo>
                  <a:pt x="4442334" y="1534950"/>
                  <a:pt x="4451410" y="1465690"/>
                  <a:pt x="4455257" y="1431641"/>
                </a:cubicBezTo>
                <a:cubicBezTo>
                  <a:pt x="4459104" y="1397592"/>
                  <a:pt x="4495556" y="1417964"/>
                  <a:pt x="4482123" y="1396472"/>
                </a:cubicBezTo>
                <a:cubicBezTo>
                  <a:pt x="4468690" y="1374980"/>
                  <a:pt x="4376615" y="1308549"/>
                  <a:pt x="4374661" y="1302687"/>
                </a:cubicBezTo>
                <a:cubicBezTo>
                  <a:pt x="4370753" y="1279241"/>
                  <a:pt x="4322314" y="1293732"/>
                  <a:pt x="4331188" y="1276799"/>
                </a:cubicBezTo>
                <a:cubicBezTo>
                  <a:pt x="4340062" y="1259866"/>
                  <a:pt x="4392653" y="1218265"/>
                  <a:pt x="4427904" y="1201087"/>
                </a:cubicBezTo>
                <a:cubicBezTo>
                  <a:pt x="4463155" y="1183909"/>
                  <a:pt x="4534307" y="1190015"/>
                  <a:pt x="4542692" y="1173733"/>
                </a:cubicBezTo>
                <a:cubicBezTo>
                  <a:pt x="4551077" y="1157451"/>
                  <a:pt x="4503103" y="1125517"/>
                  <a:pt x="4478215" y="1103395"/>
                </a:cubicBezTo>
                <a:cubicBezTo>
                  <a:pt x="4472019" y="1097888"/>
                  <a:pt x="4466492" y="1091672"/>
                  <a:pt x="4460630" y="1085810"/>
                </a:cubicBezTo>
                <a:cubicBezTo>
                  <a:pt x="4445910" y="1041645"/>
                  <a:pt x="4467599" y="1100540"/>
                  <a:pt x="4437184" y="1044779"/>
                </a:cubicBezTo>
                <a:cubicBezTo>
                  <a:pt x="4430059" y="1031716"/>
                  <a:pt x="4424305" y="1017865"/>
                  <a:pt x="4419600" y="1003749"/>
                </a:cubicBezTo>
                <a:cubicBezTo>
                  <a:pt x="4410090" y="975218"/>
                  <a:pt x="4399714" y="912543"/>
                  <a:pt x="4378569" y="886518"/>
                </a:cubicBezTo>
                <a:cubicBezTo>
                  <a:pt x="4364521" y="869228"/>
                  <a:pt x="4341567" y="861239"/>
                  <a:pt x="4325815" y="845487"/>
                </a:cubicBezTo>
                <a:lnTo>
                  <a:pt x="4308230" y="827902"/>
                </a:lnTo>
                <a:cubicBezTo>
                  <a:pt x="4304322" y="812271"/>
                  <a:pt x="4294483" y="798246"/>
                  <a:pt x="4296507" y="781010"/>
                </a:cubicBezTo>
                <a:cubicBezTo>
                  <a:pt x="4298531" y="763774"/>
                  <a:pt x="4294605" y="827567"/>
                  <a:pt x="4320373" y="724487"/>
                </a:cubicBezTo>
                <a:cubicBezTo>
                  <a:pt x="4322327" y="701041"/>
                  <a:pt x="4318698" y="528475"/>
                  <a:pt x="4314092" y="441041"/>
                </a:cubicBezTo>
                <a:cubicBezTo>
                  <a:pt x="4309486" y="353607"/>
                  <a:pt x="4291799" y="207882"/>
                  <a:pt x="4292740" y="199881"/>
                </a:cubicBezTo>
                <a:cubicBezTo>
                  <a:pt x="4296866" y="164814"/>
                  <a:pt x="4329095" y="299248"/>
                  <a:pt x="4337538" y="312087"/>
                </a:cubicBezTo>
                <a:cubicBezTo>
                  <a:pt x="4345981" y="324927"/>
                  <a:pt x="4340469" y="296456"/>
                  <a:pt x="4343400" y="276918"/>
                </a:cubicBezTo>
                <a:cubicBezTo>
                  <a:pt x="4346331" y="257380"/>
                  <a:pt x="4352192" y="224165"/>
                  <a:pt x="4355123" y="194857"/>
                </a:cubicBezTo>
                <a:cubicBezTo>
                  <a:pt x="4358054" y="165549"/>
                  <a:pt x="4345353" y="122563"/>
                  <a:pt x="4360984" y="101071"/>
                </a:cubicBezTo>
                <a:cubicBezTo>
                  <a:pt x="4376615" y="79579"/>
                  <a:pt x="4442831" y="68941"/>
                  <a:pt x="4448908" y="65902"/>
                </a:cubicBezTo>
                <a:lnTo>
                  <a:pt x="4554415" y="1425"/>
                </a:lnTo>
                <a:cubicBezTo>
                  <a:pt x="4579134" y="-10935"/>
                  <a:pt x="4557346" y="61017"/>
                  <a:pt x="4577861" y="65902"/>
                </a:cubicBezTo>
                <a:cubicBezTo>
                  <a:pt x="4598376" y="70787"/>
                  <a:pt x="4657969" y="32687"/>
                  <a:pt x="4677508" y="30733"/>
                </a:cubicBezTo>
                <a:cubicBezTo>
                  <a:pt x="4881278" y="-37190"/>
                  <a:pt x="5120053" y="40503"/>
                  <a:pt x="5222630" y="48318"/>
                </a:cubicBezTo>
                <a:cubicBezTo>
                  <a:pt x="5325207" y="56133"/>
                  <a:pt x="5272454" y="76648"/>
                  <a:pt x="5292969" y="77625"/>
                </a:cubicBezTo>
                <a:cubicBezTo>
                  <a:pt x="5313484" y="78602"/>
                  <a:pt x="5306646" y="47341"/>
                  <a:pt x="5345723" y="54179"/>
                </a:cubicBezTo>
                <a:cubicBezTo>
                  <a:pt x="5384800" y="61018"/>
                  <a:pt x="5466861" y="116702"/>
                  <a:pt x="5527430" y="118656"/>
                </a:cubicBezTo>
                <a:cubicBezTo>
                  <a:pt x="5533292" y="120610"/>
                  <a:pt x="5539650" y="121452"/>
                  <a:pt x="5545015" y="124518"/>
                </a:cubicBezTo>
                <a:cubicBezTo>
                  <a:pt x="5569287" y="138388"/>
                  <a:pt x="5566480" y="142567"/>
                  <a:pt x="5586046" y="159687"/>
                </a:cubicBezTo>
                <a:cubicBezTo>
                  <a:pt x="5595461" y="167925"/>
                  <a:pt x="5604745" y="176502"/>
                  <a:pt x="5615354" y="183133"/>
                </a:cubicBezTo>
                <a:cubicBezTo>
                  <a:pt x="5620593" y="186408"/>
                  <a:pt x="5627077" y="187041"/>
                  <a:pt x="5632938" y="188995"/>
                </a:cubicBezTo>
                <a:cubicBezTo>
                  <a:pt x="5640753" y="194856"/>
                  <a:pt x="5648352" y="201018"/>
                  <a:pt x="5656384" y="206579"/>
                </a:cubicBezTo>
                <a:cubicBezTo>
                  <a:pt x="5673760" y="218609"/>
                  <a:pt x="5694194" y="226805"/>
                  <a:pt x="5709138" y="241749"/>
                </a:cubicBezTo>
                <a:lnTo>
                  <a:pt x="5738446" y="271056"/>
                </a:lnTo>
                <a:cubicBezTo>
                  <a:pt x="5744307" y="282779"/>
                  <a:pt x="5692809" y="258845"/>
                  <a:pt x="5690716" y="279011"/>
                </a:cubicBezTo>
                <a:cubicBezTo>
                  <a:pt x="5688623" y="299177"/>
                  <a:pt x="5709042" y="366788"/>
                  <a:pt x="5725886" y="392055"/>
                </a:cubicBezTo>
                <a:cubicBezTo>
                  <a:pt x="5714163" y="476070"/>
                  <a:pt x="5715278" y="585695"/>
                  <a:pt x="5712487" y="649544"/>
                </a:cubicBezTo>
                <a:cubicBezTo>
                  <a:pt x="5709696" y="713393"/>
                  <a:pt x="5719465" y="732723"/>
                  <a:pt x="5709138" y="775149"/>
                </a:cubicBezTo>
                <a:cubicBezTo>
                  <a:pt x="5698811" y="817575"/>
                  <a:pt x="5669957" y="861070"/>
                  <a:pt x="5650523" y="904102"/>
                </a:cubicBezTo>
                <a:cubicBezTo>
                  <a:pt x="5630631" y="948150"/>
                  <a:pt x="5613329" y="986377"/>
                  <a:pt x="5597769" y="1033056"/>
                </a:cubicBezTo>
                <a:cubicBezTo>
                  <a:pt x="5594618" y="1042508"/>
                  <a:pt x="5594323" y="1052699"/>
                  <a:pt x="5591907" y="1062364"/>
                </a:cubicBezTo>
                <a:cubicBezTo>
                  <a:pt x="5590408" y="1068358"/>
                  <a:pt x="5587545" y="1073955"/>
                  <a:pt x="5586046" y="1079949"/>
                </a:cubicBezTo>
                <a:cubicBezTo>
                  <a:pt x="5574547" y="1125945"/>
                  <a:pt x="5572809" y="1150574"/>
                  <a:pt x="5556738" y="1197179"/>
                </a:cubicBezTo>
                <a:cubicBezTo>
                  <a:pt x="5544437" y="1232853"/>
                  <a:pt x="5527921" y="1266983"/>
                  <a:pt x="5515707" y="1302687"/>
                </a:cubicBezTo>
                <a:cubicBezTo>
                  <a:pt x="5502501" y="1341288"/>
                  <a:pt x="5495690" y="1382039"/>
                  <a:pt x="5480538" y="1419918"/>
                </a:cubicBezTo>
                <a:cubicBezTo>
                  <a:pt x="5476630" y="1429687"/>
                  <a:pt x="5473520" y="1439814"/>
                  <a:pt x="5468815" y="1449225"/>
                </a:cubicBezTo>
                <a:cubicBezTo>
                  <a:pt x="5459819" y="1467217"/>
                  <a:pt x="5447677" y="1483597"/>
                  <a:pt x="5439507" y="1501979"/>
                </a:cubicBezTo>
                <a:cubicBezTo>
                  <a:pt x="5431979" y="1518917"/>
                  <a:pt x="5428257" y="1537313"/>
                  <a:pt x="5421923" y="1554733"/>
                </a:cubicBezTo>
                <a:cubicBezTo>
                  <a:pt x="5412623" y="1580309"/>
                  <a:pt x="5401221" y="1605116"/>
                  <a:pt x="5392615" y="1630933"/>
                </a:cubicBezTo>
                <a:lnTo>
                  <a:pt x="5369169" y="1701272"/>
                </a:lnTo>
                <a:cubicBezTo>
                  <a:pt x="5365056" y="1762966"/>
                  <a:pt x="5365441" y="1800640"/>
                  <a:pt x="5351584" y="1859533"/>
                </a:cubicBezTo>
                <a:cubicBezTo>
                  <a:pt x="5349174" y="1869775"/>
                  <a:pt x="5343188" y="1878859"/>
                  <a:pt x="5339861" y="1888841"/>
                </a:cubicBezTo>
                <a:cubicBezTo>
                  <a:pt x="5337314" y="1896483"/>
                  <a:pt x="5335580" y="1904388"/>
                  <a:pt x="5334000" y="1912287"/>
                </a:cubicBezTo>
                <a:cubicBezTo>
                  <a:pt x="5330754" y="1928517"/>
                  <a:pt x="5323883" y="1983148"/>
                  <a:pt x="5316415" y="1994349"/>
                </a:cubicBezTo>
                <a:cubicBezTo>
                  <a:pt x="5308600" y="2006072"/>
                  <a:pt x="5299270" y="2016916"/>
                  <a:pt x="5292969" y="2029518"/>
                </a:cubicBezTo>
                <a:lnTo>
                  <a:pt x="5269523" y="2076410"/>
                </a:lnTo>
                <a:cubicBezTo>
                  <a:pt x="5265615" y="2084225"/>
                  <a:pt x="5263043" y="2092866"/>
                  <a:pt x="5257800" y="2099856"/>
                </a:cubicBezTo>
                <a:lnTo>
                  <a:pt x="5240215" y="2123302"/>
                </a:lnTo>
                <a:cubicBezTo>
                  <a:pt x="5238261" y="2133071"/>
                  <a:pt x="5238279" y="2143453"/>
                  <a:pt x="5234354" y="2152610"/>
                </a:cubicBezTo>
                <a:cubicBezTo>
                  <a:pt x="5232177" y="2157690"/>
                  <a:pt x="5225696" y="2159735"/>
                  <a:pt x="5222630" y="2164333"/>
                </a:cubicBezTo>
                <a:cubicBezTo>
                  <a:pt x="5217783" y="2171603"/>
                  <a:pt x="5215538" y="2180369"/>
                  <a:pt x="5210907" y="2187779"/>
                </a:cubicBezTo>
                <a:cubicBezTo>
                  <a:pt x="5205729" y="2196063"/>
                  <a:pt x="5199184" y="2203410"/>
                  <a:pt x="5193323" y="2211225"/>
                </a:cubicBezTo>
                <a:cubicBezTo>
                  <a:pt x="5179184" y="2267783"/>
                  <a:pt x="5184760" y="2242319"/>
                  <a:pt x="5175738" y="2287425"/>
                </a:cubicBezTo>
                <a:cubicBezTo>
                  <a:pt x="5183189" y="2347032"/>
                  <a:pt x="5207000" y="2314779"/>
                  <a:pt x="5216769" y="2328456"/>
                </a:cubicBezTo>
                <a:cubicBezTo>
                  <a:pt x="5226538" y="2342133"/>
                  <a:pt x="5228491" y="2360694"/>
                  <a:pt x="5234353" y="2369486"/>
                </a:cubicBezTo>
                <a:cubicBezTo>
                  <a:pt x="5240215" y="2378279"/>
                  <a:pt x="5246077" y="2379257"/>
                  <a:pt x="5251939" y="2381211"/>
                </a:cubicBezTo>
                <a:cubicBezTo>
                  <a:pt x="5295164" y="2424436"/>
                  <a:pt x="5255131" y="2408025"/>
                  <a:pt x="5281246" y="2451549"/>
                </a:cubicBezTo>
                <a:cubicBezTo>
                  <a:pt x="5283200" y="2494533"/>
                  <a:pt x="5284041" y="2537583"/>
                  <a:pt x="5287107" y="2580502"/>
                </a:cubicBezTo>
                <a:cubicBezTo>
                  <a:pt x="5288544" y="2600618"/>
                  <a:pt x="5293984" y="2619732"/>
                  <a:pt x="5298830" y="2639118"/>
                </a:cubicBezTo>
                <a:cubicBezTo>
                  <a:pt x="5302738" y="2674287"/>
                  <a:pt x="5308251" y="2709315"/>
                  <a:pt x="5310554" y="2744625"/>
                </a:cubicBezTo>
                <a:cubicBezTo>
                  <a:pt x="5314117" y="2799252"/>
                  <a:pt x="5310370" y="2854341"/>
                  <a:pt x="5316415" y="2908749"/>
                </a:cubicBezTo>
                <a:cubicBezTo>
                  <a:pt x="5318674" y="2929079"/>
                  <a:pt x="5349002" y="2985645"/>
                  <a:pt x="5357446" y="3002533"/>
                </a:cubicBezTo>
                <a:cubicBezTo>
                  <a:pt x="5359400" y="3014256"/>
                  <a:pt x="5358893" y="3026667"/>
                  <a:pt x="5363307" y="3037702"/>
                </a:cubicBezTo>
                <a:cubicBezTo>
                  <a:pt x="5366935" y="3046773"/>
                  <a:pt x="5377803" y="3051881"/>
                  <a:pt x="5380892" y="3061149"/>
                </a:cubicBezTo>
                <a:cubicBezTo>
                  <a:pt x="5385873" y="3076093"/>
                  <a:pt x="5382933" y="3092759"/>
                  <a:pt x="5386754" y="3108041"/>
                </a:cubicBezTo>
                <a:cubicBezTo>
                  <a:pt x="5390803" y="3124236"/>
                  <a:pt x="5398477" y="3139302"/>
                  <a:pt x="5404338" y="3154933"/>
                </a:cubicBezTo>
                <a:cubicBezTo>
                  <a:pt x="5389888" y="3371700"/>
                  <a:pt x="5404338" y="3101166"/>
                  <a:pt x="5404338" y="3348364"/>
                </a:cubicBezTo>
                <a:cubicBezTo>
                  <a:pt x="5404338" y="3514452"/>
                  <a:pt x="5402167" y="3680548"/>
                  <a:pt x="5398477" y="3846595"/>
                </a:cubicBezTo>
                <a:cubicBezTo>
                  <a:pt x="5397969" y="3869472"/>
                  <a:pt x="5388481" y="3884340"/>
                  <a:pt x="5380892" y="3905210"/>
                </a:cubicBezTo>
                <a:cubicBezTo>
                  <a:pt x="5376669" y="3916823"/>
                  <a:pt x="5375803" y="3929954"/>
                  <a:pt x="5369169" y="3940379"/>
                </a:cubicBezTo>
                <a:cubicBezTo>
                  <a:pt x="5361752" y="3952035"/>
                  <a:pt x="5349630" y="3959918"/>
                  <a:pt x="5339861" y="3969687"/>
                </a:cubicBezTo>
                <a:cubicBezTo>
                  <a:pt x="5334000" y="3981410"/>
                  <a:pt x="5329702" y="3994056"/>
                  <a:pt x="5322277" y="4004856"/>
                </a:cubicBezTo>
                <a:cubicBezTo>
                  <a:pt x="5311553" y="4020454"/>
                  <a:pt x="5279379" y="4062174"/>
                  <a:pt x="5257800" y="4081056"/>
                </a:cubicBezTo>
                <a:cubicBezTo>
                  <a:pt x="5248385" y="4089294"/>
                  <a:pt x="5239016" y="4097737"/>
                  <a:pt x="5228492" y="4104502"/>
                </a:cubicBezTo>
                <a:cubicBezTo>
                  <a:pt x="5140167" y="4161282"/>
                  <a:pt x="5208210" y="4114642"/>
                  <a:pt x="5146430" y="4145533"/>
                </a:cubicBezTo>
                <a:cubicBezTo>
                  <a:pt x="5136240" y="4150628"/>
                  <a:pt x="5127701" y="4158887"/>
                  <a:pt x="5117123" y="4163118"/>
                </a:cubicBezTo>
                <a:cubicBezTo>
                  <a:pt x="5107873" y="4166818"/>
                  <a:pt x="5097617" y="4167197"/>
                  <a:pt x="5087815" y="4168979"/>
                </a:cubicBezTo>
                <a:lnTo>
                  <a:pt x="4988169" y="4186564"/>
                </a:lnTo>
                <a:cubicBezTo>
                  <a:pt x="4910015" y="4182656"/>
                  <a:pt x="4831709" y="4181081"/>
                  <a:pt x="4753707" y="4174841"/>
                </a:cubicBezTo>
                <a:cubicBezTo>
                  <a:pt x="4733845" y="4173252"/>
                  <a:pt x="4715017" y="4163118"/>
                  <a:pt x="4695092" y="4163118"/>
                </a:cubicBezTo>
                <a:cubicBezTo>
                  <a:pt x="4659706" y="4163118"/>
                  <a:pt x="4624753" y="4170933"/>
                  <a:pt x="4589584" y="4174841"/>
                </a:cubicBezTo>
                <a:cubicBezTo>
                  <a:pt x="4579815" y="4178749"/>
                  <a:pt x="4570428" y="4183796"/>
                  <a:pt x="4560277" y="4186564"/>
                </a:cubicBezTo>
                <a:cubicBezTo>
                  <a:pt x="4486336" y="4206729"/>
                  <a:pt x="4566144" y="4174839"/>
                  <a:pt x="4484077" y="4204149"/>
                </a:cubicBezTo>
                <a:cubicBezTo>
                  <a:pt x="4470064" y="4209154"/>
                  <a:pt x="4457162" y="4217028"/>
                  <a:pt x="4443046" y="4221733"/>
                </a:cubicBezTo>
                <a:cubicBezTo>
                  <a:pt x="4433594" y="4224883"/>
                  <a:pt x="4423464" y="4225434"/>
                  <a:pt x="4413738" y="4227595"/>
                </a:cubicBezTo>
                <a:cubicBezTo>
                  <a:pt x="4361281" y="4239252"/>
                  <a:pt x="4424028" y="4227833"/>
                  <a:pt x="4355123" y="4239318"/>
                </a:cubicBezTo>
                <a:lnTo>
                  <a:pt x="4273061" y="4233456"/>
                </a:lnTo>
                <a:cubicBezTo>
                  <a:pt x="4205210" y="4228028"/>
                  <a:pt x="4227785" y="4232396"/>
                  <a:pt x="4185138" y="4221733"/>
                </a:cubicBezTo>
                <a:cubicBezTo>
                  <a:pt x="4175369" y="4225641"/>
                  <a:pt x="4165682" y="4229761"/>
                  <a:pt x="4155830" y="4233456"/>
                </a:cubicBezTo>
                <a:cubicBezTo>
                  <a:pt x="4150045" y="4235625"/>
                  <a:pt x="4144389" y="4238660"/>
                  <a:pt x="4138246" y="4239318"/>
                </a:cubicBezTo>
                <a:cubicBezTo>
                  <a:pt x="4089522" y="4244538"/>
                  <a:pt x="4040553" y="4247133"/>
                  <a:pt x="3991707" y="4251041"/>
                </a:cubicBezTo>
                <a:cubicBezTo>
                  <a:pt x="3953174" y="4258747"/>
                  <a:pt x="3968717" y="4252221"/>
                  <a:pt x="3933092" y="4274487"/>
                </a:cubicBezTo>
                <a:cubicBezTo>
                  <a:pt x="3927118" y="4278221"/>
                  <a:pt x="3922531" y="4285670"/>
                  <a:pt x="3915507" y="4286210"/>
                </a:cubicBezTo>
                <a:cubicBezTo>
                  <a:pt x="3845349" y="4291607"/>
                  <a:pt x="3774830" y="4290118"/>
                  <a:pt x="3704492" y="4292072"/>
                </a:cubicBezTo>
                <a:cubicBezTo>
                  <a:pt x="3653692" y="4280349"/>
                  <a:pt x="3605823" y="4301842"/>
                  <a:pt x="3563815" y="4297934"/>
                </a:cubicBezTo>
                <a:cubicBezTo>
                  <a:pt x="3521807" y="4294026"/>
                  <a:pt x="3502269" y="4282302"/>
                  <a:pt x="3452446" y="4268625"/>
                </a:cubicBezTo>
                <a:cubicBezTo>
                  <a:pt x="3402623" y="4254948"/>
                  <a:pt x="3327400" y="4227595"/>
                  <a:pt x="3264877" y="4215872"/>
                </a:cubicBezTo>
                <a:cubicBezTo>
                  <a:pt x="3260969" y="4174841"/>
                  <a:pt x="3253865" y="4133990"/>
                  <a:pt x="3253154" y="4092779"/>
                </a:cubicBezTo>
                <a:cubicBezTo>
                  <a:pt x="3249472" y="3879212"/>
                  <a:pt x="3216948" y="3931990"/>
                  <a:pt x="3276600" y="3852456"/>
                </a:cubicBezTo>
                <a:cubicBezTo>
                  <a:pt x="3272692" y="3797748"/>
                  <a:pt x="3318547" y="3699438"/>
                  <a:pt x="3313863" y="3644791"/>
                </a:cubicBezTo>
                <a:cubicBezTo>
                  <a:pt x="3312683" y="3631026"/>
                  <a:pt x="3270110" y="3650791"/>
                  <a:pt x="3259015" y="3647302"/>
                </a:cubicBezTo>
                <a:cubicBezTo>
                  <a:pt x="3247920" y="3643813"/>
                  <a:pt x="3250055" y="3632145"/>
                  <a:pt x="3247292" y="3623856"/>
                </a:cubicBezTo>
                <a:cubicBezTo>
                  <a:pt x="3240247" y="3602722"/>
                  <a:pt x="3237529" y="3580238"/>
                  <a:pt x="3229707" y="3559379"/>
                </a:cubicBezTo>
                <a:cubicBezTo>
                  <a:pt x="3219884" y="3533185"/>
                  <a:pt x="3205357" y="3508977"/>
                  <a:pt x="3194538" y="3483179"/>
                </a:cubicBezTo>
                <a:cubicBezTo>
                  <a:pt x="3179945" y="3448380"/>
                  <a:pt x="3167184" y="3412841"/>
                  <a:pt x="3153507" y="3377672"/>
                </a:cubicBezTo>
                <a:cubicBezTo>
                  <a:pt x="3147646" y="3336641"/>
                  <a:pt x="3144320" y="3295167"/>
                  <a:pt x="3135923" y="3254579"/>
                </a:cubicBezTo>
                <a:cubicBezTo>
                  <a:pt x="3132541" y="3238232"/>
                  <a:pt x="3119481" y="3224341"/>
                  <a:pt x="3118338" y="3207687"/>
                </a:cubicBezTo>
                <a:cubicBezTo>
                  <a:pt x="3105752" y="3024290"/>
                  <a:pt x="3113648" y="2839571"/>
                  <a:pt x="3094892" y="2656702"/>
                </a:cubicBezTo>
                <a:cubicBezTo>
                  <a:pt x="3090038" y="2609371"/>
                  <a:pt x="3063046" y="2567024"/>
                  <a:pt x="3048000" y="2521887"/>
                </a:cubicBezTo>
                <a:cubicBezTo>
                  <a:pt x="3035689" y="2484955"/>
                  <a:pt x="3024553" y="2447641"/>
                  <a:pt x="3012830" y="2410518"/>
                </a:cubicBezTo>
                <a:cubicBezTo>
                  <a:pt x="3010876" y="2381210"/>
                  <a:pt x="3008264" y="2351939"/>
                  <a:pt x="3006969" y="2322595"/>
                </a:cubicBezTo>
                <a:cubicBezTo>
                  <a:pt x="3002402" y="2219068"/>
                  <a:pt x="3004060" y="2115185"/>
                  <a:pt x="2995246" y="2011933"/>
                </a:cubicBezTo>
                <a:cubicBezTo>
                  <a:pt x="2990355" y="1954644"/>
                  <a:pt x="2965938" y="1841949"/>
                  <a:pt x="2965938" y="1841949"/>
                </a:cubicBezTo>
                <a:cubicBezTo>
                  <a:pt x="2963984" y="1798964"/>
                  <a:pt x="2964093" y="1755836"/>
                  <a:pt x="2960077" y="1712995"/>
                </a:cubicBezTo>
                <a:cubicBezTo>
                  <a:pt x="2958127" y="1692189"/>
                  <a:pt x="2942730" y="1630361"/>
                  <a:pt x="2936630" y="1607487"/>
                </a:cubicBezTo>
                <a:cubicBezTo>
                  <a:pt x="2932965" y="1593743"/>
                  <a:pt x="2927993" y="1580342"/>
                  <a:pt x="2924907" y="1566456"/>
                </a:cubicBezTo>
                <a:cubicBezTo>
                  <a:pt x="2916262" y="1527554"/>
                  <a:pt x="2910005" y="1488149"/>
                  <a:pt x="2901461" y="1449225"/>
                </a:cubicBezTo>
                <a:cubicBezTo>
                  <a:pt x="2892418" y="1408028"/>
                  <a:pt x="2880906" y="1367393"/>
                  <a:pt x="2872154" y="1326133"/>
                </a:cubicBezTo>
                <a:cubicBezTo>
                  <a:pt x="2843206" y="1189664"/>
                  <a:pt x="2875868" y="1309828"/>
                  <a:pt x="2848707" y="1214764"/>
                </a:cubicBezTo>
                <a:cubicBezTo>
                  <a:pt x="2844799" y="1169826"/>
                  <a:pt x="2842868" y="1124671"/>
                  <a:pt x="2836984" y="1079949"/>
                </a:cubicBezTo>
                <a:cubicBezTo>
                  <a:pt x="2833085" y="1050316"/>
                  <a:pt x="2824122" y="1021538"/>
                  <a:pt x="2819400" y="992025"/>
                </a:cubicBezTo>
                <a:cubicBezTo>
                  <a:pt x="2816298" y="972636"/>
                  <a:pt x="2815789" y="952916"/>
                  <a:pt x="2813538" y="933410"/>
                </a:cubicBezTo>
                <a:cubicBezTo>
                  <a:pt x="2809927" y="902113"/>
                  <a:pt x="2805723" y="870887"/>
                  <a:pt x="2801815" y="839625"/>
                </a:cubicBezTo>
                <a:cubicBezTo>
                  <a:pt x="2799861" y="726302"/>
                  <a:pt x="2800098" y="612920"/>
                  <a:pt x="2795954" y="499656"/>
                </a:cubicBezTo>
                <a:cubicBezTo>
                  <a:pt x="2794234" y="452633"/>
                  <a:pt x="2793719" y="405067"/>
                  <a:pt x="2784230" y="358979"/>
                </a:cubicBezTo>
                <a:cubicBezTo>
                  <a:pt x="2779825" y="337583"/>
                  <a:pt x="2764024" y="320222"/>
                  <a:pt x="2754923" y="300364"/>
                </a:cubicBezTo>
                <a:cubicBezTo>
                  <a:pt x="2708550" y="199184"/>
                  <a:pt x="2738259" y="246056"/>
                  <a:pt x="2708030" y="200718"/>
                </a:cubicBezTo>
                <a:cubicBezTo>
                  <a:pt x="2706076" y="194856"/>
                  <a:pt x="2705444" y="188373"/>
                  <a:pt x="2702169" y="183133"/>
                </a:cubicBezTo>
                <a:cubicBezTo>
                  <a:pt x="2695538" y="172524"/>
                  <a:pt x="2688598" y="161506"/>
                  <a:pt x="2678723" y="153825"/>
                </a:cubicBezTo>
                <a:cubicBezTo>
                  <a:pt x="2660215" y="139430"/>
                  <a:pt x="2621791" y="138649"/>
                  <a:pt x="2602523" y="136241"/>
                </a:cubicBezTo>
                <a:cubicBezTo>
                  <a:pt x="2596661" y="134287"/>
                  <a:pt x="2591063" y="131196"/>
                  <a:pt x="2584938" y="130379"/>
                </a:cubicBezTo>
                <a:cubicBezTo>
                  <a:pt x="2561617" y="127270"/>
                  <a:pt x="2536155" y="133948"/>
                  <a:pt x="2514600" y="124518"/>
                </a:cubicBezTo>
                <a:cubicBezTo>
                  <a:pt x="2446417" y="94688"/>
                  <a:pt x="2533519" y="86366"/>
                  <a:pt x="2467707" y="60041"/>
                </a:cubicBezTo>
                <a:cubicBezTo>
                  <a:pt x="2447670" y="52026"/>
                  <a:pt x="2424742" y="55900"/>
                  <a:pt x="2403230" y="54179"/>
                </a:cubicBezTo>
                <a:lnTo>
                  <a:pt x="2321169" y="48318"/>
                </a:lnTo>
                <a:lnTo>
                  <a:pt x="1793630" y="54179"/>
                </a:lnTo>
                <a:cubicBezTo>
                  <a:pt x="1788742" y="54283"/>
                  <a:pt x="1758997" y="63059"/>
                  <a:pt x="1752600" y="65902"/>
                </a:cubicBezTo>
                <a:cubicBezTo>
                  <a:pt x="1740623" y="71225"/>
                  <a:pt x="1730189" y="80485"/>
                  <a:pt x="1717430" y="83487"/>
                </a:cubicBezTo>
                <a:cubicBezTo>
                  <a:pt x="1696423" y="88430"/>
                  <a:pt x="1674446" y="87395"/>
                  <a:pt x="1652954" y="89349"/>
                </a:cubicBezTo>
                <a:lnTo>
                  <a:pt x="1371600" y="77625"/>
                </a:lnTo>
                <a:cubicBezTo>
                  <a:pt x="776053" y="58257"/>
                  <a:pt x="1107356" y="75644"/>
                  <a:pt x="826477" y="60041"/>
                </a:cubicBezTo>
                <a:lnTo>
                  <a:pt x="451338" y="65902"/>
                </a:lnTo>
                <a:cubicBezTo>
                  <a:pt x="424819" y="67624"/>
                  <a:pt x="400349" y="80945"/>
                  <a:pt x="375138" y="89349"/>
                </a:cubicBezTo>
                <a:cubicBezTo>
                  <a:pt x="278765" y="121474"/>
                  <a:pt x="350787" y="107383"/>
                  <a:pt x="199292" y="183133"/>
                </a:cubicBezTo>
                <a:cubicBezTo>
                  <a:pt x="156709" y="204425"/>
                  <a:pt x="173391" y="191450"/>
                  <a:pt x="146538" y="218302"/>
                </a:cubicBezTo>
                <a:cubicBezTo>
                  <a:pt x="88134" y="341600"/>
                  <a:pt x="53576" y="399212"/>
                  <a:pt x="29307" y="552410"/>
                </a:cubicBezTo>
                <a:cubicBezTo>
                  <a:pt x="9987" y="674369"/>
                  <a:pt x="9769" y="798595"/>
                  <a:pt x="0" y="921687"/>
                </a:cubicBezTo>
                <a:cubicBezTo>
                  <a:pt x="7815" y="1302687"/>
                  <a:pt x="-1694" y="1684437"/>
                  <a:pt x="23446" y="2064687"/>
                </a:cubicBezTo>
                <a:cubicBezTo>
                  <a:pt x="29699" y="2159257"/>
                  <a:pt x="65515" y="2249717"/>
                  <a:pt x="93784" y="2340179"/>
                </a:cubicBezTo>
                <a:cubicBezTo>
                  <a:pt x="201708" y="2685535"/>
                  <a:pt x="200063" y="2636712"/>
                  <a:pt x="433754" y="2961502"/>
                </a:cubicBezTo>
                <a:cubicBezTo>
                  <a:pt x="536300" y="3104024"/>
                  <a:pt x="554383" y="3115007"/>
                  <a:pt x="662354" y="3254579"/>
                </a:cubicBezTo>
                <a:cubicBezTo>
                  <a:pt x="704197" y="3308668"/>
                  <a:pt x="745006" y="3363556"/>
                  <a:pt x="785446" y="3418702"/>
                </a:cubicBezTo>
                <a:cubicBezTo>
                  <a:pt x="876364" y="3542681"/>
                  <a:pt x="951564" y="3666134"/>
                  <a:pt x="1066800" y="3770395"/>
                </a:cubicBezTo>
                <a:cubicBezTo>
                  <a:pt x="1149258" y="3845000"/>
                  <a:pt x="1322628" y="3971578"/>
                  <a:pt x="1436077" y="4028302"/>
                </a:cubicBezTo>
                <a:cubicBezTo>
                  <a:pt x="1533847" y="4077187"/>
                  <a:pt x="1635189" y="4118580"/>
                  <a:pt x="1735015" y="4163118"/>
                </a:cubicBezTo>
                <a:cubicBezTo>
                  <a:pt x="1762193" y="4175244"/>
                  <a:pt x="1789882" y="4186200"/>
                  <a:pt x="1817077" y="4198287"/>
                </a:cubicBezTo>
                <a:cubicBezTo>
                  <a:pt x="1842641" y="4209649"/>
                  <a:pt x="1865417" y="4230923"/>
                  <a:pt x="1893277" y="4233456"/>
                </a:cubicBezTo>
                <a:cubicBezTo>
                  <a:pt x="1985065" y="4241801"/>
                  <a:pt x="1936228" y="4237781"/>
                  <a:pt x="2039815" y="4245179"/>
                </a:cubicBezTo>
                <a:lnTo>
                  <a:pt x="2250830" y="4221733"/>
                </a:lnTo>
                <a:cubicBezTo>
                  <a:pt x="2262632" y="4220328"/>
                  <a:pt x="2274115" y="4215872"/>
                  <a:pt x="2286000" y="4215872"/>
                </a:cubicBezTo>
                <a:cubicBezTo>
                  <a:pt x="2340743" y="4215872"/>
                  <a:pt x="2395415" y="4219779"/>
                  <a:pt x="2450123" y="4221733"/>
                </a:cubicBezTo>
                <a:cubicBezTo>
                  <a:pt x="2542650" y="4234952"/>
                  <a:pt x="2428928" y="4219613"/>
                  <a:pt x="2567354" y="4233456"/>
                </a:cubicBezTo>
                <a:cubicBezTo>
                  <a:pt x="2581101" y="4234831"/>
                  <a:pt x="2594584" y="4238661"/>
                  <a:pt x="2608384" y="4239318"/>
                </a:cubicBezTo>
                <a:cubicBezTo>
                  <a:pt x="2676719" y="4242572"/>
                  <a:pt x="2745153" y="4243225"/>
                  <a:pt x="2813538" y="4245179"/>
                </a:cubicBezTo>
                <a:lnTo>
                  <a:pt x="2924907" y="4256902"/>
                </a:lnTo>
                <a:cubicBezTo>
                  <a:pt x="2936707" y="4258318"/>
                  <a:pt x="2948311" y="4261083"/>
                  <a:pt x="2960077" y="4262764"/>
                </a:cubicBezTo>
                <a:cubicBezTo>
                  <a:pt x="2975671" y="4264992"/>
                  <a:pt x="2991456" y="4265887"/>
                  <a:pt x="3006969" y="4268625"/>
                </a:cubicBezTo>
                <a:cubicBezTo>
                  <a:pt x="3135661" y="4291336"/>
                  <a:pt x="2988891" y="4271496"/>
                  <a:pt x="3106615" y="4286210"/>
                </a:cubicBezTo>
                <a:cubicBezTo>
                  <a:pt x="3114430" y="4288164"/>
                  <a:pt x="3122005" y="4292072"/>
                  <a:pt x="3130061" y="4292072"/>
                </a:cubicBezTo>
                <a:cubicBezTo>
                  <a:pt x="3184804" y="4292072"/>
                  <a:pt x="3239542" y="4289522"/>
                  <a:pt x="3294184" y="4286210"/>
                </a:cubicBezTo>
                <a:cubicBezTo>
                  <a:pt x="3304129" y="4285607"/>
                  <a:pt x="3313665" y="4281987"/>
                  <a:pt x="3323492" y="4280349"/>
                </a:cubicBezTo>
                <a:cubicBezTo>
                  <a:pt x="3337120" y="4278078"/>
                  <a:pt x="3350846" y="4276441"/>
                  <a:pt x="3364523" y="4274487"/>
                </a:cubicBezTo>
                <a:lnTo>
                  <a:pt x="4525107" y="4280349"/>
                </a:lnTo>
                <a:cubicBezTo>
                  <a:pt x="4939646" y="4274846"/>
                  <a:pt x="4535754" y="4264789"/>
                  <a:pt x="4759569" y="4233456"/>
                </a:cubicBezTo>
                <a:cubicBezTo>
                  <a:pt x="4886850" y="4215637"/>
                  <a:pt x="5046240" y="4213934"/>
                  <a:pt x="5175738" y="4210010"/>
                </a:cubicBezTo>
                <a:cubicBezTo>
                  <a:pt x="5189415" y="4200241"/>
                  <a:pt x="5204276" y="4191946"/>
                  <a:pt x="5216769" y="4180702"/>
                </a:cubicBezTo>
                <a:cubicBezTo>
                  <a:pt x="5224030" y="4174167"/>
                  <a:pt x="5227996" y="4164673"/>
                  <a:pt x="5234354" y="4157256"/>
                </a:cubicBezTo>
                <a:cubicBezTo>
                  <a:pt x="5239749" y="4150962"/>
                  <a:pt x="5246480" y="4145910"/>
                  <a:pt x="5251938" y="4139672"/>
                </a:cubicBezTo>
                <a:cubicBezTo>
                  <a:pt x="5260176" y="4130257"/>
                  <a:pt x="5265969" y="4118602"/>
                  <a:pt x="5275384" y="4110364"/>
                </a:cubicBezTo>
                <a:cubicBezTo>
                  <a:pt x="5323692" y="4068094"/>
                  <a:pt x="5351891" y="4053909"/>
                  <a:pt x="5404338" y="4022441"/>
                </a:cubicBezTo>
                <a:cubicBezTo>
                  <a:pt x="5434269" y="3977543"/>
                  <a:pt x="5419793" y="3995819"/>
                  <a:pt x="5498123" y="3934518"/>
                </a:cubicBezTo>
                <a:cubicBezTo>
                  <a:pt x="5514766" y="3921493"/>
                  <a:pt x="5535730" y="3914087"/>
                  <a:pt x="5550877" y="3899349"/>
                </a:cubicBezTo>
                <a:cubicBezTo>
                  <a:pt x="5608344" y="3843435"/>
                  <a:pt x="5663670" y="3785097"/>
                  <a:pt x="5715000" y="3723502"/>
                </a:cubicBezTo>
                <a:cubicBezTo>
                  <a:pt x="5744308" y="3688333"/>
                  <a:pt x="5776670" y="3655499"/>
                  <a:pt x="5802923" y="3617995"/>
                </a:cubicBezTo>
                <a:cubicBezTo>
                  <a:pt x="5817956" y="3596520"/>
                  <a:pt x="5825607" y="3570706"/>
                  <a:pt x="5838092" y="3547656"/>
                </a:cubicBezTo>
                <a:cubicBezTo>
                  <a:pt x="5851020" y="3523789"/>
                  <a:pt x="5863470" y="3499493"/>
                  <a:pt x="5879123" y="3477318"/>
                </a:cubicBezTo>
                <a:cubicBezTo>
                  <a:pt x="5887090" y="3466031"/>
                  <a:pt x="5900304" y="3459183"/>
                  <a:pt x="5908430" y="3448010"/>
                </a:cubicBezTo>
                <a:cubicBezTo>
                  <a:pt x="5916139" y="3437410"/>
                  <a:pt x="5917125" y="3422472"/>
                  <a:pt x="5926015" y="3412841"/>
                </a:cubicBezTo>
                <a:cubicBezTo>
                  <a:pt x="5987864" y="3345839"/>
                  <a:pt x="6055574" y="3284487"/>
                  <a:pt x="6119446" y="3219410"/>
                </a:cubicBezTo>
                <a:cubicBezTo>
                  <a:pt x="6159136" y="3178972"/>
                  <a:pt x="6205895" y="3143889"/>
                  <a:pt x="6236677" y="3096318"/>
                </a:cubicBezTo>
                <a:cubicBezTo>
                  <a:pt x="6308274" y="2985668"/>
                  <a:pt x="6283462" y="3032058"/>
                  <a:pt x="6318738" y="2961502"/>
                </a:cubicBezTo>
                <a:cubicBezTo>
                  <a:pt x="6322646" y="2941964"/>
                  <a:pt x="6324987" y="2922046"/>
                  <a:pt x="6330461" y="2902887"/>
                </a:cubicBezTo>
                <a:cubicBezTo>
                  <a:pt x="6364306" y="2784430"/>
                  <a:pt x="6399866" y="2687572"/>
                  <a:pt x="6453554" y="2574641"/>
                </a:cubicBezTo>
                <a:cubicBezTo>
                  <a:pt x="6482076" y="2514645"/>
                  <a:pt x="6514614" y="2456607"/>
                  <a:pt x="6547338" y="2398795"/>
                </a:cubicBezTo>
                <a:cubicBezTo>
                  <a:pt x="6573253" y="2353011"/>
                  <a:pt x="6602795" y="2309365"/>
                  <a:pt x="6629400" y="2263979"/>
                </a:cubicBezTo>
                <a:cubicBezTo>
                  <a:pt x="6636028" y="2252672"/>
                  <a:pt x="6638216" y="2238552"/>
                  <a:pt x="6646984" y="2228810"/>
                </a:cubicBezTo>
                <a:cubicBezTo>
                  <a:pt x="6838388" y="2016141"/>
                  <a:pt x="6543868" y="2378224"/>
                  <a:pt x="6705600" y="2176056"/>
                </a:cubicBezTo>
                <a:cubicBezTo>
                  <a:pt x="6711461" y="2158471"/>
                  <a:pt x="6718835" y="2141320"/>
                  <a:pt x="6723184" y="2123302"/>
                </a:cubicBezTo>
                <a:cubicBezTo>
                  <a:pt x="6745286" y="2031734"/>
                  <a:pt x="6750846" y="1976560"/>
                  <a:pt x="6764215" y="1882979"/>
                </a:cubicBezTo>
                <a:cubicBezTo>
                  <a:pt x="6776692" y="1284071"/>
                  <a:pt x="6782736" y="1395879"/>
                  <a:pt x="6764215" y="827902"/>
                </a:cubicBezTo>
                <a:cubicBezTo>
                  <a:pt x="6757842" y="632465"/>
                  <a:pt x="6751229" y="437010"/>
                  <a:pt x="6740769" y="241749"/>
                </a:cubicBezTo>
                <a:cubicBezTo>
                  <a:pt x="6739497" y="218013"/>
                  <a:pt x="6733427" y="194773"/>
                  <a:pt x="6729046" y="171410"/>
                </a:cubicBezTo>
                <a:cubicBezTo>
                  <a:pt x="6727561" y="163492"/>
                  <a:pt x="6728341" y="154153"/>
                  <a:pt x="6723184" y="147964"/>
                </a:cubicBezTo>
                <a:cubicBezTo>
                  <a:pt x="6708122" y="129890"/>
                  <a:pt x="6691770" y="110980"/>
                  <a:pt x="6670430" y="101072"/>
                </a:cubicBezTo>
                <a:cubicBezTo>
                  <a:pt x="6635613" y="84907"/>
                  <a:pt x="6596184" y="81533"/>
                  <a:pt x="6559061" y="71764"/>
                </a:cubicBezTo>
                <a:cubicBezTo>
                  <a:pt x="6541476" y="61995"/>
                  <a:pt x="6524299" y="51452"/>
                  <a:pt x="6506307" y="42456"/>
                </a:cubicBezTo>
                <a:cubicBezTo>
                  <a:pt x="6496896" y="37751"/>
                  <a:pt x="6487522" y="30733"/>
                  <a:pt x="6477000" y="30733"/>
                </a:cubicBezTo>
                <a:cubicBezTo>
                  <a:pt x="6442005" y="30733"/>
                  <a:pt x="6403537" y="48024"/>
                  <a:pt x="6371492" y="60041"/>
                </a:cubicBezTo>
                <a:lnTo>
                  <a:pt x="5597769" y="30733"/>
                </a:lnTo>
                <a:cubicBezTo>
                  <a:pt x="5576207" y="29828"/>
                  <a:pt x="5554873" y="24872"/>
                  <a:pt x="5533292" y="24872"/>
                </a:cubicBezTo>
                <a:cubicBezTo>
                  <a:pt x="5414091" y="24872"/>
                  <a:pt x="5294923" y="28779"/>
                  <a:pt x="5175738" y="30733"/>
                </a:cubicBezTo>
                <a:cubicBezTo>
                  <a:pt x="5138615" y="34641"/>
                  <a:pt x="5101682" y="41382"/>
                  <a:pt x="5064369" y="42456"/>
                </a:cubicBezTo>
                <a:cubicBezTo>
                  <a:pt x="4829972" y="49201"/>
                  <a:pt x="4595007" y="39320"/>
                  <a:pt x="4360984" y="54179"/>
                </a:cubicBezTo>
                <a:cubicBezTo>
                  <a:pt x="4352964" y="54688"/>
                  <a:pt x="4321359" y="92399"/>
                  <a:pt x="4314092" y="106933"/>
                </a:cubicBezTo>
                <a:cubicBezTo>
                  <a:pt x="4301643" y="131830"/>
                  <a:pt x="4304323" y="155780"/>
                  <a:pt x="4302369" y="165549"/>
                </a:cubicBezTo>
                <a:close/>
              </a:path>
            </a:pathLst>
          </a:custGeom>
          <a:solidFill>
            <a:srgbClr val="13132D">
              <a:alpha val="56863"/>
            </a:srgbClr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5139" name="Freeform: Shape 5138">
            <a:extLst>
              <a:ext uri="{FF2B5EF4-FFF2-40B4-BE49-F238E27FC236}">
                <a16:creationId xmlns:a16="http://schemas.microsoft.com/office/drawing/2014/main" id="{47070DA5-51BF-D204-FB41-E8E6050BF154}"/>
              </a:ext>
            </a:extLst>
          </p:cNvPr>
          <p:cNvSpPr/>
          <p:nvPr/>
        </p:nvSpPr>
        <p:spPr bwMode="auto">
          <a:xfrm>
            <a:off x="2426678" y="2016043"/>
            <a:ext cx="5817335" cy="4179604"/>
          </a:xfrm>
          <a:custGeom>
            <a:avLst/>
            <a:gdLst>
              <a:gd name="connsiteX0" fmla="*/ 4700954 w 5779477"/>
              <a:gd name="connsiteY0" fmla="*/ 2409092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99538 w 5779477"/>
              <a:gd name="connsiteY12" fmla="*/ 2209800 h 4226169"/>
              <a:gd name="connsiteX13" fmla="*/ 5134708 w 5779477"/>
              <a:gd name="connsiteY13" fmla="*/ 2233246 h 4226169"/>
              <a:gd name="connsiteX14" fmla="*/ 5152292 w 5779477"/>
              <a:gd name="connsiteY14" fmla="*/ 2239108 h 4226169"/>
              <a:gd name="connsiteX15" fmla="*/ 5292969 w 5779477"/>
              <a:gd name="connsiteY15" fmla="*/ 2221523 h 4226169"/>
              <a:gd name="connsiteX16" fmla="*/ 5304692 w 5779477"/>
              <a:gd name="connsiteY16" fmla="*/ 2203938 h 4226169"/>
              <a:gd name="connsiteX17" fmla="*/ 5322277 w 5779477"/>
              <a:gd name="connsiteY17" fmla="*/ 2186354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52446 w 5779477"/>
              <a:gd name="connsiteY144" fmla="*/ 3393831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700954 w 5779477"/>
              <a:gd name="connsiteY175" fmla="*/ 2409092 h 4226169"/>
              <a:gd name="connsiteX0" fmla="*/ 4700954 w 5779477"/>
              <a:gd name="connsiteY0" fmla="*/ 2409092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99538 w 5779477"/>
              <a:gd name="connsiteY12" fmla="*/ 2209800 h 4226169"/>
              <a:gd name="connsiteX13" fmla="*/ 5134708 w 5779477"/>
              <a:gd name="connsiteY13" fmla="*/ 2233246 h 4226169"/>
              <a:gd name="connsiteX14" fmla="*/ 5152292 w 5779477"/>
              <a:gd name="connsiteY14" fmla="*/ 2239108 h 4226169"/>
              <a:gd name="connsiteX15" fmla="*/ 5292969 w 5779477"/>
              <a:gd name="connsiteY15" fmla="*/ 2221523 h 4226169"/>
              <a:gd name="connsiteX16" fmla="*/ 5304692 w 5779477"/>
              <a:gd name="connsiteY16" fmla="*/ 2203938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52446 w 5779477"/>
              <a:gd name="connsiteY144" fmla="*/ 3393831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700954 w 5779477"/>
              <a:gd name="connsiteY175" fmla="*/ 2409092 h 4226169"/>
              <a:gd name="connsiteX0" fmla="*/ 4700954 w 5779477"/>
              <a:gd name="connsiteY0" fmla="*/ 2409092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99538 w 5779477"/>
              <a:gd name="connsiteY12" fmla="*/ 2209800 h 4226169"/>
              <a:gd name="connsiteX13" fmla="*/ 5134708 w 5779477"/>
              <a:gd name="connsiteY13" fmla="*/ 2233246 h 4226169"/>
              <a:gd name="connsiteX14" fmla="*/ 5152292 w 5779477"/>
              <a:gd name="connsiteY14" fmla="*/ 2239108 h 4226169"/>
              <a:gd name="connsiteX15" fmla="*/ 5292969 w 5779477"/>
              <a:gd name="connsiteY15" fmla="*/ 2221523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52446 w 5779477"/>
              <a:gd name="connsiteY144" fmla="*/ 3393831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700954 w 5779477"/>
              <a:gd name="connsiteY175" fmla="*/ 2409092 h 4226169"/>
              <a:gd name="connsiteX0" fmla="*/ 4700954 w 5779477"/>
              <a:gd name="connsiteY0" fmla="*/ 2409092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99538 w 5779477"/>
              <a:gd name="connsiteY12" fmla="*/ 2209800 h 4226169"/>
              <a:gd name="connsiteX13" fmla="*/ 5134708 w 5779477"/>
              <a:gd name="connsiteY13" fmla="*/ 2233246 h 4226169"/>
              <a:gd name="connsiteX14" fmla="*/ 5152292 w 5779477"/>
              <a:gd name="connsiteY14" fmla="*/ 2239108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52446 w 5779477"/>
              <a:gd name="connsiteY144" fmla="*/ 3393831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700954 w 5779477"/>
              <a:gd name="connsiteY175" fmla="*/ 2409092 h 4226169"/>
              <a:gd name="connsiteX0" fmla="*/ 4700954 w 5779477"/>
              <a:gd name="connsiteY0" fmla="*/ 2409092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99538 w 5779477"/>
              <a:gd name="connsiteY12" fmla="*/ 2209800 h 4226169"/>
              <a:gd name="connsiteX13" fmla="*/ 5134708 w 5779477"/>
              <a:gd name="connsiteY13" fmla="*/ 2233246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52446 w 5779477"/>
              <a:gd name="connsiteY144" fmla="*/ 3393831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700954 w 5779477"/>
              <a:gd name="connsiteY175" fmla="*/ 2409092 h 4226169"/>
              <a:gd name="connsiteX0" fmla="*/ 4700954 w 5779477"/>
              <a:gd name="connsiteY0" fmla="*/ 2409092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99538 w 5779477"/>
              <a:gd name="connsiteY12" fmla="*/ 2209800 h 4226169"/>
              <a:gd name="connsiteX13" fmla="*/ 5134708 w 5779477"/>
              <a:gd name="connsiteY13" fmla="*/ 2162907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52446 w 5779477"/>
              <a:gd name="connsiteY144" fmla="*/ 3393831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700954 w 5779477"/>
              <a:gd name="connsiteY175" fmla="*/ 2409092 h 4226169"/>
              <a:gd name="connsiteX0" fmla="*/ 4700954 w 5779477"/>
              <a:gd name="connsiteY0" fmla="*/ 2409092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99538 w 5779477"/>
              <a:gd name="connsiteY12" fmla="*/ 2145323 h 4226169"/>
              <a:gd name="connsiteX13" fmla="*/ 5134708 w 5779477"/>
              <a:gd name="connsiteY13" fmla="*/ 2162907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52446 w 5779477"/>
              <a:gd name="connsiteY144" fmla="*/ 3393831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700954 w 5779477"/>
              <a:gd name="connsiteY175" fmla="*/ 2409092 h 4226169"/>
              <a:gd name="connsiteX0" fmla="*/ 4700954 w 5779477"/>
              <a:gd name="connsiteY0" fmla="*/ 2409092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99538 w 5779477"/>
              <a:gd name="connsiteY12" fmla="*/ 2145323 h 4226169"/>
              <a:gd name="connsiteX13" fmla="*/ 5117124 w 5779477"/>
              <a:gd name="connsiteY13" fmla="*/ 2239107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52446 w 5779477"/>
              <a:gd name="connsiteY144" fmla="*/ 3393831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700954 w 5779477"/>
              <a:gd name="connsiteY175" fmla="*/ 2409092 h 4226169"/>
              <a:gd name="connsiteX0" fmla="*/ 4700954 w 5779477"/>
              <a:gd name="connsiteY0" fmla="*/ 2409092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99538 w 5779477"/>
              <a:gd name="connsiteY12" fmla="*/ 2145323 h 4226169"/>
              <a:gd name="connsiteX13" fmla="*/ 5134708 w 5779477"/>
              <a:gd name="connsiteY13" fmla="*/ 2198076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52446 w 5779477"/>
              <a:gd name="connsiteY144" fmla="*/ 3393831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700954 w 5779477"/>
              <a:gd name="connsiteY175" fmla="*/ 2409092 h 4226169"/>
              <a:gd name="connsiteX0" fmla="*/ 4700954 w 5779477"/>
              <a:gd name="connsiteY0" fmla="*/ 2409092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81954 w 5779477"/>
              <a:gd name="connsiteY12" fmla="*/ 2180492 h 4226169"/>
              <a:gd name="connsiteX13" fmla="*/ 5134708 w 5779477"/>
              <a:gd name="connsiteY13" fmla="*/ 2198076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52446 w 5779477"/>
              <a:gd name="connsiteY144" fmla="*/ 3393831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700954 w 5779477"/>
              <a:gd name="connsiteY175" fmla="*/ 2409092 h 4226169"/>
              <a:gd name="connsiteX0" fmla="*/ 4624754 w 5779477"/>
              <a:gd name="connsiteY0" fmla="*/ 2432538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81954 w 5779477"/>
              <a:gd name="connsiteY12" fmla="*/ 2180492 h 4226169"/>
              <a:gd name="connsiteX13" fmla="*/ 5134708 w 5779477"/>
              <a:gd name="connsiteY13" fmla="*/ 2198076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52446 w 5779477"/>
              <a:gd name="connsiteY144" fmla="*/ 3393831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624754 w 5779477"/>
              <a:gd name="connsiteY175" fmla="*/ 2432538 h 4226169"/>
              <a:gd name="connsiteX0" fmla="*/ 4624754 w 5779477"/>
              <a:gd name="connsiteY0" fmla="*/ 2432538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81954 w 5779477"/>
              <a:gd name="connsiteY12" fmla="*/ 2180492 h 4226169"/>
              <a:gd name="connsiteX13" fmla="*/ 5134708 w 5779477"/>
              <a:gd name="connsiteY13" fmla="*/ 2198076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46585 w 5779477"/>
              <a:gd name="connsiteY143" fmla="*/ 3645877 h 4226169"/>
              <a:gd name="connsiteX144" fmla="*/ 3405553 w 5779477"/>
              <a:gd name="connsiteY144" fmla="*/ 3475892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624754 w 5779477"/>
              <a:gd name="connsiteY175" fmla="*/ 2432538 h 4226169"/>
              <a:gd name="connsiteX0" fmla="*/ 4624754 w 5779477"/>
              <a:gd name="connsiteY0" fmla="*/ 2432538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81954 w 5779477"/>
              <a:gd name="connsiteY12" fmla="*/ 2180492 h 4226169"/>
              <a:gd name="connsiteX13" fmla="*/ 5134708 w 5779477"/>
              <a:gd name="connsiteY13" fmla="*/ 2198076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29000 w 5779477"/>
              <a:gd name="connsiteY142" fmla="*/ 3669323 h 4226169"/>
              <a:gd name="connsiteX143" fmla="*/ 3487616 w 5779477"/>
              <a:gd name="connsiteY143" fmla="*/ 3640016 h 4226169"/>
              <a:gd name="connsiteX144" fmla="*/ 3405553 w 5779477"/>
              <a:gd name="connsiteY144" fmla="*/ 3475892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624754 w 5779477"/>
              <a:gd name="connsiteY175" fmla="*/ 2432538 h 4226169"/>
              <a:gd name="connsiteX0" fmla="*/ 4624754 w 5779477"/>
              <a:gd name="connsiteY0" fmla="*/ 2432538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81954 w 5779477"/>
              <a:gd name="connsiteY12" fmla="*/ 2180492 h 4226169"/>
              <a:gd name="connsiteX13" fmla="*/ 5134708 w 5779477"/>
              <a:gd name="connsiteY13" fmla="*/ 2198076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417277 w 5779477"/>
              <a:gd name="connsiteY140" fmla="*/ 3780692 h 4226169"/>
              <a:gd name="connsiteX141" fmla="*/ 3423138 w 5779477"/>
              <a:gd name="connsiteY141" fmla="*/ 3704492 h 4226169"/>
              <a:gd name="connsiteX142" fmla="*/ 3464169 w 5779477"/>
              <a:gd name="connsiteY142" fmla="*/ 3669323 h 4226169"/>
              <a:gd name="connsiteX143" fmla="*/ 3487616 w 5779477"/>
              <a:gd name="connsiteY143" fmla="*/ 3640016 h 4226169"/>
              <a:gd name="connsiteX144" fmla="*/ 3405553 w 5779477"/>
              <a:gd name="connsiteY144" fmla="*/ 3475892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624754 w 5779477"/>
              <a:gd name="connsiteY175" fmla="*/ 2432538 h 4226169"/>
              <a:gd name="connsiteX0" fmla="*/ 4624754 w 5779477"/>
              <a:gd name="connsiteY0" fmla="*/ 2432538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81954 w 5779477"/>
              <a:gd name="connsiteY12" fmla="*/ 2180492 h 4226169"/>
              <a:gd name="connsiteX13" fmla="*/ 5134708 w 5779477"/>
              <a:gd name="connsiteY13" fmla="*/ 2198076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93831 w 5779477"/>
              <a:gd name="connsiteY138" fmla="*/ 3915508 h 4226169"/>
              <a:gd name="connsiteX139" fmla="*/ 3399692 w 5779477"/>
              <a:gd name="connsiteY139" fmla="*/ 3810000 h 4226169"/>
              <a:gd name="connsiteX140" fmla="*/ 3387969 w 5779477"/>
              <a:gd name="connsiteY140" fmla="*/ 3780692 h 4226169"/>
              <a:gd name="connsiteX141" fmla="*/ 3423138 w 5779477"/>
              <a:gd name="connsiteY141" fmla="*/ 3704492 h 4226169"/>
              <a:gd name="connsiteX142" fmla="*/ 3464169 w 5779477"/>
              <a:gd name="connsiteY142" fmla="*/ 3669323 h 4226169"/>
              <a:gd name="connsiteX143" fmla="*/ 3487616 w 5779477"/>
              <a:gd name="connsiteY143" fmla="*/ 3640016 h 4226169"/>
              <a:gd name="connsiteX144" fmla="*/ 3405553 w 5779477"/>
              <a:gd name="connsiteY144" fmla="*/ 3475892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624754 w 5779477"/>
              <a:gd name="connsiteY175" fmla="*/ 2432538 h 4226169"/>
              <a:gd name="connsiteX0" fmla="*/ 4624754 w 5779477"/>
              <a:gd name="connsiteY0" fmla="*/ 2432538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81954 w 5779477"/>
              <a:gd name="connsiteY12" fmla="*/ 2180492 h 4226169"/>
              <a:gd name="connsiteX13" fmla="*/ 5134708 w 5779477"/>
              <a:gd name="connsiteY13" fmla="*/ 2198076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49769 w 5779477"/>
              <a:gd name="connsiteY86" fmla="*/ 117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76246 w 5779477"/>
              <a:gd name="connsiteY138" fmla="*/ 3927231 h 4226169"/>
              <a:gd name="connsiteX139" fmla="*/ 3399692 w 5779477"/>
              <a:gd name="connsiteY139" fmla="*/ 3810000 h 4226169"/>
              <a:gd name="connsiteX140" fmla="*/ 3387969 w 5779477"/>
              <a:gd name="connsiteY140" fmla="*/ 3780692 h 4226169"/>
              <a:gd name="connsiteX141" fmla="*/ 3423138 w 5779477"/>
              <a:gd name="connsiteY141" fmla="*/ 3704492 h 4226169"/>
              <a:gd name="connsiteX142" fmla="*/ 3464169 w 5779477"/>
              <a:gd name="connsiteY142" fmla="*/ 3669323 h 4226169"/>
              <a:gd name="connsiteX143" fmla="*/ 3487616 w 5779477"/>
              <a:gd name="connsiteY143" fmla="*/ 3640016 h 4226169"/>
              <a:gd name="connsiteX144" fmla="*/ 3405553 w 5779477"/>
              <a:gd name="connsiteY144" fmla="*/ 3475892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624754 w 5779477"/>
              <a:gd name="connsiteY175" fmla="*/ 2432538 h 4226169"/>
              <a:gd name="connsiteX0" fmla="*/ 4624754 w 5779477"/>
              <a:gd name="connsiteY0" fmla="*/ 2432538 h 4226169"/>
              <a:gd name="connsiteX1" fmla="*/ 4700954 w 5779477"/>
              <a:gd name="connsiteY1" fmla="*/ 2409092 h 4226169"/>
              <a:gd name="connsiteX2" fmla="*/ 4706815 w 5779477"/>
              <a:gd name="connsiteY2" fmla="*/ 2350477 h 4226169"/>
              <a:gd name="connsiteX3" fmla="*/ 4712677 w 5779477"/>
              <a:gd name="connsiteY3" fmla="*/ 2332892 h 4226169"/>
              <a:gd name="connsiteX4" fmla="*/ 4741985 w 5779477"/>
              <a:gd name="connsiteY4" fmla="*/ 2309446 h 4226169"/>
              <a:gd name="connsiteX5" fmla="*/ 4771292 w 5779477"/>
              <a:gd name="connsiteY5" fmla="*/ 2286000 h 4226169"/>
              <a:gd name="connsiteX6" fmla="*/ 4806461 w 5779477"/>
              <a:gd name="connsiteY6" fmla="*/ 2256692 h 4226169"/>
              <a:gd name="connsiteX7" fmla="*/ 4818185 w 5779477"/>
              <a:gd name="connsiteY7" fmla="*/ 2244969 h 4226169"/>
              <a:gd name="connsiteX8" fmla="*/ 4870938 w 5779477"/>
              <a:gd name="connsiteY8" fmla="*/ 2227385 h 4226169"/>
              <a:gd name="connsiteX9" fmla="*/ 4888523 w 5779477"/>
              <a:gd name="connsiteY9" fmla="*/ 2215661 h 4226169"/>
              <a:gd name="connsiteX10" fmla="*/ 4923692 w 5779477"/>
              <a:gd name="connsiteY10" fmla="*/ 2209800 h 4226169"/>
              <a:gd name="connsiteX11" fmla="*/ 4947138 w 5779477"/>
              <a:gd name="connsiteY11" fmla="*/ 2203938 h 4226169"/>
              <a:gd name="connsiteX12" fmla="*/ 5081954 w 5779477"/>
              <a:gd name="connsiteY12" fmla="*/ 2180492 h 4226169"/>
              <a:gd name="connsiteX13" fmla="*/ 5134708 w 5779477"/>
              <a:gd name="connsiteY13" fmla="*/ 2198076 h 4226169"/>
              <a:gd name="connsiteX14" fmla="*/ 5181600 w 5779477"/>
              <a:gd name="connsiteY14" fmla="*/ 2139462 h 4226169"/>
              <a:gd name="connsiteX15" fmla="*/ 5269523 w 5779477"/>
              <a:gd name="connsiteY15" fmla="*/ 2116015 h 4226169"/>
              <a:gd name="connsiteX16" fmla="*/ 5187461 w 5779477"/>
              <a:gd name="connsiteY16" fmla="*/ 2186354 h 4226169"/>
              <a:gd name="connsiteX17" fmla="*/ 5228492 w 5779477"/>
              <a:gd name="connsiteY17" fmla="*/ 2104293 h 4226169"/>
              <a:gd name="connsiteX18" fmla="*/ 5339861 w 5779477"/>
              <a:gd name="connsiteY18" fmla="*/ 1658815 h 4226169"/>
              <a:gd name="connsiteX19" fmla="*/ 5357446 w 5779477"/>
              <a:gd name="connsiteY19" fmla="*/ 1611923 h 4226169"/>
              <a:gd name="connsiteX20" fmla="*/ 5451231 w 5779477"/>
              <a:gd name="connsiteY20" fmla="*/ 1453661 h 4226169"/>
              <a:gd name="connsiteX21" fmla="*/ 5474677 w 5779477"/>
              <a:gd name="connsiteY21" fmla="*/ 1418492 h 4226169"/>
              <a:gd name="connsiteX22" fmla="*/ 5492261 w 5779477"/>
              <a:gd name="connsiteY22" fmla="*/ 1395046 h 4226169"/>
              <a:gd name="connsiteX23" fmla="*/ 5503985 w 5779477"/>
              <a:gd name="connsiteY23" fmla="*/ 1365738 h 4226169"/>
              <a:gd name="connsiteX24" fmla="*/ 5533292 w 5779477"/>
              <a:gd name="connsiteY24" fmla="*/ 1312985 h 4226169"/>
              <a:gd name="connsiteX25" fmla="*/ 5556738 w 5779477"/>
              <a:gd name="connsiteY25" fmla="*/ 1266092 h 4226169"/>
              <a:gd name="connsiteX26" fmla="*/ 5603631 w 5779477"/>
              <a:gd name="connsiteY26" fmla="*/ 1201615 h 4226169"/>
              <a:gd name="connsiteX27" fmla="*/ 5668108 w 5779477"/>
              <a:gd name="connsiteY27" fmla="*/ 1066800 h 4226169"/>
              <a:gd name="connsiteX28" fmla="*/ 5709138 w 5779477"/>
              <a:gd name="connsiteY28" fmla="*/ 973015 h 4226169"/>
              <a:gd name="connsiteX29" fmla="*/ 5732585 w 5779477"/>
              <a:gd name="connsiteY29" fmla="*/ 914400 h 4226169"/>
              <a:gd name="connsiteX30" fmla="*/ 5744308 w 5779477"/>
              <a:gd name="connsiteY30" fmla="*/ 597877 h 4226169"/>
              <a:gd name="connsiteX31" fmla="*/ 5750169 w 5779477"/>
              <a:gd name="connsiteY31" fmla="*/ 574431 h 4226169"/>
              <a:gd name="connsiteX32" fmla="*/ 5761892 w 5779477"/>
              <a:gd name="connsiteY32" fmla="*/ 550985 h 4226169"/>
              <a:gd name="connsiteX33" fmla="*/ 5767754 w 5779477"/>
              <a:gd name="connsiteY33" fmla="*/ 521677 h 4226169"/>
              <a:gd name="connsiteX34" fmla="*/ 5773615 w 5779477"/>
              <a:gd name="connsiteY34" fmla="*/ 504092 h 4226169"/>
              <a:gd name="connsiteX35" fmla="*/ 5779477 w 5779477"/>
              <a:gd name="connsiteY35" fmla="*/ 416169 h 4226169"/>
              <a:gd name="connsiteX36" fmla="*/ 5767754 w 5779477"/>
              <a:gd name="connsiteY36" fmla="*/ 187569 h 4226169"/>
              <a:gd name="connsiteX37" fmla="*/ 5761892 w 5779477"/>
              <a:gd name="connsiteY37" fmla="*/ 152400 h 4226169"/>
              <a:gd name="connsiteX38" fmla="*/ 5750169 w 5779477"/>
              <a:gd name="connsiteY38" fmla="*/ 134815 h 4226169"/>
              <a:gd name="connsiteX39" fmla="*/ 5744308 w 5779477"/>
              <a:gd name="connsiteY39" fmla="*/ 111369 h 4226169"/>
              <a:gd name="connsiteX40" fmla="*/ 5691554 w 5779477"/>
              <a:gd name="connsiteY40" fmla="*/ 117231 h 4226169"/>
              <a:gd name="connsiteX41" fmla="*/ 5615354 w 5779477"/>
              <a:gd name="connsiteY41" fmla="*/ 105508 h 4226169"/>
              <a:gd name="connsiteX42" fmla="*/ 5533292 w 5779477"/>
              <a:gd name="connsiteY42" fmla="*/ 76200 h 4226169"/>
              <a:gd name="connsiteX43" fmla="*/ 5492261 w 5779477"/>
              <a:gd name="connsiteY43" fmla="*/ 58615 h 4226169"/>
              <a:gd name="connsiteX44" fmla="*/ 5427785 w 5779477"/>
              <a:gd name="connsiteY44" fmla="*/ 46892 h 4226169"/>
              <a:gd name="connsiteX45" fmla="*/ 5257800 w 5779477"/>
              <a:gd name="connsiteY45" fmla="*/ 58615 h 4226169"/>
              <a:gd name="connsiteX46" fmla="*/ 5122985 w 5779477"/>
              <a:gd name="connsiteY46" fmla="*/ 87923 h 4226169"/>
              <a:gd name="connsiteX47" fmla="*/ 5058508 w 5779477"/>
              <a:gd name="connsiteY47" fmla="*/ 93785 h 4226169"/>
              <a:gd name="connsiteX48" fmla="*/ 3552092 w 5779477"/>
              <a:gd name="connsiteY48" fmla="*/ 105508 h 4226169"/>
              <a:gd name="connsiteX49" fmla="*/ 3376246 w 5779477"/>
              <a:gd name="connsiteY49" fmla="*/ 117231 h 4226169"/>
              <a:gd name="connsiteX50" fmla="*/ 3124200 w 5779477"/>
              <a:gd name="connsiteY50" fmla="*/ 123092 h 4226169"/>
              <a:gd name="connsiteX51" fmla="*/ 3053861 w 5779477"/>
              <a:gd name="connsiteY51" fmla="*/ 158261 h 4226169"/>
              <a:gd name="connsiteX52" fmla="*/ 2995246 w 5779477"/>
              <a:gd name="connsiteY52" fmla="*/ 222738 h 4226169"/>
              <a:gd name="connsiteX53" fmla="*/ 2895600 w 5779477"/>
              <a:gd name="connsiteY53" fmla="*/ 404446 h 4226169"/>
              <a:gd name="connsiteX54" fmla="*/ 2878015 w 5779477"/>
              <a:gd name="connsiteY54" fmla="*/ 556846 h 4226169"/>
              <a:gd name="connsiteX55" fmla="*/ 2883877 w 5779477"/>
              <a:gd name="connsiteY55" fmla="*/ 627185 h 4226169"/>
              <a:gd name="connsiteX56" fmla="*/ 3036277 w 5779477"/>
              <a:gd name="connsiteY56" fmla="*/ 937846 h 4226169"/>
              <a:gd name="connsiteX57" fmla="*/ 3100754 w 5779477"/>
              <a:gd name="connsiteY57" fmla="*/ 1043354 h 4226169"/>
              <a:gd name="connsiteX58" fmla="*/ 3153508 w 5779477"/>
              <a:gd name="connsiteY58" fmla="*/ 1143000 h 4226169"/>
              <a:gd name="connsiteX59" fmla="*/ 3294185 w 5779477"/>
              <a:gd name="connsiteY59" fmla="*/ 1459523 h 4226169"/>
              <a:gd name="connsiteX60" fmla="*/ 3411415 w 5779477"/>
              <a:gd name="connsiteY60" fmla="*/ 1664677 h 4226169"/>
              <a:gd name="connsiteX61" fmla="*/ 3458308 w 5779477"/>
              <a:gd name="connsiteY61" fmla="*/ 1746738 h 4226169"/>
              <a:gd name="connsiteX62" fmla="*/ 3487615 w 5779477"/>
              <a:gd name="connsiteY62" fmla="*/ 1793631 h 4226169"/>
              <a:gd name="connsiteX63" fmla="*/ 3522785 w 5779477"/>
              <a:gd name="connsiteY63" fmla="*/ 1863969 h 4226169"/>
              <a:gd name="connsiteX64" fmla="*/ 3528646 w 5779477"/>
              <a:gd name="connsiteY64" fmla="*/ 1893277 h 4226169"/>
              <a:gd name="connsiteX65" fmla="*/ 3546231 w 5779477"/>
              <a:gd name="connsiteY65" fmla="*/ 1934308 h 4226169"/>
              <a:gd name="connsiteX66" fmla="*/ 3557954 w 5779477"/>
              <a:gd name="connsiteY66" fmla="*/ 1998785 h 4226169"/>
              <a:gd name="connsiteX67" fmla="*/ 3540369 w 5779477"/>
              <a:gd name="connsiteY67" fmla="*/ 2063261 h 4226169"/>
              <a:gd name="connsiteX68" fmla="*/ 3417277 w 5779477"/>
              <a:gd name="connsiteY68" fmla="*/ 2121877 h 4226169"/>
              <a:gd name="connsiteX69" fmla="*/ 3288323 w 5779477"/>
              <a:gd name="connsiteY69" fmla="*/ 1893277 h 4226169"/>
              <a:gd name="connsiteX70" fmla="*/ 3259015 w 5779477"/>
              <a:gd name="connsiteY70" fmla="*/ 1729154 h 4226169"/>
              <a:gd name="connsiteX71" fmla="*/ 3223846 w 5779477"/>
              <a:gd name="connsiteY71" fmla="*/ 1488831 h 4226169"/>
              <a:gd name="connsiteX72" fmla="*/ 3217985 w 5779477"/>
              <a:gd name="connsiteY72" fmla="*/ 1424354 h 4226169"/>
              <a:gd name="connsiteX73" fmla="*/ 3194538 w 5779477"/>
              <a:gd name="connsiteY73" fmla="*/ 1354015 h 4226169"/>
              <a:gd name="connsiteX74" fmla="*/ 3153508 w 5779477"/>
              <a:gd name="connsiteY74" fmla="*/ 1213338 h 4226169"/>
              <a:gd name="connsiteX75" fmla="*/ 3001108 w 5779477"/>
              <a:gd name="connsiteY75" fmla="*/ 914400 h 4226169"/>
              <a:gd name="connsiteX76" fmla="*/ 2965938 w 5779477"/>
              <a:gd name="connsiteY76" fmla="*/ 838200 h 4226169"/>
              <a:gd name="connsiteX77" fmla="*/ 2936631 w 5779477"/>
              <a:gd name="connsiteY77" fmla="*/ 767861 h 4226169"/>
              <a:gd name="connsiteX78" fmla="*/ 2924908 w 5779477"/>
              <a:gd name="connsiteY78" fmla="*/ 750277 h 4226169"/>
              <a:gd name="connsiteX79" fmla="*/ 2907323 w 5779477"/>
              <a:gd name="connsiteY79" fmla="*/ 679938 h 4226169"/>
              <a:gd name="connsiteX80" fmla="*/ 2889738 w 5779477"/>
              <a:gd name="connsiteY80" fmla="*/ 656492 h 4226169"/>
              <a:gd name="connsiteX81" fmla="*/ 2878015 w 5779477"/>
              <a:gd name="connsiteY81" fmla="*/ 498231 h 4226169"/>
              <a:gd name="connsiteX82" fmla="*/ 2866292 w 5779477"/>
              <a:gd name="connsiteY82" fmla="*/ 386861 h 4226169"/>
              <a:gd name="connsiteX83" fmla="*/ 2848708 w 5779477"/>
              <a:gd name="connsiteY83" fmla="*/ 287215 h 4226169"/>
              <a:gd name="connsiteX84" fmla="*/ 2784231 w 5779477"/>
              <a:gd name="connsiteY84" fmla="*/ 181708 h 4226169"/>
              <a:gd name="connsiteX85" fmla="*/ 2573215 w 5779477"/>
              <a:gd name="connsiteY85" fmla="*/ 0 h 4226169"/>
              <a:gd name="connsiteX86" fmla="*/ 2573215 w 5779477"/>
              <a:gd name="connsiteY86" fmla="*/ 87923 h 4226169"/>
              <a:gd name="connsiteX87" fmla="*/ 2491154 w 5779477"/>
              <a:gd name="connsiteY87" fmla="*/ 46892 h 4226169"/>
              <a:gd name="connsiteX88" fmla="*/ 2403231 w 5779477"/>
              <a:gd name="connsiteY88" fmla="*/ 70338 h 4226169"/>
              <a:gd name="connsiteX89" fmla="*/ 2356338 w 5779477"/>
              <a:gd name="connsiteY89" fmla="*/ 87923 h 4226169"/>
              <a:gd name="connsiteX90" fmla="*/ 2315308 w 5779477"/>
              <a:gd name="connsiteY90" fmla="*/ 93785 h 4226169"/>
              <a:gd name="connsiteX91" fmla="*/ 2268415 w 5779477"/>
              <a:gd name="connsiteY91" fmla="*/ 105508 h 4226169"/>
              <a:gd name="connsiteX92" fmla="*/ 2063261 w 5779477"/>
              <a:gd name="connsiteY92" fmla="*/ 99646 h 4226169"/>
              <a:gd name="connsiteX93" fmla="*/ 2010508 w 5779477"/>
              <a:gd name="connsiteY93" fmla="*/ 87923 h 4226169"/>
              <a:gd name="connsiteX94" fmla="*/ 1951892 w 5779477"/>
              <a:gd name="connsiteY94" fmla="*/ 76200 h 4226169"/>
              <a:gd name="connsiteX95" fmla="*/ 1471246 w 5779477"/>
              <a:gd name="connsiteY95" fmla="*/ 76200 h 4226169"/>
              <a:gd name="connsiteX96" fmla="*/ 779585 w 5779477"/>
              <a:gd name="connsiteY96" fmla="*/ 87923 h 4226169"/>
              <a:gd name="connsiteX97" fmla="*/ 726831 w 5779477"/>
              <a:gd name="connsiteY97" fmla="*/ 93785 h 4226169"/>
              <a:gd name="connsiteX98" fmla="*/ 656492 w 5779477"/>
              <a:gd name="connsiteY98" fmla="*/ 99646 h 4226169"/>
              <a:gd name="connsiteX99" fmla="*/ 621323 w 5779477"/>
              <a:gd name="connsiteY99" fmla="*/ 105508 h 4226169"/>
              <a:gd name="connsiteX100" fmla="*/ 486508 w 5779477"/>
              <a:gd name="connsiteY100" fmla="*/ 117231 h 4226169"/>
              <a:gd name="connsiteX101" fmla="*/ 357554 w 5779477"/>
              <a:gd name="connsiteY101" fmla="*/ 123092 h 4226169"/>
              <a:gd name="connsiteX102" fmla="*/ 322385 w 5779477"/>
              <a:gd name="connsiteY102" fmla="*/ 146538 h 4226169"/>
              <a:gd name="connsiteX103" fmla="*/ 193431 w 5779477"/>
              <a:gd name="connsiteY103" fmla="*/ 257908 h 4226169"/>
              <a:gd name="connsiteX104" fmla="*/ 99646 w 5779477"/>
              <a:gd name="connsiteY104" fmla="*/ 445477 h 4226169"/>
              <a:gd name="connsiteX105" fmla="*/ 0 w 5779477"/>
              <a:gd name="connsiteY105" fmla="*/ 1178169 h 4226169"/>
              <a:gd name="connsiteX106" fmla="*/ 17585 w 5779477"/>
              <a:gd name="connsiteY106" fmla="*/ 1975338 h 4226169"/>
              <a:gd name="connsiteX107" fmla="*/ 70338 w 5779477"/>
              <a:gd name="connsiteY107" fmla="*/ 2297723 h 4226169"/>
              <a:gd name="connsiteX108" fmla="*/ 123092 w 5779477"/>
              <a:gd name="connsiteY108" fmla="*/ 2520461 h 4226169"/>
              <a:gd name="connsiteX109" fmla="*/ 304800 w 5779477"/>
              <a:gd name="connsiteY109" fmla="*/ 3006969 h 4226169"/>
              <a:gd name="connsiteX110" fmla="*/ 568569 w 5779477"/>
              <a:gd name="connsiteY110" fmla="*/ 3411415 h 4226169"/>
              <a:gd name="connsiteX111" fmla="*/ 926123 w 5779477"/>
              <a:gd name="connsiteY111" fmla="*/ 3710354 h 4226169"/>
              <a:gd name="connsiteX112" fmla="*/ 1002323 w 5779477"/>
              <a:gd name="connsiteY112" fmla="*/ 3774831 h 4226169"/>
              <a:gd name="connsiteX113" fmla="*/ 1301261 w 5779477"/>
              <a:gd name="connsiteY113" fmla="*/ 3938954 h 4226169"/>
              <a:gd name="connsiteX114" fmla="*/ 1447800 w 5779477"/>
              <a:gd name="connsiteY114" fmla="*/ 3974123 h 4226169"/>
              <a:gd name="connsiteX115" fmla="*/ 1488831 w 5779477"/>
              <a:gd name="connsiteY115" fmla="*/ 3985846 h 4226169"/>
              <a:gd name="connsiteX116" fmla="*/ 1688123 w 5779477"/>
              <a:gd name="connsiteY116" fmla="*/ 3991708 h 4226169"/>
              <a:gd name="connsiteX117" fmla="*/ 1811215 w 5779477"/>
              <a:gd name="connsiteY117" fmla="*/ 4021015 h 4226169"/>
              <a:gd name="connsiteX118" fmla="*/ 1852246 w 5779477"/>
              <a:gd name="connsiteY118" fmla="*/ 4038600 h 4226169"/>
              <a:gd name="connsiteX119" fmla="*/ 1875692 w 5779477"/>
              <a:gd name="connsiteY119" fmla="*/ 4050323 h 4226169"/>
              <a:gd name="connsiteX120" fmla="*/ 1963615 w 5779477"/>
              <a:gd name="connsiteY120" fmla="*/ 4067908 h 4226169"/>
              <a:gd name="connsiteX121" fmla="*/ 2057400 w 5779477"/>
              <a:gd name="connsiteY121" fmla="*/ 4097215 h 4226169"/>
              <a:gd name="connsiteX122" fmla="*/ 2104292 w 5779477"/>
              <a:gd name="connsiteY122" fmla="*/ 4103077 h 4226169"/>
              <a:gd name="connsiteX123" fmla="*/ 2303585 w 5779477"/>
              <a:gd name="connsiteY123" fmla="*/ 4144108 h 4226169"/>
              <a:gd name="connsiteX124" fmla="*/ 2368061 w 5779477"/>
              <a:gd name="connsiteY124" fmla="*/ 4155831 h 4226169"/>
              <a:gd name="connsiteX125" fmla="*/ 2584938 w 5779477"/>
              <a:gd name="connsiteY125" fmla="*/ 4208585 h 4226169"/>
              <a:gd name="connsiteX126" fmla="*/ 2702169 w 5779477"/>
              <a:gd name="connsiteY126" fmla="*/ 4226169 h 4226169"/>
              <a:gd name="connsiteX127" fmla="*/ 2795954 w 5779477"/>
              <a:gd name="connsiteY127" fmla="*/ 4185138 h 4226169"/>
              <a:gd name="connsiteX128" fmla="*/ 2854569 w 5779477"/>
              <a:gd name="connsiteY128" fmla="*/ 4155831 h 4226169"/>
              <a:gd name="connsiteX129" fmla="*/ 3217985 w 5779477"/>
              <a:gd name="connsiteY129" fmla="*/ 4191000 h 4226169"/>
              <a:gd name="connsiteX130" fmla="*/ 3259015 w 5779477"/>
              <a:gd name="connsiteY130" fmla="*/ 4167554 h 4226169"/>
              <a:gd name="connsiteX131" fmla="*/ 3282461 w 5779477"/>
              <a:gd name="connsiteY131" fmla="*/ 4126523 h 4226169"/>
              <a:gd name="connsiteX132" fmla="*/ 3317631 w 5779477"/>
              <a:gd name="connsiteY132" fmla="*/ 4103077 h 4226169"/>
              <a:gd name="connsiteX133" fmla="*/ 3329354 w 5779477"/>
              <a:gd name="connsiteY133" fmla="*/ 4079631 h 4226169"/>
              <a:gd name="connsiteX134" fmla="*/ 3346938 w 5779477"/>
              <a:gd name="connsiteY134" fmla="*/ 4056185 h 4226169"/>
              <a:gd name="connsiteX135" fmla="*/ 3358661 w 5779477"/>
              <a:gd name="connsiteY135" fmla="*/ 4009292 h 4226169"/>
              <a:gd name="connsiteX136" fmla="*/ 3364523 w 5779477"/>
              <a:gd name="connsiteY136" fmla="*/ 3979985 h 4226169"/>
              <a:gd name="connsiteX137" fmla="*/ 3387969 w 5779477"/>
              <a:gd name="connsiteY137" fmla="*/ 3944815 h 4226169"/>
              <a:gd name="connsiteX138" fmla="*/ 3376246 w 5779477"/>
              <a:gd name="connsiteY138" fmla="*/ 3927231 h 4226169"/>
              <a:gd name="connsiteX139" fmla="*/ 3399692 w 5779477"/>
              <a:gd name="connsiteY139" fmla="*/ 3810000 h 4226169"/>
              <a:gd name="connsiteX140" fmla="*/ 3387969 w 5779477"/>
              <a:gd name="connsiteY140" fmla="*/ 3780692 h 4226169"/>
              <a:gd name="connsiteX141" fmla="*/ 3423138 w 5779477"/>
              <a:gd name="connsiteY141" fmla="*/ 3704492 h 4226169"/>
              <a:gd name="connsiteX142" fmla="*/ 3464169 w 5779477"/>
              <a:gd name="connsiteY142" fmla="*/ 3669323 h 4226169"/>
              <a:gd name="connsiteX143" fmla="*/ 3487616 w 5779477"/>
              <a:gd name="connsiteY143" fmla="*/ 3640016 h 4226169"/>
              <a:gd name="connsiteX144" fmla="*/ 3405553 w 5779477"/>
              <a:gd name="connsiteY144" fmla="*/ 3475892 h 4226169"/>
              <a:gd name="connsiteX145" fmla="*/ 3364523 w 5779477"/>
              <a:gd name="connsiteY145" fmla="*/ 3387969 h 4226169"/>
              <a:gd name="connsiteX146" fmla="*/ 3276600 w 5779477"/>
              <a:gd name="connsiteY146" fmla="*/ 3341077 h 4226169"/>
              <a:gd name="connsiteX147" fmla="*/ 3264877 w 5779477"/>
              <a:gd name="connsiteY147" fmla="*/ 3317631 h 4226169"/>
              <a:gd name="connsiteX148" fmla="*/ 3229708 w 5779477"/>
              <a:gd name="connsiteY148" fmla="*/ 3259015 h 4226169"/>
              <a:gd name="connsiteX149" fmla="*/ 3212123 w 5779477"/>
              <a:gd name="connsiteY149" fmla="*/ 3188677 h 4226169"/>
              <a:gd name="connsiteX150" fmla="*/ 3229708 w 5779477"/>
              <a:gd name="connsiteY150" fmla="*/ 3012831 h 4226169"/>
              <a:gd name="connsiteX151" fmla="*/ 3253154 w 5779477"/>
              <a:gd name="connsiteY151" fmla="*/ 2965938 h 4226169"/>
              <a:gd name="connsiteX152" fmla="*/ 3264877 w 5779477"/>
              <a:gd name="connsiteY152" fmla="*/ 2919046 h 4226169"/>
              <a:gd name="connsiteX153" fmla="*/ 3305908 w 5779477"/>
              <a:gd name="connsiteY153" fmla="*/ 2807677 h 4226169"/>
              <a:gd name="connsiteX154" fmla="*/ 3323492 w 5779477"/>
              <a:gd name="connsiteY154" fmla="*/ 2766646 h 4226169"/>
              <a:gd name="connsiteX155" fmla="*/ 3364523 w 5779477"/>
              <a:gd name="connsiteY155" fmla="*/ 2667000 h 4226169"/>
              <a:gd name="connsiteX156" fmla="*/ 3382108 w 5779477"/>
              <a:gd name="connsiteY156" fmla="*/ 2625969 h 4226169"/>
              <a:gd name="connsiteX157" fmla="*/ 3417277 w 5779477"/>
              <a:gd name="connsiteY157" fmla="*/ 2584938 h 4226169"/>
              <a:gd name="connsiteX158" fmla="*/ 3440723 w 5779477"/>
              <a:gd name="connsiteY158" fmla="*/ 2567354 h 4226169"/>
              <a:gd name="connsiteX159" fmla="*/ 3458308 w 5779477"/>
              <a:gd name="connsiteY159" fmla="*/ 2543908 h 4226169"/>
              <a:gd name="connsiteX160" fmla="*/ 3470031 w 5779477"/>
              <a:gd name="connsiteY160" fmla="*/ 2520461 h 4226169"/>
              <a:gd name="connsiteX161" fmla="*/ 3487615 w 5779477"/>
              <a:gd name="connsiteY161" fmla="*/ 2514600 h 4226169"/>
              <a:gd name="connsiteX162" fmla="*/ 3663461 w 5779477"/>
              <a:gd name="connsiteY162" fmla="*/ 2538046 h 4226169"/>
              <a:gd name="connsiteX163" fmla="*/ 3722077 w 5779477"/>
              <a:gd name="connsiteY163" fmla="*/ 2555631 h 4226169"/>
              <a:gd name="connsiteX164" fmla="*/ 3804138 w 5779477"/>
              <a:gd name="connsiteY164" fmla="*/ 2561492 h 4226169"/>
              <a:gd name="connsiteX165" fmla="*/ 4366846 w 5779477"/>
              <a:gd name="connsiteY165" fmla="*/ 2579077 h 4226169"/>
              <a:gd name="connsiteX166" fmla="*/ 4472354 w 5779477"/>
              <a:gd name="connsiteY166" fmla="*/ 2561492 h 4226169"/>
              <a:gd name="connsiteX167" fmla="*/ 4495800 w 5779477"/>
              <a:gd name="connsiteY167" fmla="*/ 2538046 h 4226169"/>
              <a:gd name="connsiteX168" fmla="*/ 4513385 w 5779477"/>
              <a:gd name="connsiteY168" fmla="*/ 2532185 h 4226169"/>
              <a:gd name="connsiteX169" fmla="*/ 4536831 w 5779477"/>
              <a:gd name="connsiteY169" fmla="*/ 2508738 h 4226169"/>
              <a:gd name="connsiteX170" fmla="*/ 4554415 w 5779477"/>
              <a:gd name="connsiteY170" fmla="*/ 2502877 h 4226169"/>
              <a:gd name="connsiteX171" fmla="*/ 4577861 w 5779477"/>
              <a:gd name="connsiteY171" fmla="*/ 2491154 h 4226169"/>
              <a:gd name="connsiteX172" fmla="*/ 4601308 w 5779477"/>
              <a:gd name="connsiteY172" fmla="*/ 2473569 h 4226169"/>
              <a:gd name="connsiteX173" fmla="*/ 4618892 w 5779477"/>
              <a:gd name="connsiteY173" fmla="*/ 2467708 h 4226169"/>
              <a:gd name="connsiteX174" fmla="*/ 4648200 w 5779477"/>
              <a:gd name="connsiteY174" fmla="*/ 2450123 h 4226169"/>
              <a:gd name="connsiteX175" fmla="*/ 4624754 w 5779477"/>
              <a:gd name="connsiteY175" fmla="*/ 2432538 h 4226169"/>
              <a:gd name="connsiteX0" fmla="*/ 4624754 w 5779477"/>
              <a:gd name="connsiteY0" fmla="*/ 2385973 h 4179604"/>
              <a:gd name="connsiteX1" fmla="*/ 4700954 w 5779477"/>
              <a:gd name="connsiteY1" fmla="*/ 2362527 h 4179604"/>
              <a:gd name="connsiteX2" fmla="*/ 4706815 w 5779477"/>
              <a:gd name="connsiteY2" fmla="*/ 2303912 h 4179604"/>
              <a:gd name="connsiteX3" fmla="*/ 4712677 w 5779477"/>
              <a:gd name="connsiteY3" fmla="*/ 2286327 h 4179604"/>
              <a:gd name="connsiteX4" fmla="*/ 4741985 w 5779477"/>
              <a:gd name="connsiteY4" fmla="*/ 2262881 h 4179604"/>
              <a:gd name="connsiteX5" fmla="*/ 4771292 w 5779477"/>
              <a:gd name="connsiteY5" fmla="*/ 2239435 h 4179604"/>
              <a:gd name="connsiteX6" fmla="*/ 4806461 w 5779477"/>
              <a:gd name="connsiteY6" fmla="*/ 2210127 h 4179604"/>
              <a:gd name="connsiteX7" fmla="*/ 4818185 w 5779477"/>
              <a:gd name="connsiteY7" fmla="*/ 2198404 h 4179604"/>
              <a:gd name="connsiteX8" fmla="*/ 4870938 w 5779477"/>
              <a:gd name="connsiteY8" fmla="*/ 2180820 h 4179604"/>
              <a:gd name="connsiteX9" fmla="*/ 4888523 w 5779477"/>
              <a:gd name="connsiteY9" fmla="*/ 2169096 h 4179604"/>
              <a:gd name="connsiteX10" fmla="*/ 4923692 w 5779477"/>
              <a:gd name="connsiteY10" fmla="*/ 2163235 h 4179604"/>
              <a:gd name="connsiteX11" fmla="*/ 4947138 w 5779477"/>
              <a:gd name="connsiteY11" fmla="*/ 2157373 h 4179604"/>
              <a:gd name="connsiteX12" fmla="*/ 5081954 w 5779477"/>
              <a:gd name="connsiteY12" fmla="*/ 2133927 h 4179604"/>
              <a:gd name="connsiteX13" fmla="*/ 5134708 w 5779477"/>
              <a:gd name="connsiteY13" fmla="*/ 2151511 h 4179604"/>
              <a:gd name="connsiteX14" fmla="*/ 5181600 w 5779477"/>
              <a:gd name="connsiteY14" fmla="*/ 2092897 h 4179604"/>
              <a:gd name="connsiteX15" fmla="*/ 5269523 w 5779477"/>
              <a:gd name="connsiteY15" fmla="*/ 2069450 h 4179604"/>
              <a:gd name="connsiteX16" fmla="*/ 5187461 w 5779477"/>
              <a:gd name="connsiteY16" fmla="*/ 2139789 h 4179604"/>
              <a:gd name="connsiteX17" fmla="*/ 5228492 w 5779477"/>
              <a:gd name="connsiteY17" fmla="*/ 2057728 h 4179604"/>
              <a:gd name="connsiteX18" fmla="*/ 5339861 w 5779477"/>
              <a:gd name="connsiteY18" fmla="*/ 1612250 h 4179604"/>
              <a:gd name="connsiteX19" fmla="*/ 5357446 w 5779477"/>
              <a:gd name="connsiteY19" fmla="*/ 1565358 h 4179604"/>
              <a:gd name="connsiteX20" fmla="*/ 5451231 w 5779477"/>
              <a:gd name="connsiteY20" fmla="*/ 1407096 h 4179604"/>
              <a:gd name="connsiteX21" fmla="*/ 5474677 w 5779477"/>
              <a:gd name="connsiteY21" fmla="*/ 1371927 h 4179604"/>
              <a:gd name="connsiteX22" fmla="*/ 5492261 w 5779477"/>
              <a:gd name="connsiteY22" fmla="*/ 1348481 h 4179604"/>
              <a:gd name="connsiteX23" fmla="*/ 5503985 w 5779477"/>
              <a:gd name="connsiteY23" fmla="*/ 1319173 h 4179604"/>
              <a:gd name="connsiteX24" fmla="*/ 5533292 w 5779477"/>
              <a:gd name="connsiteY24" fmla="*/ 1266420 h 4179604"/>
              <a:gd name="connsiteX25" fmla="*/ 5556738 w 5779477"/>
              <a:gd name="connsiteY25" fmla="*/ 1219527 h 4179604"/>
              <a:gd name="connsiteX26" fmla="*/ 5603631 w 5779477"/>
              <a:gd name="connsiteY26" fmla="*/ 1155050 h 4179604"/>
              <a:gd name="connsiteX27" fmla="*/ 5668108 w 5779477"/>
              <a:gd name="connsiteY27" fmla="*/ 1020235 h 4179604"/>
              <a:gd name="connsiteX28" fmla="*/ 5709138 w 5779477"/>
              <a:gd name="connsiteY28" fmla="*/ 926450 h 4179604"/>
              <a:gd name="connsiteX29" fmla="*/ 5732585 w 5779477"/>
              <a:gd name="connsiteY29" fmla="*/ 867835 h 4179604"/>
              <a:gd name="connsiteX30" fmla="*/ 5744308 w 5779477"/>
              <a:gd name="connsiteY30" fmla="*/ 551312 h 4179604"/>
              <a:gd name="connsiteX31" fmla="*/ 5750169 w 5779477"/>
              <a:gd name="connsiteY31" fmla="*/ 527866 h 4179604"/>
              <a:gd name="connsiteX32" fmla="*/ 5761892 w 5779477"/>
              <a:gd name="connsiteY32" fmla="*/ 504420 h 4179604"/>
              <a:gd name="connsiteX33" fmla="*/ 5767754 w 5779477"/>
              <a:gd name="connsiteY33" fmla="*/ 475112 h 4179604"/>
              <a:gd name="connsiteX34" fmla="*/ 5773615 w 5779477"/>
              <a:gd name="connsiteY34" fmla="*/ 457527 h 4179604"/>
              <a:gd name="connsiteX35" fmla="*/ 5779477 w 5779477"/>
              <a:gd name="connsiteY35" fmla="*/ 369604 h 4179604"/>
              <a:gd name="connsiteX36" fmla="*/ 5767754 w 5779477"/>
              <a:gd name="connsiteY36" fmla="*/ 141004 h 4179604"/>
              <a:gd name="connsiteX37" fmla="*/ 5761892 w 5779477"/>
              <a:gd name="connsiteY37" fmla="*/ 105835 h 4179604"/>
              <a:gd name="connsiteX38" fmla="*/ 5750169 w 5779477"/>
              <a:gd name="connsiteY38" fmla="*/ 88250 h 4179604"/>
              <a:gd name="connsiteX39" fmla="*/ 5744308 w 5779477"/>
              <a:gd name="connsiteY39" fmla="*/ 64804 h 4179604"/>
              <a:gd name="connsiteX40" fmla="*/ 5691554 w 5779477"/>
              <a:gd name="connsiteY40" fmla="*/ 70666 h 4179604"/>
              <a:gd name="connsiteX41" fmla="*/ 5615354 w 5779477"/>
              <a:gd name="connsiteY41" fmla="*/ 58943 h 4179604"/>
              <a:gd name="connsiteX42" fmla="*/ 5533292 w 5779477"/>
              <a:gd name="connsiteY42" fmla="*/ 29635 h 4179604"/>
              <a:gd name="connsiteX43" fmla="*/ 5492261 w 5779477"/>
              <a:gd name="connsiteY43" fmla="*/ 12050 h 4179604"/>
              <a:gd name="connsiteX44" fmla="*/ 5427785 w 5779477"/>
              <a:gd name="connsiteY44" fmla="*/ 327 h 4179604"/>
              <a:gd name="connsiteX45" fmla="*/ 5257800 w 5779477"/>
              <a:gd name="connsiteY45" fmla="*/ 12050 h 4179604"/>
              <a:gd name="connsiteX46" fmla="*/ 5122985 w 5779477"/>
              <a:gd name="connsiteY46" fmla="*/ 41358 h 4179604"/>
              <a:gd name="connsiteX47" fmla="*/ 5058508 w 5779477"/>
              <a:gd name="connsiteY47" fmla="*/ 47220 h 4179604"/>
              <a:gd name="connsiteX48" fmla="*/ 3552092 w 5779477"/>
              <a:gd name="connsiteY48" fmla="*/ 58943 h 4179604"/>
              <a:gd name="connsiteX49" fmla="*/ 3376246 w 5779477"/>
              <a:gd name="connsiteY49" fmla="*/ 70666 h 4179604"/>
              <a:gd name="connsiteX50" fmla="*/ 3124200 w 5779477"/>
              <a:gd name="connsiteY50" fmla="*/ 76527 h 4179604"/>
              <a:gd name="connsiteX51" fmla="*/ 3053861 w 5779477"/>
              <a:gd name="connsiteY51" fmla="*/ 111696 h 4179604"/>
              <a:gd name="connsiteX52" fmla="*/ 2995246 w 5779477"/>
              <a:gd name="connsiteY52" fmla="*/ 176173 h 4179604"/>
              <a:gd name="connsiteX53" fmla="*/ 2895600 w 5779477"/>
              <a:gd name="connsiteY53" fmla="*/ 357881 h 4179604"/>
              <a:gd name="connsiteX54" fmla="*/ 2878015 w 5779477"/>
              <a:gd name="connsiteY54" fmla="*/ 510281 h 4179604"/>
              <a:gd name="connsiteX55" fmla="*/ 2883877 w 5779477"/>
              <a:gd name="connsiteY55" fmla="*/ 580620 h 4179604"/>
              <a:gd name="connsiteX56" fmla="*/ 3036277 w 5779477"/>
              <a:gd name="connsiteY56" fmla="*/ 891281 h 4179604"/>
              <a:gd name="connsiteX57" fmla="*/ 3100754 w 5779477"/>
              <a:gd name="connsiteY57" fmla="*/ 996789 h 4179604"/>
              <a:gd name="connsiteX58" fmla="*/ 3153508 w 5779477"/>
              <a:gd name="connsiteY58" fmla="*/ 1096435 h 4179604"/>
              <a:gd name="connsiteX59" fmla="*/ 3294185 w 5779477"/>
              <a:gd name="connsiteY59" fmla="*/ 1412958 h 4179604"/>
              <a:gd name="connsiteX60" fmla="*/ 3411415 w 5779477"/>
              <a:gd name="connsiteY60" fmla="*/ 1618112 h 4179604"/>
              <a:gd name="connsiteX61" fmla="*/ 3458308 w 5779477"/>
              <a:gd name="connsiteY61" fmla="*/ 1700173 h 4179604"/>
              <a:gd name="connsiteX62" fmla="*/ 3487615 w 5779477"/>
              <a:gd name="connsiteY62" fmla="*/ 1747066 h 4179604"/>
              <a:gd name="connsiteX63" fmla="*/ 3522785 w 5779477"/>
              <a:gd name="connsiteY63" fmla="*/ 1817404 h 4179604"/>
              <a:gd name="connsiteX64" fmla="*/ 3528646 w 5779477"/>
              <a:gd name="connsiteY64" fmla="*/ 1846712 h 4179604"/>
              <a:gd name="connsiteX65" fmla="*/ 3546231 w 5779477"/>
              <a:gd name="connsiteY65" fmla="*/ 1887743 h 4179604"/>
              <a:gd name="connsiteX66" fmla="*/ 3557954 w 5779477"/>
              <a:gd name="connsiteY66" fmla="*/ 1952220 h 4179604"/>
              <a:gd name="connsiteX67" fmla="*/ 3540369 w 5779477"/>
              <a:gd name="connsiteY67" fmla="*/ 2016696 h 4179604"/>
              <a:gd name="connsiteX68" fmla="*/ 3417277 w 5779477"/>
              <a:gd name="connsiteY68" fmla="*/ 2075312 h 4179604"/>
              <a:gd name="connsiteX69" fmla="*/ 3288323 w 5779477"/>
              <a:gd name="connsiteY69" fmla="*/ 1846712 h 4179604"/>
              <a:gd name="connsiteX70" fmla="*/ 3259015 w 5779477"/>
              <a:gd name="connsiteY70" fmla="*/ 1682589 h 4179604"/>
              <a:gd name="connsiteX71" fmla="*/ 3223846 w 5779477"/>
              <a:gd name="connsiteY71" fmla="*/ 1442266 h 4179604"/>
              <a:gd name="connsiteX72" fmla="*/ 3217985 w 5779477"/>
              <a:gd name="connsiteY72" fmla="*/ 1377789 h 4179604"/>
              <a:gd name="connsiteX73" fmla="*/ 3194538 w 5779477"/>
              <a:gd name="connsiteY73" fmla="*/ 1307450 h 4179604"/>
              <a:gd name="connsiteX74" fmla="*/ 3153508 w 5779477"/>
              <a:gd name="connsiteY74" fmla="*/ 1166773 h 4179604"/>
              <a:gd name="connsiteX75" fmla="*/ 3001108 w 5779477"/>
              <a:gd name="connsiteY75" fmla="*/ 867835 h 4179604"/>
              <a:gd name="connsiteX76" fmla="*/ 2965938 w 5779477"/>
              <a:gd name="connsiteY76" fmla="*/ 791635 h 4179604"/>
              <a:gd name="connsiteX77" fmla="*/ 2936631 w 5779477"/>
              <a:gd name="connsiteY77" fmla="*/ 721296 h 4179604"/>
              <a:gd name="connsiteX78" fmla="*/ 2924908 w 5779477"/>
              <a:gd name="connsiteY78" fmla="*/ 703712 h 4179604"/>
              <a:gd name="connsiteX79" fmla="*/ 2907323 w 5779477"/>
              <a:gd name="connsiteY79" fmla="*/ 633373 h 4179604"/>
              <a:gd name="connsiteX80" fmla="*/ 2889738 w 5779477"/>
              <a:gd name="connsiteY80" fmla="*/ 609927 h 4179604"/>
              <a:gd name="connsiteX81" fmla="*/ 2878015 w 5779477"/>
              <a:gd name="connsiteY81" fmla="*/ 451666 h 4179604"/>
              <a:gd name="connsiteX82" fmla="*/ 2866292 w 5779477"/>
              <a:gd name="connsiteY82" fmla="*/ 340296 h 4179604"/>
              <a:gd name="connsiteX83" fmla="*/ 2848708 w 5779477"/>
              <a:gd name="connsiteY83" fmla="*/ 240650 h 4179604"/>
              <a:gd name="connsiteX84" fmla="*/ 2784231 w 5779477"/>
              <a:gd name="connsiteY84" fmla="*/ 135143 h 4179604"/>
              <a:gd name="connsiteX85" fmla="*/ 2608385 w 5779477"/>
              <a:gd name="connsiteY85" fmla="*/ 64805 h 4179604"/>
              <a:gd name="connsiteX86" fmla="*/ 2573215 w 5779477"/>
              <a:gd name="connsiteY86" fmla="*/ 41358 h 4179604"/>
              <a:gd name="connsiteX87" fmla="*/ 2491154 w 5779477"/>
              <a:gd name="connsiteY87" fmla="*/ 327 h 4179604"/>
              <a:gd name="connsiteX88" fmla="*/ 2403231 w 5779477"/>
              <a:gd name="connsiteY88" fmla="*/ 23773 h 4179604"/>
              <a:gd name="connsiteX89" fmla="*/ 2356338 w 5779477"/>
              <a:gd name="connsiteY89" fmla="*/ 41358 h 4179604"/>
              <a:gd name="connsiteX90" fmla="*/ 2315308 w 5779477"/>
              <a:gd name="connsiteY90" fmla="*/ 47220 h 4179604"/>
              <a:gd name="connsiteX91" fmla="*/ 2268415 w 5779477"/>
              <a:gd name="connsiteY91" fmla="*/ 58943 h 4179604"/>
              <a:gd name="connsiteX92" fmla="*/ 2063261 w 5779477"/>
              <a:gd name="connsiteY92" fmla="*/ 53081 h 4179604"/>
              <a:gd name="connsiteX93" fmla="*/ 2010508 w 5779477"/>
              <a:gd name="connsiteY93" fmla="*/ 41358 h 4179604"/>
              <a:gd name="connsiteX94" fmla="*/ 1951892 w 5779477"/>
              <a:gd name="connsiteY94" fmla="*/ 29635 h 4179604"/>
              <a:gd name="connsiteX95" fmla="*/ 1471246 w 5779477"/>
              <a:gd name="connsiteY95" fmla="*/ 29635 h 4179604"/>
              <a:gd name="connsiteX96" fmla="*/ 779585 w 5779477"/>
              <a:gd name="connsiteY96" fmla="*/ 41358 h 4179604"/>
              <a:gd name="connsiteX97" fmla="*/ 726831 w 5779477"/>
              <a:gd name="connsiteY97" fmla="*/ 47220 h 4179604"/>
              <a:gd name="connsiteX98" fmla="*/ 656492 w 5779477"/>
              <a:gd name="connsiteY98" fmla="*/ 53081 h 4179604"/>
              <a:gd name="connsiteX99" fmla="*/ 621323 w 5779477"/>
              <a:gd name="connsiteY99" fmla="*/ 58943 h 4179604"/>
              <a:gd name="connsiteX100" fmla="*/ 486508 w 5779477"/>
              <a:gd name="connsiteY100" fmla="*/ 70666 h 4179604"/>
              <a:gd name="connsiteX101" fmla="*/ 357554 w 5779477"/>
              <a:gd name="connsiteY101" fmla="*/ 76527 h 4179604"/>
              <a:gd name="connsiteX102" fmla="*/ 322385 w 5779477"/>
              <a:gd name="connsiteY102" fmla="*/ 99973 h 4179604"/>
              <a:gd name="connsiteX103" fmla="*/ 193431 w 5779477"/>
              <a:gd name="connsiteY103" fmla="*/ 211343 h 4179604"/>
              <a:gd name="connsiteX104" fmla="*/ 99646 w 5779477"/>
              <a:gd name="connsiteY104" fmla="*/ 398912 h 4179604"/>
              <a:gd name="connsiteX105" fmla="*/ 0 w 5779477"/>
              <a:gd name="connsiteY105" fmla="*/ 1131604 h 4179604"/>
              <a:gd name="connsiteX106" fmla="*/ 17585 w 5779477"/>
              <a:gd name="connsiteY106" fmla="*/ 1928773 h 4179604"/>
              <a:gd name="connsiteX107" fmla="*/ 70338 w 5779477"/>
              <a:gd name="connsiteY107" fmla="*/ 2251158 h 4179604"/>
              <a:gd name="connsiteX108" fmla="*/ 123092 w 5779477"/>
              <a:gd name="connsiteY108" fmla="*/ 2473896 h 4179604"/>
              <a:gd name="connsiteX109" fmla="*/ 304800 w 5779477"/>
              <a:gd name="connsiteY109" fmla="*/ 2960404 h 4179604"/>
              <a:gd name="connsiteX110" fmla="*/ 568569 w 5779477"/>
              <a:gd name="connsiteY110" fmla="*/ 3364850 h 4179604"/>
              <a:gd name="connsiteX111" fmla="*/ 926123 w 5779477"/>
              <a:gd name="connsiteY111" fmla="*/ 3663789 h 4179604"/>
              <a:gd name="connsiteX112" fmla="*/ 1002323 w 5779477"/>
              <a:gd name="connsiteY112" fmla="*/ 3728266 h 4179604"/>
              <a:gd name="connsiteX113" fmla="*/ 1301261 w 5779477"/>
              <a:gd name="connsiteY113" fmla="*/ 3892389 h 4179604"/>
              <a:gd name="connsiteX114" fmla="*/ 1447800 w 5779477"/>
              <a:gd name="connsiteY114" fmla="*/ 3927558 h 4179604"/>
              <a:gd name="connsiteX115" fmla="*/ 1488831 w 5779477"/>
              <a:gd name="connsiteY115" fmla="*/ 3939281 h 4179604"/>
              <a:gd name="connsiteX116" fmla="*/ 1688123 w 5779477"/>
              <a:gd name="connsiteY116" fmla="*/ 3945143 h 4179604"/>
              <a:gd name="connsiteX117" fmla="*/ 1811215 w 5779477"/>
              <a:gd name="connsiteY117" fmla="*/ 3974450 h 4179604"/>
              <a:gd name="connsiteX118" fmla="*/ 1852246 w 5779477"/>
              <a:gd name="connsiteY118" fmla="*/ 3992035 h 4179604"/>
              <a:gd name="connsiteX119" fmla="*/ 1875692 w 5779477"/>
              <a:gd name="connsiteY119" fmla="*/ 4003758 h 4179604"/>
              <a:gd name="connsiteX120" fmla="*/ 1963615 w 5779477"/>
              <a:gd name="connsiteY120" fmla="*/ 4021343 h 4179604"/>
              <a:gd name="connsiteX121" fmla="*/ 2057400 w 5779477"/>
              <a:gd name="connsiteY121" fmla="*/ 4050650 h 4179604"/>
              <a:gd name="connsiteX122" fmla="*/ 2104292 w 5779477"/>
              <a:gd name="connsiteY122" fmla="*/ 4056512 h 4179604"/>
              <a:gd name="connsiteX123" fmla="*/ 2303585 w 5779477"/>
              <a:gd name="connsiteY123" fmla="*/ 4097543 h 4179604"/>
              <a:gd name="connsiteX124" fmla="*/ 2368061 w 5779477"/>
              <a:gd name="connsiteY124" fmla="*/ 4109266 h 4179604"/>
              <a:gd name="connsiteX125" fmla="*/ 2584938 w 5779477"/>
              <a:gd name="connsiteY125" fmla="*/ 4162020 h 4179604"/>
              <a:gd name="connsiteX126" fmla="*/ 2702169 w 5779477"/>
              <a:gd name="connsiteY126" fmla="*/ 4179604 h 4179604"/>
              <a:gd name="connsiteX127" fmla="*/ 2795954 w 5779477"/>
              <a:gd name="connsiteY127" fmla="*/ 4138573 h 4179604"/>
              <a:gd name="connsiteX128" fmla="*/ 2854569 w 5779477"/>
              <a:gd name="connsiteY128" fmla="*/ 4109266 h 4179604"/>
              <a:gd name="connsiteX129" fmla="*/ 3217985 w 5779477"/>
              <a:gd name="connsiteY129" fmla="*/ 4144435 h 4179604"/>
              <a:gd name="connsiteX130" fmla="*/ 3259015 w 5779477"/>
              <a:gd name="connsiteY130" fmla="*/ 4120989 h 4179604"/>
              <a:gd name="connsiteX131" fmla="*/ 3282461 w 5779477"/>
              <a:gd name="connsiteY131" fmla="*/ 4079958 h 4179604"/>
              <a:gd name="connsiteX132" fmla="*/ 3317631 w 5779477"/>
              <a:gd name="connsiteY132" fmla="*/ 4056512 h 4179604"/>
              <a:gd name="connsiteX133" fmla="*/ 3329354 w 5779477"/>
              <a:gd name="connsiteY133" fmla="*/ 4033066 h 4179604"/>
              <a:gd name="connsiteX134" fmla="*/ 3346938 w 5779477"/>
              <a:gd name="connsiteY134" fmla="*/ 4009620 h 4179604"/>
              <a:gd name="connsiteX135" fmla="*/ 3358661 w 5779477"/>
              <a:gd name="connsiteY135" fmla="*/ 3962727 h 4179604"/>
              <a:gd name="connsiteX136" fmla="*/ 3364523 w 5779477"/>
              <a:gd name="connsiteY136" fmla="*/ 3933420 h 4179604"/>
              <a:gd name="connsiteX137" fmla="*/ 3387969 w 5779477"/>
              <a:gd name="connsiteY137" fmla="*/ 3898250 h 4179604"/>
              <a:gd name="connsiteX138" fmla="*/ 3376246 w 5779477"/>
              <a:gd name="connsiteY138" fmla="*/ 3880666 h 4179604"/>
              <a:gd name="connsiteX139" fmla="*/ 3399692 w 5779477"/>
              <a:gd name="connsiteY139" fmla="*/ 3763435 h 4179604"/>
              <a:gd name="connsiteX140" fmla="*/ 3387969 w 5779477"/>
              <a:gd name="connsiteY140" fmla="*/ 3734127 h 4179604"/>
              <a:gd name="connsiteX141" fmla="*/ 3423138 w 5779477"/>
              <a:gd name="connsiteY141" fmla="*/ 3657927 h 4179604"/>
              <a:gd name="connsiteX142" fmla="*/ 3464169 w 5779477"/>
              <a:gd name="connsiteY142" fmla="*/ 3622758 h 4179604"/>
              <a:gd name="connsiteX143" fmla="*/ 3487616 w 5779477"/>
              <a:gd name="connsiteY143" fmla="*/ 3593451 h 4179604"/>
              <a:gd name="connsiteX144" fmla="*/ 3405553 w 5779477"/>
              <a:gd name="connsiteY144" fmla="*/ 3429327 h 4179604"/>
              <a:gd name="connsiteX145" fmla="*/ 3364523 w 5779477"/>
              <a:gd name="connsiteY145" fmla="*/ 3341404 h 4179604"/>
              <a:gd name="connsiteX146" fmla="*/ 3276600 w 5779477"/>
              <a:gd name="connsiteY146" fmla="*/ 3294512 h 4179604"/>
              <a:gd name="connsiteX147" fmla="*/ 3264877 w 5779477"/>
              <a:gd name="connsiteY147" fmla="*/ 3271066 h 4179604"/>
              <a:gd name="connsiteX148" fmla="*/ 3229708 w 5779477"/>
              <a:gd name="connsiteY148" fmla="*/ 3212450 h 4179604"/>
              <a:gd name="connsiteX149" fmla="*/ 3212123 w 5779477"/>
              <a:gd name="connsiteY149" fmla="*/ 3142112 h 4179604"/>
              <a:gd name="connsiteX150" fmla="*/ 3229708 w 5779477"/>
              <a:gd name="connsiteY150" fmla="*/ 2966266 h 4179604"/>
              <a:gd name="connsiteX151" fmla="*/ 3253154 w 5779477"/>
              <a:gd name="connsiteY151" fmla="*/ 2919373 h 4179604"/>
              <a:gd name="connsiteX152" fmla="*/ 3264877 w 5779477"/>
              <a:gd name="connsiteY152" fmla="*/ 2872481 h 4179604"/>
              <a:gd name="connsiteX153" fmla="*/ 3305908 w 5779477"/>
              <a:gd name="connsiteY153" fmla="*/ 2761112 h 4179604"/>
              <a:gd name="connsiteX154" fmla="*/ 3323492 w 5779477"/>
              <a:gd name="connsiteY154" fmla="*/ 2720081 h 4179604"/>
              <a:gd name="connsiteX155" fmla="*/ 3364523 w 5779477"/>
              <a:gd name="connsiteY155" fmla="*/ 2620435 h 4179604"/>
              <a:gd name="connsiteX156" fmla="*/ 3382108 w 5779477"/>
              <a:gd name="connsiteY156" fmla="*/ 2579404 h 4179604"/>
              <a:gd name="connsiteX157" fmla="*/ 3417277 w 5779477"/>
              <a:gd name="connsiteY157" fmla="*/ 2538373 h 4179604"/>
              <a:gd name="connsiteX158" fmla="*/ 3440723 w 5779477"/>
              <a:gd name="connsiteY158" fmla="*/ 2520789 h 4179604"/>
              <a:gd name="connsiteX159" fmla="*/ 3458308 w 5779477"/>
              <a:gd name="connsiteY159" fmla="*/ 2497343 h 4179604"/>
              <a:gd name="connsiteX160" fmla="*/ 3470031 w 5779477"/>
              <a:gd name="connsiteY160" fmla="*/ 2473896 h 4179604"/>
              <a:gd name="connsiteX161" fmla="*/ 3487615 w 5779477"/>
              <a:gd name="connsiteY161" fmla="*/ 2468035 h 4179604"/>
              <a:gd name="connsiteX162" fmla="*/ 3663461 w 5779477"/>
              <a:gd name="connsiteY162" fmla="*/ 2491481 h 4179604"/>
              <a:gd name="connsiteX163" fmla="*/ 3722077 w 5779477"/>
              <a:gd name="connsiteY163" fmla="*/ 2509066 h 4179604"/>
              <a:gd name="connsiteX164" fmla="*/ 3804138 w 5779477"/>
              <a:gd name="connsiteY164" fmla="*/ 2514927 h 4179604"/>
              <a:gd name="connsiteX165" fmla="*/ 4366846 w 5779477"/>
              <a:gd name="connsiteY165" fmla="*/ 2532512 h 4179604"/>
              <a:gd name="connsiteX166" fmla="*/ 4472354 w 5779477"/>
              <a:gd name="connsiteY166" fmla="*/ 2514927 h 4179604"/>
              <a:gd name="connsiteX167" fmla="*/ 4495800 w 5779477"/>
              <a:gd name="connsiteY167" fmla="*/ 2491481 h 4179604"/>
              <a:gd name="connsiteX168" fmla="*/ 4513385 w 5779477"/>
              <a:gd name="connsiteY168" fmla="*/ 2485620 h 4179604"/>
              <a:gd name="connsiteX169" fmla="*/ 4536831 w 5779477"/>
              <a:gd name="connsiteY169" fmla="*/ 2462173 h 4179604"/>
              <a:gd name="connsiteX170" fmla="*/ 4554415 w 5779477"/>
              <a:gd name="connsiteY170" fmla="*/ 2456312 h 4179604"/>
              <a:gd name="connsiteX171" fmla="*/ 4577861 w 5779477"/>
              <a:gd name="connsiteY171" fmla="*/ 2444589 h 4179604"/>
              <a:gd name="connsiteX172" fmla="*/ 4601308 w 5779477"/>
              <a:gd name="connsiteY172" fmla="*/ 2427004 h 4179604"/>
              <a:gd name="connsiteX173" fmla="*/ 4618892 w 5779477"/>
              <a:gd name="connsiteY173" fmla="*/ 2421143 h 4179604"/>
              <a:gd name="connsiteX174" fmla="*/ 4648200 w 5779477"/>
              <a:gd name="connsiteY174" fmla="*/ 2403558 h 4179604"/>
              <a:gd name="connsiteX175" fmla="*/ 4624754 w 5779477"/>
              <a:gd name="connsiteY175" fmla="*/ 2385973 h 4179604"/>
              <a:gd name="connsiteX0" fmla="*/ 4624754 w 5779477"/>
              <a:gd name="connsiteY0" fmla="*/ 2385973 h 4179604"/>
              <a:gd name="connsiteX1" fmla="*/ 4700954 w 5779477"/>
              <a:gd name="connsiteY1" fmla="*/ 2362527 h 4179604"/>
              <a:gd name="connsiteX2" fmla="*/ 4706815 w 5779477"/>
              <a:gd name="connsiteY2" fmla="*/ 2303912 h 4179604"/>
              <a:gd name="connsiteX3" fmla="*/ 4712677 w 5779477"/>
              <a:gd name="connsiteY3" fmla="*/ 2286327 h 4179604"/>
              <a:gd name="connsiteX4" fmla="*/ 4741985 w 5779477"/>
              <a:gd name="connsiteY4" fmla="*/ 2262881 h 4179604"/>
              <a:gd name="connsiteX5" fmla="*/ 4771292 w 5779477"/>
              <a:gd name="connsiteY5" fmla="*/ 2239435 h 4179604"/>
              <a:gd name="connsiteX6" fmla="*/ 4806461 w 5779477"/>
              <a:gd name="connsiteY6" fmla="*/ 2210127 h 4179604"/>
              <a:gd name="connsiteX7" fmla="*/ 4818185 w 5779477"/>
              <a:gd name="connsiteY7" fmla="*/ 2198404 h 4179604"/>
              <a:gd name="connsiteX8" fmla="*/ 4870938 w 5779477"/>
              <a:gd name="connsiteY8" fmla="*/ 2180820 h 4179604"/>
              <a:gd name="connsiteX9" fmla="*/ 4888523 w 5779477"/>
              <a:gd name="connsiteY9" fmla="*/ 2169096 h 4179604"/>
              <a:gd name="connsiteX10" fmla="*/ 4923692 w 5779477"/>
              <a:gd name="connsiteY10" fmla="*/ 2163235 h 4179604"/>
              <a:gd name="connsiteX11" fmla="*/ 4947138 w 5779477"/>
              <a:gd name="connsiteY11" fmla="*/ 2157373 h 4179604"/>
              <a:gd name="connsiteX12" fmla="*/ 5081954 w 5779477"/>
              <a:gd name="connsiteY12" fmla="*/ 2133927 h 4179604"/>
              <a:gd name="connsiteX13" fmla="*/ 5134708 w 5779477"/>
              <a:gd name="connsiteY13" fmla="*/ 2151511 h 4179604"/>
              <a:gd name="connsiteX14" fmla="*/ 5181600 w 5779477"/>
              <a:gd name="connsiteY14" fmla="*/ 2092897 h 4179604"/>
              <a:gd name="connsiteX15" fmla="*/ 5269523 w 5779477"/>
              <a:gd name="connsiteY15" fmla="*/ 2069450 h 4179604"/>
              <a:gd name="connsiteX16" fmla="*/ 5187461 w 5779477"/>
              <a:gd name="connsiteY16" fmla="*/ 2139789 h 4179604"/>
              <a:gd name="connsiteX17" fmla="*/ 5228492 w 5779477"/>
              <a:gd name="connsiteY17" fmla="*/ 2057728 h 4179604"/>
              <a:gd name="connsiteX18" fmla="*/ 5339861 w 5779477"/>
              <a:gd name="connsiteY18" fmla="*/ 1612250 h 4179604"/>
              <a:gd name="connsiteX19" fmla="*/ 5482632 w 5779477"/>
              <a:gd name="connsiteY19" fmla="*/ 1565358 h 4179604"/>
              <a:gd name="connsiteX20" fmla="*/ 5451231 w 5779477"/>
              <a:gd name="connsiteY20" fmla="*/ 1407096 h 4179604"/>
              <a:gd name="connsiteX21" fmla="*/ 5474677 w 5779477"/>
              <a:gd name="connsiteY21" fmla="*/ 1371927 h 4179604"/>
              <a:gd name="connsiteX22" fmla="*/ 5492261 w 5779477"/>
              <a:gd name="connsiteY22" fmla="*/ 1348481 h 4179604"/>
              <a:gd name="connsiteX23" fmla="*/ 5503985 w 5779477"/>
              <a:gd name="connsiteY23" fmla="*/ 1319173 h 4179604"/>
              <a:gd name="connsiteX24" fmla="*/ 5533292 w 5779477"/>
              <a:gd name="connsiteY24" fmla="*/ 1266420 h 4179604"/>
              <a:gd name="connsiteX25" fmla="*/ 5556738 w 5779477"/>
              <a:gd name="connsiteY25" fmla="*/ 1219527 h 4179604"/>
              <a:gd name="connsiteX26" fmla="*/ 5603631 w 5779477"/>
              <a:gd name="connsiteY26" fmla="*/ 1155050 h 4179604"/>
              <a:gd name="connsiteX27" fmla="*/ 5668108 w 5779477"/>
              <a:gd name="connsiteY27" fmla="*/ 1020235 h 4179604"/>
              <a:gd name="connsiteX28" fmla="*/ 5709138 w 5779477"/>
              <a:gd name="connsiteY28" fmla="*/ 926450 h 4179604"/>
              <a:gd name="connsiteX29" fmla="*/ 5732585 w 5779477"/>
              <a:gd name="connsiteY29" fmla="*/ 867835 h 4179604"/>
              <a:gd name="connsiteX30" fmla="*/ 5744308 w 5779477"/>
              <a:gd name="connsiteY30" fmla="*/ 551312 h 4179604"/>
              <a:gd name="connsiteX31" fmla="*/ 5750169 w 5779477"/>
              <a:gd name="connsiteY31" fmla="*/ 527866 h 4179604"/>
              <a:gd name="connsiteX32" fmla="*/ 5761892 w 5779477"/>
              <a:gd name="connsiteY32" fmla="*/ 504420 h 4179604"/>
              <a:gd name="connsiteX33" fmla="*/ 5767754 w 5779477"/>
              <a:gd name="connsiteY33" fmla="*/ 475112 h 4179604"/>
              <a:gd name="connsiteX34" fmla="*/ 5773615 w 5779477"/>
              <a:gd name="connsiteY34" fmla="*/ 457527 h 4179604"/>
              <a:gd name="connsiteX35" fmla="*/ 5779477 w 5779477"/>
              <a:gd name="connsiteY35" fmla="*/ 369604 h 4179604"/>
              <a:gd name="connsiteX36" fmla="*/ 5767754 w 5779477"/>
              <a:gd name="connsiteY36" fmla="*/ 141004 h 4179604"/>
              <a:gd name="connsiteX37" fmla="*/ 5761892 w 5779477"/>
              <a:gd name="connsiteY37" fmla="*/ 105835 h 4179604"/>
              <a:gd name="connsiteX38" fmla="*/ 5750169 w 5779477"/>
              <a:gd name="connsiteY38" fmla="*/ 88250 h 4179604"/>
              <a:gd name="connsiteX39" fmla="*/ 5744308 w 5779477"/>
              <a:gd name="connsiteY39" fmla="*/ 64804 h 4179604"/>
              <a:gd name="connsiteX40" fmla="*/ 5691554 w 5779477"/>
              <a:gd name="connsiteY40" fmla="*/ 70666 h 4179604"/>
              <a:gd name="connsiteX41" fmla="*/ 5615354 w 5779477"/>
              <a:gd name="connsiteY41" fmla="*/ 58943 h 4179604"/>
              <a:gd name="connsiteX42" fmla="*/ 5533292 w 5779477"/>
              <a:gd name="connsiteY42" fmla="*/ 29635 h 4179604"/>
              <a:gd name="connsiteX43" fmla="*/ 5492261 w 5779477"/>
              <a:gd name="connsiteY43" fmla="*/ 12050 h 4179604"/>
              <a:gd name="connsiteX44" fmla="*/ 5427785 w 5779477"/>
              <a:gd name="connsiteY44" fmla="*/ 327 h 4179604"/>
              <a:gd name="connsiteX45" fmla="*/ 5257800 w 5779477"/>
              <a:gd name="connsiteY45" fmla="*/ 12050 h 4179604"/>
              <a:gd name="connsiteX46" fmla="*/ 5122985 w 5779477"/>
              <a:gd name="connsiteY46" fmla="*/ 41358 h 4179604"/>
              <a:gd name="connsiteX47" fmla="*/ 5058508 w 5779477"/>
              <a:gd name="connsiteY47" fmla="*/ 47220 h 4179604"/>
              <a:gd name="connsiteX48" fmla="*/ 3552092 w 5779477"/>
              <a:gd name="connsiteY48" fmla="*/ 58943 h 4179604"/>
              <a:gd name="connsiteX49" fmla="*/ 3376246 w 5779477"/>
              <a:gd name="connsiteY49" fmla="*/ 70666 h 4179604"/>
              <a:gd name="connsiteX50" fmla="*/ 3124200 w 5779477"/>
              <a:gd name="connsiteY50" fmla="*/ 76527 h 4179604"/>
              <a:gd name="connsiteX51" fmla="*/ 3053861 w 5779477"/>
              <a:gd name="connsiteY51" fmla="*/ 111696 h 4179604"/>
              <a:gd name="connsiteX52" fmla="*/ 2995246 w 5779477"/>
              <a:gd name="connsiteY52" fmla="*/ 176173 h 4179604"/>
              <a:gd name="connsiteX53" fmla="*/ 2895600 w 5779477"/>
              <a:gd name="connsiteY53" fmla="*/ 357881 h 4179604"/>
              <a:gd name="connsiteX54" fmla="*/ 2878015 w 5779477"/>
              <a:gd name="connsiteY54" fmla="*/ 510281 h 4179604"/>
              <a:gd name="connsiteX55" fmla="*/ 2883877 w 5779477"/>
              <a:gd name="connsiteY55" fmla="*/ 580620 h 4179604"/>
              <a:gd name="connsiteX56" fmla="*/ 3036277 w 5779477"/>
              <a:gd name="connsiteY56" fmla="*/ 891281 h 4179604"/>
              <a:gd name="connsiteX57" fmla="*/ 3100754 w 5779477"/>
              <a:gd name="connsiteY57" fmla="*/ 996789 h 4179604"/>
              <a:gd name="connsiteX58" fmla="*/ 3153508 w 5779477"/>
              <a:gd name="connsiteY58" fmla="*/ 1096435 h 4179604"/>
              <a:gd name="connsiteX59" fmla="*/ 3294185 w 5779477"/>
              <a:gd name="connsiteY59" fmla="*/ 1412958 h 4179604"/>
              <a:gd name="connsiteX60" fmla="*/ 3411415 w 5779477"/>
              <a:gd name="connsiteY60" fmla="*/ 1618112 h 4179604"/>
              <a:gd name="connsiteX61" fmla="*/ 3458308 w 5779477"/>
              <a:gd name="connsiteY61" fmla="*/ 1700173 h 4179604"/>
              <a:gd name="connsiteX62" fmla="*/ 3487615 w 5779477"/>
              <a:gd name="connsiteY62" fmla="*/ 1747066 h 4179604"/>
              <a:gd name="connsiteX63" fmla="*/ 3522785 w 5779477"/>
              <a:gd name="connsiteY63" fmla="*/ 1817404 h 4179604"/>
              <a:gd name="connsiteX64" fmla="*/ 3528646 w 5779477"/>
              <a:gd name="connsiteY64" fmla="*/ 1846712 h 4179604"/>
              <a:gd name="connsiteX65" fmla="*/ 3546231 w 5779477"/>
              <a:gd name="connsiteY65" fmla="*/ 1887743 h 4179604"/>
              <a:gd name="connsiteX66" fmla="*/ 3557954 w 5779477"/>
              <a:gd name="connsiteY66" fmla="*/ 1952220 h 4179604"/>
              <a:gd name="connsiteX67" fmla="*/ 3540369 w 5779477"/>
              <a:gd name="connsiteY67" fmla="*/ 2016696 h 4179604"/>
              <a:gd name="connsiteX68" fmla="*/ 3417277 w 5779477"/>
              <a:gd name="connsiteY68" fmla="*/ 2075312 h 4179604"/>
              <a:gd name="connsiteX69" fmla="*/ 3288323 w 5779477"/>
              <a:gd name="connsiteY69" fmla="*/ 1846712 h 4179604"/>
              <a:gd name="connsiteX70" fmla="*/ 3259015 w 5779477"/>
              <a:gd name="connsiteY70" fmla="*/ 1682589 h 4179604"/>
              <a:gd name="connsiteX71" fmla="*/ 3223846 w 5779477"/>
              <a:gd name="connsiteY71" fmla="*/ 1442266 h 4179604"/>
              <a:gd name="connsiteX72" fmla="*/ 3217985 w 5779477"/>
              <a:gd name="connsiteY72" fmla="*/ 1377789 h 4179604"/>
              <a:gd name="connsiteX73" fmla="*/ 3194538 w 5779477"/>
              <a:gd name="connsiteY73" fmla="*/ 1307450 h 4179604"/>
              <a:gd name="connsiteX74" fmla="*/ 3153508 w 5779477"/>
              <a:gd name="connsiteY74" fmla="*/ 1166773 h 4179604"/>
              <a:gd name="connsiteX75" fmla="*/ 3001108 w 5779477"/>
              <a:gd name="connsiteY75" fmla="*/ 867835 h 4179604"/>
              <a:gd name="connsiteX76" fmla="*/ 2965938 w 5779477"/>
              <a:gd name="connsiteY76" fmla="*/ 791635 h 4179604"/>
              <a:gd name="connsiteX77" fmla="*/ 2936631 w 5779477"/>
              <a:gd name="connsiteY77" fmla="*/ 721296 h 4179604"/>
              <a:gd name="connsiteX78" fmla="*/ 2924908 w 5779477"/>
              <a:gd name="connsiteY78" fmla="*/ 703712 h 4179604"/>
              <a:gd name="connsiteX79" fmla="*/ 2907323 w 5779477"/>
              <a:gd name="connsiteY79" fmla="*/ 633373 h 4179604"/>
              <a:gd name="connsiteX80" fmla="*/ 2889738 w 5779477"/>
              <a:gd name="connsiteY80" fmla="*/ 609927 h 4179604"/>
              <a:gd name="connsiteX81" fmla="*/ 2878015 w 5779477"/>
              <a:gd name="connsiteY81" fmla="*/ 451666 h 4179604"/>
              <a:gd name="connsiteX82" fmla="*/ 2866292 w 5779477"/>
              <a:gd name="connsiteY82" fmla="*/ 340296 h 4179604"/>
              <a:gd name="connsiteX83" fmla="*/ 2848708 w 5779477"/>
              <a:gd name="connsiteY83" fmla="*/ 240650 h 4179604"/>
              <a:gd name="connsiteX84" fmla="*/ 2784231 w 5779477"/>
              <a:gd name="connsiteY84" fmla="*/ 135143 h 4179604"/>
              <a:gd name="connsiteX85" fmla="*/ 2608385 w 5779477"/>
              <a:gd name="connsiteY85" fmla="*/ 64805 h 4179604"/>
              <a:gd name="connsiteX86" fmla="*/ 2573215 w 5779477"/>
              <a:gd name="connsiteY86" fmla="*/ 41358 h 4179604"/>
              <a:gd name="connsiteX87" fmla="*/ 2491154 w 5779477"/>
              <a:gd name="connsiteY87" fmla="*/ 327 h 4179604"/>
              <a:gd name="connsiteX88" fmla="*/ 2403231 w 5779477"/>
              <a:gd name="connsiteY88" fmla="*/ 23773 h 4179604"/>
              <a:gd name="connsiteX89" fmla="*/ 2356338 w 5779477"/>
              <a:gd name="connsiteY89" fmla="*/ 41358 h 4179604"/>
              <a:gd name="connsiteX90" fmla="*/ 2315308 w 5779477"/>
              <a:gd name="connsiteY90" fmla="*/ 47220 h 4179604"/>
              <a:gd name="connsiteX91" fmla="*/ 2268415 w 5779477"/>
              <a:gd name="connsiteY91" fmla="*/ 58943 h 4179604"/>
              <a:gd name="connsiteX92" fmla="*/ 2063261 w 5779477"/>
              <a:gd name="connsiteY92" fmla="*/ 53081 h 4179604"/>
              <a:gd name="connsiteX93" fmla="*/ 2010508 w 5779477"/>
              <a:gd name="connsiteY93" fmla="*/ 41358 h 4179604"/>
              <a:gd name="connsiteX94" fmla="*/ 1951892 w 5779477"/>
              <a:gd name="connsiteY94" fmla="*/ 29635 h 4179604"/>
              <a:gd name="connsiteX95" fmla="*/ 1471246 w 5779477"/>
              <a:gd name="connsiteY95" fmla="*/ 29635 h 4179604"/>
              <a:gd name="connsiteX96" fmla="*/ 779585 w 5779477"/>
              <a:gd name="connsiteY96" fmla="*/ 41358 h 4179604"/>
              <a:gd name="connsiteX97" fmla="*/ 726831 w 5779477"/>
              <a:gd name="connsiteY97" fmla="*/ 47220 h 4179604"/>
              <a:gd name="connsiteX98" fmla="*/ 656492 w 5779477"/>
              <a:gd name="connsiteY98" fmla="*/ 53081 h 4179604"/>
              <a:gd name="connsiteX99" fmla="*/ 621323 w 5779477"/>
              <a:gd name="connsiteY99" fmla="*/ 58943 h 4179604"/>
              <a:gd name="connsiteX100" fmla="*/ 486508 w 5779477"/>
              <a:gd name="connsiteY100" fmla="*/ 70666 h 4179604"/>
              <a:gd name="connsiteX101" fmla="*/ 357554 w 5779477"/>
              <a:gd name="connsiteY101" fmla="*/ 76527 h 4179604"/>
              <a:gd name="connsiteX102" fmla="*/ 322385 w 5779477"/>
              <a:gd name="connsiteY102" fmla="*/ 99973 h 4179604"/>
              <a:gd name="connsiteX103" fmla="*/ 193431 w 5779477"/>
              <a:gd name="connsiteY103" fmla="*/ 211343 h 4179604"/>
              <a:gd name="connsiteX104" fmla="*/ 99646 w 5779477"/>
              <a:gd name="connsiteY104" fmla="*/ 398912 h 4179604"/>
              <a:gd name="connsiteX105" fmla="*/ 0 w 5779477"/>
              <a:gd name="connsiteY105" fmla="*/ 1131604 h 4179604"/>
              <a:gd name="connsiteX106" fmla="*/ 17585 w 5779477"/>
              <a:gd name="connsiteY106" fmla="*/ 1928773 h 4179604"/>
              <a:gd name="connsiteX107" fmla="*/ 70338 w 5779477"/>
              <a:gd name="connsiteY107" fmla="*/ 2251158 h 4179604"/>
              <a:gd name="connsiteX108" fmla="*/ 123092 w 5779477"/>
              <a:gd name="connsiteY108" fmla="*/ 2473896 h 4179604"/>
              <a:gd name="connsiteX109" fmla="*/ 304800 w 5779477"/>
              <a:gd name="connsiteY109" fmla="*/ 2960404 h 4179604"/>
              <a:gd name="connsiteX110" fmla="*/ 568569 w 5779477"/>
              <a:gd name="connsiteY110" fmla="*/ 3364850 h 4179604"/>
              <a:gd name="connsiteX111" fmla="*/ 926123 w 5779477"/>
              <a:gd name="connsiteY111" fmla="*/ 3663789 h 4179604"/>
              <a:gd name="connsiteX112" fmla="*/ 1002323 w 5779477"/>
              <a:gd name="connsiteY112" fmla="*/ 3728266 h 4179604"/>
              <a:gd name="connsiteX113" fmla="*/ 1301261 w 5779477"/>
              <a:gd name="connsiteY113" fmla="*/ 3892389 h 4179604"/>
              <a:gd name="connsiteX114" fmla="*/ 1447800 w 5779477"/>
              <a:gd name="connsiteY114" fmla="*/ 3927558 h 4179604"/>
              <a:gd name="connsiteX115" fmla="*/ 1488831 w 5779477"/>
              <a:gd name="connsiteY115" fmla="*/ 3939281 h 4179604"/>
              <a:gd name="connsiteX116" fmla="*/ 1688123 w 5779477"/>
              <a:gd name="connsiteY116" fmla="*/ 3945143 h 4179604"/>
              <a:gd name="connsiteX117" fmla="*/ 1811215 w 5779477"/>
              <a:gd name="connsiteY117" fmla="*/ 3974450 h 4179604"/>
              <a:gd name="connsiteX118" fmla="*/ 1852246 w 5779477"/>
              <a:gd name="connsiteY118" fmla="*/ 3992035 h 4179604"/>
              <a:gd name="connsiteX119" fmla="*/ 1875692 w 5779477"/>
              <a:gd name="connsiteY119" fmla="*/ 4003758 h 4179604"/>
              <a:gd name="connsiteX120" fmla="*/ 1963615 w 5779477"/>
              <a:gd name="connsiteY120" fmla="*/ 4021343 h 4179604"/>
              <a:gd name="connsiteX121" fmla="*/ 2057400 w 5779477"/>
              <a:gd name="connsiteY121" fmla="*/ 4050650 h 4179604"/>
              <a:gd name="connsiteX122" fmla="*/ 2104292 w 5779477"/>
              <a:gd name="connsiteY122" fmla="*/ 4056512 h 4179604"/>
              <a:gd name="connsiteX123" fmla="*/ 2303585 w 5779477"/>
              <a:gd name="connsiteY123" fmla="*/ 4097543 h 4179604"/>
              <a:gd name="connsiteX124" fmla="*/ 2368061 w 5779477"/>
              <a:gd name="connsiteY124" fmla="*/ 4109266 h 4179604"/>
              <a:gd name="connsiteX125" fmla="*/ 2584938 w 5779477"/>
              <a:gd name="connsiteY125" fmla="*/ 4162020 h 4179604"/>
              <a:gd name="connsiteX126" fmla="*/ 2702169 w 5779477"/>
              <a:gd name="connsiteY126" fmla="*/ 4179604 h 4179604"/>
              <a:gd name="connsiteX127" fmla="*/ 2795954 w 5779477"/>
              <a:gd name="connsiteY127" fmla="*/ 4138573 h 4179604"/>
              <a:gd name="connsiteX128" fmla="*/ 2854569 w 5779477"/>
              <a:gd name="connsiteY128" fmla="*/ 4109266 h 4179604"/>
              <a:gd name="connsiteX129" fmla="*/ 3217985 w 5779477"/>
              <a:gd name="connsiteY129" fmla="*/ 4144435 h 4179604"/>
              <a:gd name="connsiteX130" fmla="*/ 3259015 w 5779477"/>
              <a:gd name="connsiteY130" fmla="*/ 4120989 h 4179604"/>
              <a:gd name="connsiteX131" fmla="*/ 3282461 w 5779477"/>
              <a:gd name="connsiteY131" fmla="*/ 4079958 h 4179604"/>
              <a:gd name="connsiteX132" fmla="*/ 3317631 w 5779477"/>
              <a:gd name="connsiteY132" fmla="*/ 4056512 h 4179604"/>
              <a:gd name="connsiteX133" fmla="*/ 3329354 w 5779477"/>
              <a:gd name="connsiteY133" fmla="*/ 4033066 h 4179604"/>
              <a:gd name="connsiteX134" fmla="*/ 3346938 w 5779477"/>
              <a:gd name="connsiteY134" fmla="*/ 4009620 h 4179604"/>
              <a:gd name="connsiteX135" fmla="*/ 3358661 w 5779477"/>
              <a:gd name="connsiteY135" fmla="*/ 3962727 h 4179604"/>
              <a:gd name="connsiteX136" fmla="*/ 3364523 w 5779477"/>
              <a:gd name="connsiteY136" fmla="*/ 3933420 h 4179604"/>
              <a:gd name="connsiteX137" fmla="*/ 3387969 w 5779477"/>
              <a:gd name="connsiteY137" fmla="*/ 3898250 h 4179604"/>
              <a:gd name="connsiteX138" fmla="*/ 3376246 w 5779477"/>
              <a:gd name="connsiteY138" fmla="*/ 3880666 h 4179604"/>
              <a:gd name="connsiteX139" fmla="*/ 3399692 w 5779477"/>
              <a:gd name="connsiteY139" fmla="*/ 3763435 h 4179604"/>
              <a:gd name="connsiteX140" fmla="*/ 3387969 w 5779477"/>
              <a:gd name="connsiteY140" fmla="*/ 3734127 h 4179604"/>
              <a:gd name="connsiteX141" fmla="*/ 3423138 w 5779477"/>
              <a:gd name="connsiteY141" fmla="*/ 3657927 h 4179604"/>
              <a:gd name="connsiteX142" fmla="*/ 3464169 w 5779477"/>
              <a:gd name="connsiteY142" fmla="*/ 3622758 h 4179604"/>
              <a:gd name="connsiteX143" fmla="*/ 3487616 w 5779477"/>
              <a:gd name="connsiteY143" fmla="*/ 3593451 h 4179604"/>
              <a:gd name="connsiteX144" fmla="*/ 3405553 w 5779477"/>
              <a:gd name="connsiteY144" fmla="*/ 3429327 h 4179604"/>
              <a:gd name="connsiteX145" fmla="*/ 3364523 w 5779477"/>
              <a:gd name="connsiteY145" fmla="*/ 3341404 h 4179604"/>
              <a:gd name="connsiteX146" fmla="*/ 3276600 w 5779477"/>
              <a:gd name="connsiteY146" fmla="*/ 3294512 h 4179604"/>
              <a:gd name="connsiteX147" fmla="*/ 3264877 w 5779477"/>
              <a:gd name="connsiteY147" fmla="*/ 3271066 h 4179604"/>
              <a:gd name="connsiteX148" fmla="*/ 3229708 w 5779477"/>
              <a:gd name="connsiteY148" fmla="*/ 3212450 h 4179604"/>
              <a:gd name="connsiteX149" fmla="*/ 3212123 w 5779477"/>
              <a:gd name="connsiteY149" fmla="*/ 3142112 h 4179604"/>
              <a:gd name="connsiteX150" fmla="*/ 3229708 w 5779477"/>
              <a:gd name="connsiteY150" fmla="*/ 2966266 h 4179604"/>
              <a:gd name="connsiteX151" fmla="*/ 3253154 w 5779477"/>
              <a:gd name="connsiteY151" fmla="*/ 2919373 h 4179604"/>
              <a:gd name="connsiteX152" fmla="*/ 3264877 w 5779477"/>
              <a:gd name="connsiteY152" fmla="*/ 2872481 h 4179604"/>
              <a:gd name="connsiteX153" fmla="*/ 3305908 w 5779477"/>
              <a:gd name="connsiteY153" fmla="*/ 2761112 h 4179604"/>
              <a:gd name="connsiteX154" fmla="*/ 3323492 w 5779477"/>
              <a:gd name="connsiteY154" fmla="*/ 2720081 h 4179604"/>
              <a:gd name="connsiteX155" fmla="*/ 3364523 w 5779477"/>
              <a:gd name="connsiteY155" fmla="*/ 2620435 h 4179604"/>
              <a:gd name="connsiteX156" fmla="*/ 3382108 w 5779477"/>
              <a:gd name="connsiteY156" fmla="*/ 2579404 h 4179604"/>
              <a:gd name="connsiteX157" fmla="*/ 3417277 w 5779477"/>
              <a:gd name="connsiteY157" fmla="*/ 2538373 h 4179604"/>
              <a:gd name="connsiteX158" fmla="*/ 3440723 w 5779477"/>
              <a:gd name="connsiteY158" fmla="*/ 2520789 h 4179604"/>
              <a:gd name="connsiteX159" fmla="*/ 3458308 w 5779477"/>
              <a:gd name="connsiteY159" fmla="*/ 2497343 h 4179604"/>
              <a:gd name="connsiteX160" fmla="*/ 3470031 w 5779477"/>
              <a:gd name="connsiteY160" fmla="*/ 2473896 h 4179604"/>
              <a:gd name="connsiteX161" fmla="*/ 3487615 w 5779477"/>
              <a:gd name="connsiteY161" fmla="*/ 2468035 h 4179604"/>
              <a:gd name="connsiteX162" fmla="*/ 3663461 w 5779477"/>
              <a:gd name="connsiteY162" fmla="*/ 2491481 h 4179604"/>
              <a:gd name="connsiteX163" fmla="*/ 3722077 w 5779477"/>
              <a:gd name="connsiteY163" fmla="*/ 2509066 h 4179604"/>
              <a:gd name="connsiteX164" fmla="*/ 3804138 w 5779477"/>
              <a:gd name="connsiteY164" fmla="*/ 2514927 h 4179604"/>
              <a:gd name="connsiteX165" fmla="*/ 4366846 w 5779477"/>
              <a:gd name="connsiteY165" fmla="*/ 2532512 h 4179604"/>
              <a:gd name="connsiteX166" fmla="*/ 4472354 w 5779477"/>
              <a:gd name="connsiteY166" fmla="*/ 2514927 h 4179604"/>
              <a:gd name="connsiteX167" fmla="*/ 4495800 w 5779477"/>
              <a:gd name="connsiteY167" fmla="*/ 2491481 h 4179604"/>
              <a:gd name="connsiteX168" fmla="*/ 4513385 w 5779477"/>
              <a:gd name="connsiteY168" fmla="*/ 2485620 h 4179604"/>
              <a:gd name="connsiteX169" fmla="*/ 4536831 w 5779477"/>
              <a:gd name="connsiteY169" fmla="*/ 2462173 h 4179604"/>
              <a:gd name="connsiteX170" fmla="*/ 4554415 w 5779477"/>
              <a:gd name="connsiteY170" fmla="*/ 2456312 h 4179604"/>
              <a:gd name="connsiteX171" fmla="*/ 4577861 w 5779477"/>
              <a:gd name="connsiteY171" fmla="*/ 2444589 h 4179604"/>
              <a:gd name="connsiteX172" fmla="*/ 4601308 w 5779477"/>
              <a:gd name="connsiteY172" fmla="*/ 2427004 h 4179604"/>
              <a:gd name="connsiteX173" fmla="*/ 4618892 w 5779477"/>
              <a:gd name="connsiteY173" fmla="*/ 2421143 h 4179604"/>
              <a:gd name="connsiteX174" fmla="*/ 4648200 w 5779477"/>
              <a:gd name="connsiteY174" fmla="*/ 2403558 h 4179604"/>
              <a:gd name="connsiteX175" fmla="*/ 4624754 w 5779477"/>
              <a:gd name="connsiteY175" fmla="*/ 2385973 h 4179604"/>
              <a:gd name="connsiteX0" fmla="*/ 4624754 w 5779477"/>
              <a:gd name="connsiteY0" fmla="*/ 2385973 h 4179604"/>
              <a:gd name="connsiteX1" fmla="*/ 4700954 w 5779477"/>
              <a:gd name="connsiteY1" fmla="*/ 2362527 h 4179604"/>
              <a:gd name="connsiteX2" fmla="*/ 4706815 w 5779477"/>
              <a:gd name="connsiteY2" fmla="*/ 2303912 h 4179604"/>
              <a:gd name="connsiteX3" fmla="*/ 4712677 w 5779477"/>
              <a:gd name="connsiteY3" fmla="*/ 2286327 h 4179604"/>
              <a:gd name="connsiteX4" fmla="*/ 4741985 w 5779477"/>
              <a:gd name="connsiteY4" fmla="*/ 2262881 h 4179604"/>
              <a:gd name="connsiteX5" fmla="*/ 4771292 w 5779477"/>
              <a:gd name="connsiteY5" fmla="*/ 2239435 h 4179604"/>
              <a:gd name="connsiteX6" fmla="*/ 4806461 w 5779477"/>
              <a:gd name="connsiteY6" fmla="*/ 2210127 h 4179604"/>
              <a:gd name="connsiteX7" fmla="*/ 4818185 w 5779477"/>
              <a:gd name="connsiteY7" fmla="*/ 2198404 h 4179604"/>
              <a:gd name="connsiteX8" fmla="*/ 4870938 w 5779477"/>
              <a:gd name="connsiteY8" fmla="*/ 2180820 h 4179604"/>
              <a:gd name="connsiteX9" fmla="*/ 4888523 w 5779477"/>
              <a:gd name="connsiteY9" fmla="*/ 2169096 h 4179604"/>
              <a:gd name="connsiteX10" fmla="*/ 4923692 w 5779477"/>
              <a:gd name="connsiteY10" fmla="*/ 2163235 h 4179604"/>
              <a:gd name="connsiteX11" fmla="*/ 4947138 w 5779477"/>
              <a:gd name="connsiteY11" fmla="*/ 2157373 h 4179604"/>
              <a:gd name="connsiteX12" fmla="*/ 5081954 w 5779477"/>
              <a:gd name="connsiteY12" fmla="*/ 2133927 h 4179604"/>
              <a:gd name="connsiteX13" fmla="*/ 5134708 w 5779477"/>
              <a:gd name="connsiteY13" fmla="*/ 2151511 h 4179604"/>
              <a:gd name="connsiteX14" fmla="*/ 5181600 w 5779477"/>
              <a:gd name="connsiteY14" fmla="*/ 2092897 h 4179604"/>
              <a:gd name="connsiteX15" fmla="*/ 5269523 w 5779477"/>
              <a:gd name="connsiteY15" fmla="*/ 2069450 h 4179604"/>
              <a:gd name="connsiteX16" fmla="*/ 5187461 w 5779477"/>
              <a:gd name="connsiteY16" fmla="*/ 2139789 h 4179604"/>
              <a:gd name="connsiteX17" fmla="*/ 5228492 w 5779477"/>
              <a:gd name="connsiteY17" fmla="*/ 2057728 h 4179604"/>
              <a:gd name="connsiteX18" fmla="*/ 5350746 w 5779477"/>
              <a:gd name="connsiteY18" fmla="*/ 1688450 h 4179604"/>
              <a:gd name="connsiteX19" fmla="*/ 5482632 w 5779477"/>
              <a:gd name="connsiteY19" fmla="*/ 1565358 h 4179604"/>
              <a:gd name="connsiteX20" fmla="*/ 5451231 w 5779477"/>
              <a:gd name="connsiteY20" fmla="*/ 1407096 h 4179604"/>
              <a:gd name="connsiteX21" fmla="*/ 5474677 w 5779477"/>
              <a:gd name="connsiteY21" fmla="*/ 1371927 h 4179604"/>
              <a:gd name="connsiteX22" fmla="*/ 5492261 w 5779477"/>
              <a:gd name="connsiteY22" fmla="*/ 1348481 h 4179604"/>
              <a:gd name="connsiteX23" fmla="*/ 5503985 w 5779477"/>
              <a:gd name="connsiteY23" fmla="*/ 1319173 h 4179604"/>
              <a:gd name="connsiteX24" fmla="*/ 5533292 w 5779477"/>
              <a:gd name="connsiteY24" fmla="*/ 1266420 h 4179604"/>
              <a:gd name="connsiteX25" fmla="*/ 5556738 w 5779477"/>
              <a:gd name="connsiteY25" fmla="*/ 1219527 h 4179604"/>
              <a:gd name="connsiteX26" fmla="*/ 5603631 w 5779477"/>
              <a:gd name="connsiteY26" fmla="*/ 1155050 h 4179604"/>
              <a:gd name="connsiteX27" fmla="*/ 5668108 w 5779477"/>
              <a:gd name="connsiteY27" fmla="*/ 1020235 h 4179604"/>
              <a:gd name="connsiteX28" fmla="*/ 5709138 w 5779477"/>
              <a:gd name="connsiteY28" fmla="*/ 926450 h 4179604"/>
              <a:gd name="connsiteX29" fmla="*/ 5732585 w 5779477"/>
              <a:gd name="connsiteY29" fmla="*/ 867835 h 4179604"/>
              <a:gd name="connsiteX30" fmla="*/ 5744308 w 5779477"/>
              <a:gd name="connsiteY30" fmla="*/ 551312 h 4179604"/>
              <a:gd name="connsiteX31" fmla="*/ 5750169 w 5779477"/>
              <a:gd name="connsiteY31" fmla="*/ 527866 h 4179604"/>
              <a:gd name="connsiteX32" fmla="*/ 5761892 w 5779477"/>
              <a:gd name="connsiteY32" fmla="*/ 504420 h 4179604"/>
              <a:gd name="connsiteX33" fmla="*/ 5767754 w 5779477"/>
              <a:gd name="connsiteY33" fmla="*/ 475112 h 4179604"/>
              <a:gd name="connsiteX34" fmla="*/ 5773615 w 5779477"/>
              <a:gd name="connsiteY34" fmla="*/ 457527 h 4179604"/>
              <a:gd name="connsiteX35" fmla="*/ 5779477 w 5779477"/>
              <a:gd name="connsiteY35" fmla="*/ 369604 h 4179604"/>
              <a:gd name="connsiteX36" fmla="*/ 5767754 w 5779477"/>
              <a:gd name="connsiteY36" fmla="*/ 141004 h 4179604"/>
              <a:gd name="connsiteX37" fmla="*/ 5761892 w 5779477"/>
              <a:gd name="connsiteY37" fmla="*/ 105835 h 4179604"/>
              <a:gd name="connsiteX38" fmla="*/ 5750169 w 5779477"/>
              <a:gd name="connsiteY38" fmla="*/ 88250 h 4179604"/>
              <a:gd name="connsiteX39" fmla="*/ 5744308 w 5779477"/>
              <a:gd name="connsiteY39" fmla="*/ 64804 h 4179604"/>
              <a:gd name="connsiteX40" fmla="*/ 5691554 w 5779477"/>
              <a:gd name="connsiteY40" fmla="*/ 70666 h 4179604"/>
              <a:gd name="connsiteX41" fmla="*/ 5615354 w 5779477"/>
              <a:gd name="connsiteY41" fmla="*/ 58943 h 4179604"/>
              <a:gd name="connsiteX42" fmla="*/ 5533292 w 5779477"/>
              <a:gd name="connsiteY42" fmla="*/ 29635 h 4179604"/>
              <a:gd name="connsiteX43" fmla="*/ 5492261 w 5779477"/>
              <a:gd name="connsiteY43" fmla="*/ 12050 h 4179604"/>
              <a:gd name="connsiteX44" fmla="*/ 5427785 w 5779477"/>
              <a:gd name="connsiteY44" fmla="*/ 327 h 4179604"/>
              <a:gd name="connsiteX45" fmla="*/ 5257800 w 5779477"/>
              <a:gd name="connsiteY45" fmla="*/ 12050 h 4179604"/>
              <a:gd name="connsiteX46" fmla="*/ 5122985 w 5779477"/>
              <a:gd name="connsiteY46" fmla="*/ 41358 h 4179604"/>
              <a:gd name="connsiteX47" fmla="*/ 5058508 w 5779477"/>
              <a:gd name="connsiteY47" fmla="*/ 47220 h 4179604"/>
              <a:gd name="connsiteX48" fmla="*/ 3552092 w 5779477"/>
              <a:gd name="connsiteY48" fmla="*/ 58943 h 4179604"/>
              <a:gd name="connsiteX49" fmla="*/ 3376246 w 5779477"/>
              <a:gd name="connsiteY49" fmla="*/ 70666 h 4179604"/>
              <a:gd name="connsiteX50" fmla="*/ 3124200 w 5779477"/>
              <a:gd name="connsiteY50" fmla="*/ 76527 h 4179604"/>
              <a:gd name="connsiteX51" fmla="*/ 3053861 w 5779477"/>
              <a:gd name="connsiteY51" fmla="*/ 111696 h 4179604"/>
              <a:gd name="connsiteX52" fmla="*/ 2995246 w 5779477"/>
              <a:gd name="connsiteY52" fmla="*/ 176173 h 4179604"/>
              <a:gd name="connsiteX53" fmla="*/ 2895600 w 5779477"/>
              <a:gd name="connsiteY53" fmla="*/ 357881 h 4179604"/>
              <a:gd name="connsiteX54" fmla="*/ 2878015 w 5779477"/>
              <a:gd name="connsiteY54" fmla="*/ 510281 h 4179604"/>
              <a:gd name="connsiteX55" fmla="*/ 2883877 w 5779477"/>
              <a:gd name="connsiteY55" fmla="*/ 580620 h 4179604"/>
              <a:gd name="connsiteX56" fmla="*/ 3036277 w 5779477"/>
              <a:gd name="connsiteY56" fmla="*/ 891281 h 4179604"/>
              <a:gd name="connsiteX57" fmla="*/ 3100754 w 5779477"/>
              <a:gd name="connsiteY57" fmla="*/ 996789 h 4179604"/>
              <a:gd name="connsiteX58" fmla="*/ 3153508 w 5779477"/>
              <a:gd name="connsiteY58" fmla="*/ 1096435 h 4179604"/>
              <a:gd name="connsiteX59" fmla="*/ 3294185 w 5779477"/>
              <a:gd name="connsiteY59" fmla="*/ 1412958 h 4179604"/>
              <a:gd name="connsiteX60" fmla="*/ 3411415 w 5779477"/>
              <a:gd name="connsiteY60" fmla="*/ 1618112 h 4179604"/>
              <a:gd name="connsiteX61" fmla="*/ 3458308 w 5779477"/>
              <a:gd name="connsiteY61" fmla="*/ 1700173 h 4179604"/>
              <a:gd name="connsiteX62" fmla="*/ 3487615 w 5779477"/>
              <a:gd name="connsiteY62" fmla="*/ 1747066 h 4179604"/>
              <a:gd name="connsiteX63" fmla="*/ 3522785 w 5779477"/>
              <a:gd name="connsiteY63" fmla="*/ 1817404 h 4179604"/>
              <a:gd name="connsiteX64" fmla="*/ 3528646 w 5779477"/>
              <a:gd name="connsiteY64" fmla="*/ 1846712 h 4179604"/>
              <a:gd name="connsiteX65" fmla="*/ 3546231 w 5779477"/>
              <a:gd name="connsiteY65" fmla="*/ 1887743 h 4179604"/>
              <a:gd name="connsiteX66" fmla="*/ 3557954 w 5779477"/>
              <a:gd name="connsiteY66" fmla="*/ 1952220 h 4179604"/>
              <a:gd name="connsiteX67" fmla="*/ 3540369 w 5779477"/>
              <a:gd name="connsiteY67" fmla="*/ 2016696 h 4179604"/>
              <a:gd name="connsiteX68" fmla="*/ 3417277 w 5779477"/>
              <a:gd name="connsiteY68" fmla="*/ 2075312 h 4179604"/>
              <a:gd name="connsiteX69" fmla="*/ 3288323 w 5779477"/>
              <a:gd name="connsiteY69" fmla="*/ 1846712 h 4179604"/>
              <a:gd name="connsiteX70" fmla="*/ 3259015 w 5779477"/>
              <a:gd name="connsiteY70" fmla="*/ 1682589 h 4179604"/>
              <a:gd name="connsiteX71" fmla="*/ 3223846 w 5779477"/>
              <a:gd name="connsiteY71" fmla="*/ 1442266 h 4179604"/>
              <a:gd name="connsiteX72" fmla="*/ 3217985 w 5779477"/>
              <a:gd name="connsiteY72" fmla="*/ 1377789 h 4179604"/>
              <a:gd name="connsiteX73" fmla="*/ 3194538 w 5779477"/>
              <a:gd name="connsiteY73" fmla="*/ 1307450 h 4179604"/>
              <a:gd name="connsiteX74" fmla="*/ 3153508 w 5779477"/>
              <a:gd name="connsiteY74" fmla="*/ 1166773 h 4179604"/>
              <a:gd name="connsiteX75" fmla="*/ 3001108 w 5779477"/>
              <a:gd name="connsiteY75" fmla="*/ 867835 h 4179604"/>
              <a:gd name="connsiteX76" fmla="*/ 2965938 w 5779477"/>
              <a:gd name="connsiteY76" fmla="*/ 791635 h 4179604"/>
              <a:gd name="connsiteX77" fmla="*/ 2936631 w 5779477"/>
              <a:gd name="connsiteY77" fmla="*/ 721296 h 4179604"/>
              <a:gd name="connsiteX78" fmla="*/ 2924908 w 5779477"/>
              <a:gd name="connsiteY78" fmla="*/ 703712 h 4179604"/>
              <a:gd name="connsiteX79" fmla="*/ 2907323 w 5779477"/>
              <a:gd name="connsiteY79" fmla="*/ 633373 h 4179604"/>
              <a:gd name="connsiteX80" fmla="*/ 2889738 w 5779477"/>
              <a:gd name="connsiteY80" fmla="*/ 609927 h 4179604"/>
              <a:gd name="connsiteX81" fmla="*/ 2878015 w 5779477"/>
              <a:gd name="connsiteY81" fmla="*/ 451666 h 4179604"/>
              <a:gd name="connsiteX82" fmla="*/ 2866292 w 5779477"/>
              <a:gd name="connsiteY82" fmla="*/ 340296 h 4179604"/>
              <a:gd name="connsiteX83" fmla="*/ 2848708 w 5779477"/>
              <a:gd name="connsiteY83" fmla="*/ 240650 h 4179604"/>
              <a:gd name="connsiteX84" fmla="*/ 2784231 w 5779477"/>
              <a:gd name="connsiteY84" fmla="*/ 135143 h 4179604"/>
              <a:gd name="connsiteX85" fmla="*/ 2608385 w 5779477"/>
              <a:gd name="connsiteY85" fmla="*/ 64805 h 4179604"/>
              <a:gd name="connsiteX86" fmla="*/ 2573215 w 5779477"/>
              <a:gd name="connsiteY86" fmla="*/ 41358 h 4179604"/>
              <a:gd name="connsiteX87" fmla="*/ 2491154 w 5779477"/>
              <a:gd name="connsiteY87" fmla="*/ 327 h 4179604"/>
              <a:gd name="connsiteX88" fmla="*/ 2403231 w 5779477"/>
              <a:gd name="connsiteY88" fmla="*/ 23773 h 4179604"/>
              <a:gd name="connsiteX89" fmla="*/ 2356338 w 5779477"/>
              <a:gd name="connsiteY89" fmla="*/ 41358 h 4179604"/>
              <a:gd name="connsiteX90" fmla="*/ 2315308 w 5779477"/>
              <a:gd name="connsiteY90" fmla="*/ 47220 h 4179604"/>
              <a:gd name="connsiteX91" fmla="*/ 2268415 w 5779477"/>
              <a:gd name="connsiteY91" fmla="*/ 58943 h 4179604"/>
              <a:gd name="connsiteX92" fmla="*/ 2063261 w 5779477"/>
              <a:gd name="connsiteY92" fmla="*/ 53081 h 4179604"/>
              <a:gd name="connsiteX93" fmla="*/ 2010508 w 5779477"/>
              <a:gd name="connsiteY93" fmla="*/ 41358 h 4179604"/>
              <a:gd name="connsiteX94" fmla="*/ 1951892 w 5779477"/>
              <a:gd name="connsiteY94" fmla="*/ 29635 h 4179604"/>
              <a:gd name="connsiteX95" fmla="*/ 1471246 w 5779477"/>
              <a:gd name="connsiteY95" fmla="*/ 29635 h 4179604"/>
              <a:gd name="connsiteX96" fmla="*/ 779585 w 5779477"/>
              <a:gd name="connsiteY96" fmla="*/ 41358 h 4179604"/>
              <a:gd name="connsiteX97" fmla="*/ 726831 w 5779477"/>
              <a:gd name="connsiteY97" fmla="*/ 47220 h 4179604"/>
              <a:gd name="connsiteX98" fmla="*/ 656492 w 5779477"/>
              <a:gd name="connsiteY98" fmla="*/ 53081 h 4179604"/>
              <a:gd name="connsiteX99" fmla="*/ 621323 w 5779477"/>
              <a:gd name="connsiteY99" fmla="*/ 58943 h 4179604"/>
              <a:gd name="connsiteX100" fmla="*/ 486508 w 5779477"/>
              <a:gd name="connsiteY100" fmla="*/ 70666 h 4179604"/>
              <a:gd name="connsiteX101" fmla="*/ 357554 w 5779477"/>
              <a:gd name="connsiteY101" fmla="*/ 76527 h 4179604"/>
              <a:gd name="connsiteX102" fmla="*/ 322385 w 5779477"/>
              <a:gd name="connsiteY102" fmla="*/ 99973 h 4179604"/>
              <a:gd name="connsiteX103" fmla="*/ 193431 w 5779477"/>
              <a:gd name="connsiteY103" fmla="*/ 211343 h 4179604"/>
              <a:gd name="connsiteX104" fmla="*/ 99646 w 5779477"/>
              <a:gd name="connsiteY104" fmla="*/ 398912 h 4179604"/>
              <a:gd name="connsiteX105" fmla="*/ 0 w 5779477"/>
              <a:gd name="connsiteY105" fmla="*/ 1131604 h 4179604"/>
              <a:gd name="connsiteX106" fmla="*/ 17585 w 5779477"/>
              <a:gd name="connsiteY106" fmla="*/ 1928773 h 4179604"/>
              <a:gd name="connsiteX107" fmla="*/ 70338 w 5779477"/>
              <a:gd name="connsiteY107" fmla="*/ 2251158 h 4179604"/>
              <a:gd name="connsiteX108" fmla="*/ 123092 w 5779477"/>
              <a:gd name="connsiteY108" fmla="*/ 2473896 h 4179604"/>
              <a:gd name="connsiteX109" fmla="*/ 304800 w 5779477"/>
              <a:gd name="connsiteY109" fmla="*/ 2960404 h 4179604"/>
              <a:gd name="connsiteX110" fmla="*/ 568569 w 5779477"/>
              <a:gd name="connsiteY110" fmla="*/ 3364850 h 4179604"/>
              <a:gd name="connsiteX111" fmla="*/ 926123 w 5779477"/>
              <a:gd name="connsiteY111" fmla="*/ 3663789 h 4179604"/>
              <a:gd name="connsiteX112" fmla="*/ 1002323 w 5779477"/>
              <a:gd name="connsiteY112" fmla="*/ 3728266 h 4179604"/>
              <a:gd name="connsiteX113" fmla="*/ 1301261 w 5779477"/>
              <a:gd name="connsiteY113" fmla="*/ 3892389 h 4179604"/>
              <a:gd name="connsiteX114" fmla="*/ 1447800 w 5779477"/>
              <a:gd name="connsiteY114" fmla="*/ 3927558 h 4179604"/>
              <a:gd name="connsiteX115" fmla="*/ 1488831 w 5779477"/>
              <a:gd name="connsiteY115" fmla="*/ 3939281 h 4179604"/>
              <a:gd name="connsiteX116" fmla="*/ 1688123 w 5779477"/>
              <a:gd name="connsiteY116" fmla="*/ 3945143 h 4179604"/>
              <a:gd name="connsiteX117" fmla="*/ 1811215 w 5779477"/>
              <a:gd name="connsiteY117" fmla="*/ 3974450 h 4179604"/>
              <a:gd name="connsiteX118" fmla="*/ 1852246 w 5779477"/>
              <a:gd name="connsiteY118" fmla="*/ 3992035 h 4179604"/>
              <a:gd name="connsiteX119" fmla="*/ 1875692 w 5779477"/>
              <a:gd name="connsiteY119" fmla="*/ 4003758 h 4179604"/>
              <a:gd name="connsiteX120" fmla="*/ 1963615 w 5779477"/>
              <a:gd name="connsiteY120" fmla="*/ 4021343 h 4179604"/>
              <a:gd name="connsiteX121" fmla="*/ 2057400 w 5779477"/>
              <a:gd name="connsiteY121" fmla="*/ 4050650 h 4179604"/>
              <a:gd name="connsiteX122" fmla="*/ 2104292 w 5779477"/>
              <a:gd name="connsiteY122" fmla="*/ 4056512 h 4179604"/>
              <a:gd name="connsiteX123" fmla="*/ 2303585 w 5779477"/>
              <a:gd name="connsiteY123" fmla="*/ 4097543 h 4179604"/>
              <a:gd name="connsiteX124" fmla="*/ 2368061 w 5779477"/>
              <a:gd name="connsiteY124" fmla="*/ 4109266 h 4179604"/>
              <a:gd name="connsiteX125" fmla="*/ 2584938 w 5779477"/>
              <a:gd name="connsiteY125" fmla="*/ 4162020 h 4179604"/>
              <a:gd name="connsiteX126" fmla="*/ 2702169 w 5779477"/>
              <a:gd name="connsiteY126" fmla="*/ 4179604 h 4179604"/>
              <a:gd name="connsiteX127" fmla="*/ 2795954 w 5779477"/>
              <a:gd name="connsiteY127" fmla="*/ 4138573 h 4179604"/>
              <a:gd name="connsiteX128" fmla="*/ 2854569 w 5779477"/>
              <a:gd name="connsiteY128" fmla="*/ 4109266 h 4179604"/>
              <a:gd name="connsiteX129" fmla="*/ 3217985 w 5779477"/>
              <a:gd name="connsiteY129" fmla="*/ 4144435 h 4179604"/>
              <a:gd name="connsiteX130" fmla="*/ 3259015 w 5779477"/>
              <a:gd name="connsiteY130" fmla="*/ 4120989 h 4179604"/>
              <a:gd name="connsiteX131" fmla="*/ 3282461 w 5779477"/>
              <a:gd name="connsiteY131" fmla="*/ 4079958 h 4179604"/>
              <a:gd name="connsiteX132" fmla="*/ 3317631 w 5779477"/>
              <a:gd name="connsiteY132" fmla="*/ 4056512 h 4179604"/>
              <a:gd name="connsiteX133" fmla="*/ 3329354 w 5779477"/>
              <a:gd name="connsiteY133" fmla="*/ 4033066 h 4179604"/>
              <a:gd name="connsiteX134" fmla="*/ 3346938 w 5779477"/>
              <a:gd name="connsiteY134" fmla="*/ 4009620 h 4179604"/>
              <a:gd name="connsiteX135" fmla="*/ 3358661 w 5779477"/>
              <a:gd name="connsiteY135" fmla="*/ 3962727 h 4179604"/>
              <a:gd name="connsiteX136" fmla="*/ 3364523 w 5779477"/>
              <a:gd name="connsiteY136" fmla="*/ 3933420 h 4179604"/>
              <a:gd name="connsiteX137" fmla="*/ 3387969 w 5779477"/>
              <a:gd name="connsiteY137" fmla="*/ 3898250 h 4179604"/>
              <a:gd name="connsiteX138" fmla="*/ 3376246 w 5779477"/>
              <a:gd name="connsiteY138" fmla="*/ 3880666 h 4179604"/>
              <a:gd name="connsiteX139" fmla="*/ 3399692 w 5779477"/>
              <a:gd name="connsiteY139" fmla="*/ 3763435 h 4179604"/>
              <a:gd name="connsiteX140" fmla="*/ 3387969 w 5779477"/>
              <a:gd name="connsiteY140" fmla="*/ 3734127 h 4179604"/>
              <a:gd name="connsiteX141" fmla="*/ 3423138 w 5779477"/>
              <a:gd name="connsiteY141" fmla="*/ 3657927 h 4179604"/>
              <a:gd name="connsiteX142" fmla="*/ 3464169 w 5779477"/>
              <a:gd name="connsiteY142" fmla="*/ 3622758 h 4179604"/>
              <a:gd name="connsiteX143" fmla="*/ 3487616 w 5779477"/>
              <a:gd name="connsiteY143" fmla="*/ 3593451 h 4179604"/>
              <a:gd name="connsiteX144" fmla="*/ 3405553 w 5779477"/>
              <a:gd name="connsiteY144" fmla="*/ 3429327 h 4179604"/>
              <a:gd name="connsiteX145" fmla="*/ 3364523 w 5779477"/>
              <a:gd name="connsiteY145" fmla="*/ 3341404 h 4179604"/>
              <a:gd name="connsiteX146" fmla="*/ 3276600 w 5779477"/>
              <a:gd name="connsiteY146" fmla="*/ 3294512 h 4179604"/>
              <a:gd name="connsiteX147" fmla="*/ 3264877 w 5779477"/>
              <a:gd name="connsiteY147" fmla="*/ 3271066 h 4179604"/>
              <a:gd name="connsiteX148" fmla="*/ 3229708 w 5779477"/>
              <a:gd name="connsiteY148" fmla="*/ 3212450 h 4179604"/>
              <a:gd name="connsiteX149" fmla="*/ 3212123 w 5779477"/>
              <a:gd name="connsiteY149" fmla="*/ 3142112 h 4179604"/>
              <a:gd name="connsiteX150" fmla="*/ 3229708 w 5779477"/>
              <a:gd name="connsiteY150" fmla="*/ 2966266 h 4179604"/>
              <a:gd name="connsiteX151" fmla="*/ 3253154 w 5779477"/>
              <a:gd name="connsiteY151" fmla="*/ 2919373 h 4179604"/>
              <a:gd name="connsiteX152" fmla="*/ 3264877 w 5779477"/>
              <a:gd name="connsiteY152" fmla="*/ 2872481 h 4179604"/>
              <a:gd name="connsiteX153" fmla="*/ 3305908 w 5779477"/>
              <a:gd name="connsiteY153" fmla="*/ 2761112 h 4179604"/>
              <a:gd name="connsiteX154" fmla="*/ 3323492 w 5779477"/>
              <a:gd name="connsiteY154" fmla="*/ 2720081 h 4179604"/>
              <a:gd name="connsiteX155" fmla="*/ 3364523 w 5779477"/>
              <a:gd name="connsiteY155" fmla="*/ 2620435 h 4179604"/>
              <a:gd name="connsiteX156" fmla="*/ 3382108 w 5779477"/>
              <a:gd name="connsiteY156" fmla="*/ 2579404 h 4179604"/>
              <a:gd name="connsiteX157" fmla="*/ 3417277 w 5779477"/>
              <a:gd name="connsiteY157" fmla="*/ 2538373 h 4179604"/>
              <a:gd name="connsiteX158" fmla="*/ 3440723 w 5779477"/>
              <a:gd name="connsiteY158" fmla="*/ 2520789 h 4179604"/>
              <a:gd name="connsiteX159" fmla="*/ 3458308 w 5779477"/>
              <a:gd name="connsiteY159" fmla="*/ 2497343 h 4179604"/>
              <a:gd name="connsiteX160" fmla="*/ 3470031 w 5779477"/>
              <a:gd name="connsiteY160" fmla="*/ 2473896 h 4179604"/>
              <a:gd name="connsiteX161" fmla="*/ 3487615 w 5779477"/>
              <a:gd name="connsiteY161" fmla="*/ 2468035 h 4179604"/>
              <a:gd name="connsiteX162" fmla="*/ 3663461 w 5779477"/>
              <a:gd name="connsiteY162" fmla="*/ 2491481 h 4179604"/>
              <a:gd name="connsiteX163" fmla="*/ 3722077 w 5779477"/>
              <a:gd name="connsiteY163" fmla="*/ 2509066 h 4179604"/>
              <a:gd name="connsiteX164" fmla="*/ 3804138 w 5779477"/>
              <a:gd name="connsiteY164" fmla="*/ 2514927 h 4179604"/>
              <a:gd name="connsiteX165" fmla="*/ 4366846 w 5779477"/>
              <a:gd name="connsiteY165" fmla="*/ 2532512 h 4179604"/>
              <a:gd name="connsiteX166" fmla="*/ 4472354 w 5779477"/>
              <a:gd name="connsiteY166" fmla="*/ 2514927 h 4179604"/>
              <a:gd name="connsiteX167" fmla="*/ 4495800 w 5779477"/>
              <a:gd name="connsiteY167" fmla="*/ 2491481 h 4179604"/>
              <a:gd name="connsiteX168" fmla="*/ 4513385 w 5779477"/>
              <a:gd name="connsiteY168" fmla="*/ 2485620 h 4179604"/>
              <a:gd name="connsiteX169" fmla="*/ 4536831 w 5779477"/>
              <a:gd name="connsiteY169" fmla="*/ 2462173 h 4179604"/>
              <a:gd name="connsiteX170" fmla="*/ 4554415 w 5779477"/>
              <a:gd name="connsiteY170" fmla="*/ 2456312 h 4179604"/>
              <a:gd name="connsiteX171" fmla="*/ 4577861 w 5779477"/>
              <a:gd name="connsiteY171" fmla="*/ 2444589 h 4179604"/>
              <a:gd name="connsiteX172" fmla="*/ 4601308 w 5779477"/>
              <a:gd name="connsiteY172" fmla="*/ 2427004 h 4179604"/>
              <a:gd name="connsiteX173" fmla="*/ 4618892 w 5779477"/>
              <a:gd name="connsiteY173" fmla="*/ 2421143 h 4179604"/>
              <a:gd name="connsiteX174" fmla="*/ 4648200 w 5779477"/>
              <a:gd name="connsiteY174" fmla="*/ 2403558 h 4179604"/>
              <a:gd name="connsiteX175" fmla="*/ 4624754 w 5779477"/>
              <a:gd name="connsiteY175" fmla="*/ 2385973 h 4179604"/>
              <a:gd name="connsiteX0" fmla="*/ 4624754 w 5779477"/>
              <a:gd name="connsiteY0" fmla="*/ 2385973 h 4179604"/>
              <a:gd name="connsiteX1" fmla="*/ 4700954 w 5779477"/>
              <a:gd name="connsiteY1" fmla="*/ 2362527 h 4179604"/>
              <a:gd name="connsiteX2" fmla="*/ 4706815 w 5779477"/>
              <a:gd name="connsiteY2" fmla="*/ 2303912 h 4179604"/>
              <a:gd name="connsiteX3" fmla="*/ 4712677 w 5779477"/>
              <a:gd name="connsiteY3" fmla="*/ 2286327 h 4179604"/>
              <a:gd name="connsiteX4" fmla="*/ 4741985 w 5779477"/>
              <a:gd name="connsiteY4" fmla="*/ 2262881 h 4179604"/>
              <a:gd name="connsiteX5" fmla="*/ 4771292 w 5779477"/>
              <a:gd name="connsiteY5" fmla="*/ 2239435 h 4179604"/>
              <a:gd name="connsiteX6" fmla="*/ 4806461 w 5779477"/>
              <a:gd name="connsiteY6" fmla="*/ 2210127 h 4179604"/>
              <a:gd name="connsiteX7" fmla="*/ 4818185 w 5779477"/>
              <a:gd name="connsiteY7" fmla="*/ 2198404 h 4179604"/>
              <a:gd name="connsiteX8" fmla="*/ 4870938 w 5779477"/>
              <a:gd name="connsiteY8" fmla="*/ 2180820 h 4179604"/>
              <a:gd name="connsiteX9" fmla="*/ 4888523 w 5779477"/>
              <a:gd name="connsiteY9" fmla="*/ 2169096 h 4179604"/>
              <a:gd name="connsiteX10" fmla="*/ 4923692 w 5779477"/>
              <a:gd name="connsiteY10" fmla="*/ 2163235 h 4179604"/>
              <a:gd name="connsiteX11" fmla="*/ 4947138 w 5779477"/>
              <a:gd name="connsiteY11" fmla="*/ 2157373 h 4179604"/>
              <a:gd name="connsiteX12" fmla="*/ 5081954 w 5779477"/>
              <a:gd name="connsiteY12" fmla="*/ 2133927 h 4179604"/>
              <a:gd name="connsiteX13" fmla="*/ 5134708 w 5779477"/>
              <a:gd name="connsiteY13" fmla="*/ 2151511 h 4179604"/>
              <a:gd name="connsiteX14" fmla="*/ 5181600 w 5779477"/>
              <a:gd name="connsiteY14" fmla="*/ 2092897 h 4179604"/>
              <a:gd name="connsiteX15" fmla="*/ 5269523 w 5779477"/>
              <a:gd name="connsiteY15" fmla="*/ 2069450 h 4179604"/>
              <a:gd name="connsiteX16" fmla="*/ 5187461 w 5779477"/>
              <a:gd name="connsiteY16" fmla="*/ 2139789 h 4179604"/>
              <a:gd name="connsiteX17" fmla="*/ 5228492 w 5779477"/>
              <a:gd name="connsiteY17" fmla="*/ 2057728 h 4179604"/>
              <a:gd name="connsiteX18" fmla="*/ 5350746 w 5779477"/>
              <a:gd name="connsiteY18" fmla="*/ 1688450 h 4179604"/>
              <a:gd name="connsiteX19" fmla="*/ 5455418 w 5779477"/>
              <a:gd name="connsiteY19" fmla="*/ 1489158 h 4179604"/>
              <a:gd name="connsiteX20" fmla="*/ 5451231 w 5779477"/>
              <a:gd name="connsiteY20" fmla="*/ 1407096 h 4179604"/>
              <a:gd name="connsiteX21" fmla="*/ 5474677 w 5779477"/>
              <a:gd name="connsiteY21" fmla="*/ 1371927 h 4179604"/>
              <a:gd name="connsiteX22" fmla="*/ 5492261 w 5779477"/>
              <a:gd name="connsiteY22" fmla="*/ 1348481 h 4179604"/>
              <a:gd name="connsiteX23" fmla="*/ 5503985 w 5779477"/>
              <a:gd name="connsiteY23" fmla="*/ 1319173 h 4179604"/>
              <a:gd name="connsiteX24" fmla="*/ 5533292 w 5779477"/>
              <a:gd name="connsiteY24" fmla="*/ 1266420 h 4179604"/>
              <a:gd name="connsiteX25" fmla="*/ 5556738 w 5779477"/>
              <a:gd name="connsiteY25" fmla="*/ 1219527 h 4179604"/>
              <a:gd name="connsiteX26" fmla="*/ 5603631 w 5779477"/>
              <a:gd name="connsiteY26" fmla="*/ 1155050 h 4179604"/>
              <a:gd name="connsiteX27" fmla="*/ 5668108 w 5779477"/>
              <a:gd name="connsiteY27" fmla="*/ 1020235 h 4179604"/>
              <a:gd name="connsiteX28" fmla="*/ 5709138 w 5779477"/>
              <a:gd name="connsiteY28" fmla="*/ 926450 h 4179604"/>
              <a:gd name="connsiteX29" fmla="*/ 5732585 w 5779477"/>
              <a:gd name="connsiteY29" fmla="*/ 867835 h 4179604"/>
              <a:gd name="connsiteX30" fmla="*/ 5744308 w 5779477"/>
              <a:gd name="connsiteY30" fmla="*/ 551312 h 4179604"/>
              <a:gd name="connsiteX31" fmla="*/ 5750169 w 5779477"/>
              <a:gd name="connsiteY31" fmla="*/ 527866 h 4179604"/>
              <a:gd name="connsiteX32" fmla="*/ 5761892 w 5779477"/>
              <a:gd name="connsiteY32" fmla="*/ 504420 h 4179604"/>
              <a:gd name="connsiteX33" fmla="*/ 5767754 w 5779477"/>
              <a:gd name="connsiteY33" fmla="*/ 475112 h 4179604"/>
              <a:gd name="connsiteX34" fmla="*/ 5773615 w 5779477"/>
              <a:gd name="connsiteY34" fmla="*/ 457527 h 4179604"/>
              <a:gd name="connsiteX35" fmla="*/ 5779477 w 5779477"/>
              <a:gd name="connsiteY35" fmla="*/ 369604 h 4179604"/>
              <a:gd name="connsiteX36" fmla="*/ 5767754 w 5779477"/>
              <a:gd name="connsiteY36" fmla="*/ 141004 h 4179604"/>
              <a:gd name="connsiteX37" fmla="*/ 5761892 w 5779477"/>
              <a:gd name="connsiteY37" fmla="*/ 105835 h 4179604"/>
              <a:gd name="connsiteX38" fmla="*/ 5750169 w 5779477"/>
              <a:gd name="connsiteY38" fmla="*/ 88250 h 4179604"/>
              <a:gd name="connsiteX39" fmla="*/ 5744308 w 5779477"/>
              <a:gd name="connsiteY39" fmla="*/ 64804 h 4179604"/>
              <a:gd name="connsiteX40" fmla="*/ 5691554 w 5779477"/>
              <a:gd name="connsiteY40" fmla="*/ 70666 h 4179604"/>
              <a:gd name="connsiteX41" fmla="*/ 5615354 w 5779477"/>
              <a:gd name="connsiteY41" fmla="*/ 58943 h 4179604"/>
              <a:gd name="connsiteX42" fmla="*/ 5533292 w 5779477"/>
              <a:gd name="connsiteY42" fmla="*/ 29635 h 4179604"/>
              <a:gd name="connsiteX43" fmla="*/ 5492261 w 5779477"/>
              <a:gd name="connsiteY43" fmla="*/ 12050 h 4179604"/>
              <a:gd name="connsiteX44" fmla="*/ 5427785 w 5779477"/>
              <a:gd name="connsiteY44" fmla="*/ 327 h 4179604"/>
              <a:gd name="connsiteX45" fmla="*/ 5257800 w 5779477"/>
              <a:gd name="connsiteY45" fmla="*/ 12050 h 4179604"/>
              <a:gd name="connsiteX46" fmla="*/ 5122985 w 5779477"/>
              <a:gd name="connsiteY46" fmla="*/ 41358 h 4179604"/>
              <a:gd name="connsiteX47" fmla="*/ 5058508 w 5779477"/>
              <a:gd name="connsiteY47" fmla="*/ 47220 h 4179604"/>
              <a:gd name="connsiteX48" fmla="*/ 3552092 w 5779477"/>
              <a:gd name="connsiteY48" fmla="*/ 58943 h 4179604"/>
              <a:gd name="connsiteX49" fmla="*/ 3376246 w 5779477"/>
              <a:gd name="connsiteY49" fmla="*/ 70666 h 4179604"/>
              <a:gd name="connsiteX50" fmla="*/ 3124200 w 5779477"/>
              <a:gd name="connsiteY50" fmla="*/ 76527 h 4179604"/>
              <a:gd name="connsiteX51" fmla="*/ 3053861 w 5779477"/>
              <a:gd name="connsiteY51" fmla="*/ 111696 h 4179604"/>
              <a:gd name="connsiteX52" fmla="*/ 2995246 w 5779477"/>
              <a:gd name="connsiteY52" fmla="*/ 176173 h 4179604"/>
              <a:gd name="connsiteX53" fmla="*/ 2895600 w 5779477"/>
              <a:gd name="connsiteY53" fmla="*/ 357881 h 4179604"/>
              <a:gd name="connsiteX54" fmla="*/ 2878015 w 5779477"/>
              <a:gd name="connsiteY54" fmla="*/ 510281 h 4179604"/>
              <a:gd name="connsiteX55" fmla="*/ 2883877 w 5779477"/>
              <a:gd name="connsiteY55" fmla="*/ 580620 h 4179604"/>
              <a:gd name="connsiteX56" fmla="*/ 3036277 w 5779477"/>
              <a:gd name="connsiteY56" fmla="*/ 891281 h 4179604"/>
              <a:gd name="connsiteX57" fmla="*/ 3100754 w 5779477"/>
              <a:gd name="connsiteY57" fmla="*/ 996789 h 4179604"/>
              <a:gd name="connsiteX58" fmla="*/ 3153508 w 5779477"/>
              <a:gd name="connsiteY58" fmla="*/ 1096435 h 4179604"/>
              <a:gd name="connsiteX59" fmla="*/ 3294185 w 5779477"/>
              <a:gd name="connsiteY59" fmla="*/ 1412958 h 4179604"/>
              <a:gd name="connsiteX60" fmla="*/ 3411415 w 5779477"/>
              <a:gd name="connsiteY60" fmla="*/ 1618112 h 4179604"/>
              <a:gd name="connsiteX61" fmla="*/ 3458308 w 5779477"/>
              <a:gd name="connsiteY61" fmla="*/ 1700173 h 4179604"/>
              <a:gd name="connsiteX62" fmla="*/ 3487615 w 5779477"/>
              <a:gd name="connsiteY62" fmla="*/ 1747066 h 4179604"/>
              <a:gd name="connsiteX63" fmla="*/ 3522785 w 5779477"/>
              <a:gd name="connsiteY63" fmla="*/ 1817404 h 4179604"/>
              <a:gd name="connsiteX64" fmla="*/ 3528646 w 5779477"/>
              <a:gd name="connsiteY64" fmla="*/ 1846712 h 4179604"/>
              <a:gd name="connsiteX65" fmla="*/ 3546231 w 5779477"/>
              <a:gd name="connsiteY65" fmla="*/ 1887743 h 4179604"/>
              <a:gd name="connsiteX66" fmla="*/ 3557954 w 5779477"/>
              <a:gd name="connsiteY66" fmla="*/ 1952220 h 4179604"/>
              <a:gd name="connsiteX67" fmla="*/ 3540369 w 5779477"/>
              <a:gd name="connsiteY67" fmla="*/ 2016696 h 4179604"/>
              <a:gd name="connsiteX68" fmla="*/ 3417277 w 5779477"/>
              <a:gd name="connsiteY68" fmla="*/ 2075312 h 4179604"/>
              <a:gd name="connsiteX69" fmla="*/ 3288323 w 5779477"/>
              <a:gd name="connsiteY69" fmla="*/ 1846712 h 4179604"/>
              <a:gd name="connsiteX70" fmla="*/ 3259015 w 5779477"/>
              <a:gd name="connsiteY70" fmla="*/ 1682589 h 4179604"/>
              <a:gd name="connsiteX71" fmla="*/ 3223846 w 5779477"/>
              <a:gd name="connsiteY71" fmla="*/ 1442266 h 4179604"/>
              <a:gd name="connsiteX72" fmla="*/ 3217985 w 5779477"/>
              <a:gd name="connsiteY72" fmla="*/ 1377789 h 4179604"/>
              <a:gd name="connsiteX73" fmla="*/ 3194538 w 5779477"/>
              <a:gd name="connsiteY73" fmla="*/ 1307450 h 4179604"/>
              <a:gd name="connsiteX74" fmla="*/ 3153508 w 5779477"/>
              <a:gd name="connsiteY74" fmla="*/ 1166773 h 4179604"/>
              <a:gd name="connsiteX75" fmla="*/ 3001108 w 5779477"/>
              <a:gd name="connsiteY75" fmla="*/ 867835 h 4179604"/>
              <a:gd name="connsiteX76" fmla="*/ 2965938 w 5779477"/>
              <a:gd name="connsiteY76" fmla="*/ 791635 h 4179604"/>
              <a:gd name="connsiteX77" fmla="*/ 2936631 w 5779477"/>
              <a:gd name="connsiteY77" fmla="*/ 721296 h 4179604"/>
              <a:gd name="connsiteX78" fmla="*/ 2924908 w 5779477"/>
              <a:gd name="connsiteY78" fmla="*/ 703712 h 4179604"/>
              <a:gd name="connsiteX79" fmla="*/ 2907323 w 5779477"/>
              <a:gd name="connsiteY79" fmla="*/ 633373 h 4179604"/>
              <a:gd name="connsiteX80" fmla="*/ 2889738 w 5779477"/>
              <a:gd name="connsiteY80" fmla="*/ 609927 h 4179604"/>
              <a:gd name="connsiteX81" fmla="*/ 2878015 w 5779477"/>
              <a:gd name="connsiteY81" fmla="*/ 451666 h 4179604"/>
              <a:gd name="connsiteX82" fmla="*/ 2866292 w 5779477"/>
              <a:gd name="connsiteY82" fmla="*/ 340296 h 4179604"/>
              <a:gd name="connsiteX83" fmla="*/ 2848708 w 5779477"/>
              <a:gd name="connsiteY83" fmla="*/ 240650 h 4179604"/>
              <a:gd name="connsiteX84" fmla="*/ 2784231 w 5779477"/>
              <a:gd name="connsiteY84" fmla="*/ 135143 h 4179604"/>
              <a:gd name="connsiteX85" fmla="*/ 2608385 w 5779477"/>
              <a:gd name="connsiteY85" fmla="*/ 64805 h 4179604"/>
              <a:gd name="connsiteX86" fmla="*/ 2573215 w 5779477"/>
              <a:gd name="connsiteY86" fmla="*/ 41358 h 4179604"/>
              <a:gd name="connsiteX87" fmla="*/ 2491154 w 5779477"/>
              <a:gd name="connsiteY87" fmla="*/ 327 h 4179604"/>
              <a:gd name="connsiteX88" fmla="*/ 2403231 w 5779477"/>
              <a:gd name="connsiteY88" fmla="*/ 23773 h 4179604"/>
              <a:gd name="connsiteX89" fmla="*/ 2356338 w 5779477"/>
              <a:gd name="connsiteY89" fmla="*/ 41358 h 4179604"/>
              <a:gd name="connsiteX90" fmla="*/ 2315308 w 5779477"/>
              <a:gd name="connsiteY90" fmla="*/ 47220 h 4179604"/>
              <a:gd name="connsiteX91" fmla="*/ 2268415 w 5779477"/>
              <a:gd name="connsiteY91" fmla="*/ 58943 h 4179604"/>
              <a:gd name="connsiteX92" fmla="*/ 2063261 w 5779477"/>
              <a:gd name="connsiteY92" fmla="*/ 53081 h 4179604"/>
              <a:gd name="connsiteX93" fmla="*/ 2010508 w 5779477"/>
              <a:gd name="connsiteY93" fmla="*/ 41358 h 4179604"/>
              <a:gd name="connsiteX94" fmla="*/ 1951892 w 5779477"/>
              <a:gd name="connsiteY94" fmla="*/ 29635 h 4179604"/>
              <a:gd name="connsiteX95" fmla="*/ 1471246 w 5779477"/>
              <a:gd name="connsiteY95" fmla="*/ 29635 h 4179604"/>
              <a:gd name="connsiteX96" fmla="*/ 779585 w 5779477"/>
              <a:gd name="connsiteY96" fmla="*/ 41358 h 4179604"/>
              <a:gd name="connsiteX97" fmla="*/ 726831 w 5779477"/>
              <a:gd name="connsiteY97" fmla="*/ 47220 h 4179604"/>
              <a:gd name="connsiteX98" fmla="*/ 656492 w 5779477"/>
              <a:gd name="connsiteY98" fmla="*/ 53081 h 4179604"/>
              <a:gd name="connsiteX99" fmla="*/ 621323 w 5779477"/>
              <a:gd name="connsiteY99" fmla="*/ 58943 h 4179604"/>
              <a:gd name="connsiteX100" fmla="*/ 486508 w 5779477"/>
              <a:gd name="connsiteY100" fmla="*/ 70666 h 4179604"/>
              <a:gd name="connsiteX101" fmla="*/ 357554 w 5779477"/>
              <a:gd name="connsiteY101" fmla="*/ 76527 h 4179604"/>
              <a:gd name="connsiteX102" fmla="*/ 322385 w 5779477"/>
              <a:gd name="connsiteY102" fmla="*/ 99973 h 4179604"/>
              <a:gd name="connsiteX103" fmla="*/ 193431 w 5779477"/>
              <a:gd name="connsiteY103" fmla="*/ 211343 h 4179604"/>
              <a:gd name="connsiteX104" fmla="*/ 99646 w 5779477"/>
              <a:gd name="connsiteY104" fmla="*/ 398912 h 4179604"/>
              <a:gd name="connsiteX105" fmla="*/ 0 w 5779477"/>
              <a:gd name="connsiteY105" fmla="*/ 1131604 h 4179604"/>
              <a:gd name="connsiteX106" fmla="*/ 17585 w 5779477"/>
              <a:gd name="connsiteY106" fmla="*/ 1928773 h 4179604"/>
              <a:gd name="connsiteX107" fmla="*/ 70338 w 5779477"/>
              <a:gd name="connsiteY107" fmla="*/ 2251158 h 4179604"/>
              <a:gd name="connsiteX108" fmla="*/ 123092 w 5779477"/>
              <a:gd name="connsiteY108" fmla="*/ 2473896 h 4179604"/>
              <a:gd name="connsiteX109" fmla="*/ 304800 w 5779477"/>
              <a:gd name="connsiteY109" fmla="*/ 2960404 h 4179604"/>
              <a:gd name="connsiteX110" fmla="*/ 568569 w 5779477"/>
              <a:gd name="connsiteY110" fmla="*/ 3364850 h 4179604"/>
              <a:gd name="connsiteX111" fmla="*/ 926123 w 5779477"/>
              <a:gd name="connsiteY111" fmla="*/ 3663789 h 4179604"/>
              <a:gd name="connsiteX112" fmla="*/ 1002323 w 5779477"/>
              <a:gd name="connsiteY112" fmla="*/ 3728266 h 4179604"/>
              <a:gd name="connsiteX113" fmla="*/ 1301261 w 5779477"/>
              <a:gd name="connsiteY113" fmla="*/ 3892389 h 4179604"/>
              <a:gd name="connsiteX114" fmla="*/ 1447800 w 5779477"/>
              <a:gd name="connsiteY114" fmla="*/ 3927558 h 4179604"/>
              <a:gd name="connsiteX115" fmla="*/ 1488831 w 5779477"/>
              <a:gd name="connsiteY115" fmla="*/ 3939281 h 4179604"/>
              <a:gd name="connsiteX116" fmla="*/ 1688123 w 5779477"/>
              <a:gd name="connsiteY116" fmla="*/ 3945143 h 4179604"/>
              <a:gd name="connsiteX117" fmla="*/ 1811215 w 5779477"/>
              <a:gd name="connsiteY117" fmla="*/ 3974450 h 4179604"/>
              <a:gd name="connsiteX118" fmla="*/ 1852246 w 5779477"/>
              <a:gd name="connsiteY118" fmla="*/ 3992035 h 4179604"/>
              <a:gd name="connsiteX119" fmla="*/ 1875692 w 5779477"/>
              <a:gd name="connsiteY119" fmla="*/ 4003758 h 4179604"/>
              <a:gd name="connsiteX120" fmla="*/ 1963615 w 5779477"/>
              <a:gd name="connsiteY120" fmla="*/ 4021343 h 4179604"/>
              <a:gd name="connsiteX121" fmla="*/ 2057400 w 5779477"/>
              <a:gd name="connsiteY121" fmla="*/ 4050650 h 4179604"/>
              <a:gd name="connsiteX122" fmla="*/ 2104292 w 5779477"/>
              <a:gd name="connsiteY122" fmla="*/ 4056512 h 4179604"/>
              <a:gd name="connsiteX123" fmla="*/ 2303585 w 5779477"/>
              <a:gd name="connsiteY123" fmla="*/ 4097543 h 4179604"/>
              <a:gd name="connsiteX124" fmla="*/ 2368061 w 5779477"/>
              <a:gd name="connsiteY124" fmla="*/ 4109266 h 4179604"/>
              <a:gd name="connsiteX125" fmla="*/ 2584938 w 5779477"/>
              <a:gd name="connsiteY125" fmla="*/ 4162020 h 4179604"/>
              <a:gd name="connsiteX126" fmla="*/ 2702169 w 5779477"/>
              <a:gd name="connsiteY126" fmla="*/ 4179604 h 4179604"/>
              <a:gd name="connsiteX127" fmla="*/ 2795954 w 5779477"/>
              <a:gd name="connsiteY127" fmla="*/ 4138573 h 4179604"/>
              <a:gd name="connsiteX128" fmla="*/ 2854569 w 5779477"/>
              <a:gd name="connsiteY128" fmla="*/ 4109266 h 4179604"/>
              <a:gd name="connsiteX129" fmla="*/ 3217985 w 5779477"/>
              <a:gd name="connsiteY129" fmla="*/ 4144435 h 4179604"/>
              <a:gd name="connsiteX130" fmla="*/ 3259015 w 5779477"/>
              <a:gd name="connsiteY130" fmla="*/ 4120989 h 4179604"/>
              <a:gd name="connsiteX131" fmla="*/ 3282461 w 5779477"/>
              <a:gd name="connsiteY131" fmla="*/ 4079958 h 4179604"/>
              <a:gd name="connsiteX132" fmla="*/ 3317631 w 5779477"/>
              <a:gd name="connsiteY132" fmla="*/ 4056512 h 4179604"/>
              <a:gd name="connsiteX133" fmla="*/ 3329354 w 5779477"/>
              <a:gd name="connsiteY133" fmla="*/ 4033066 h 4179604"/>
              <a:gd name="connsiteX134" fmla="*/ 3346938 w 5779477"/>
              <a:gd name="connsiteY134" fmla="*/ 4009620 h 4179604"/>
              <a:gd name="connsiteX135" fmla="*/ 3358661 w 5779477"/>
              <a:gd name="connsiteY135" fmla="*/ 3962727 h 4179604"/>
              <a:gd name="connsiteX136" fmla="*/ 3364523 w 5779477"/>
              <a:gd name="connsiteY136" fmla="*/ 3933420 h 4179604"/>
              <a:gd name="connsiteX137" fmla="*/ 3387969 w 5779477"/>
              <a:gd name="connsiteY137" fmla="*/ 3898250 h 4179604"/>
              <a:gd name="connsiteX138" fmla="*/ 3376246 w 5779477"/>
              <a:gd name="connsiteY138" fmla="*/ 3880666 h 4179604"/>
              <a:gd name="connsiteX139" fmla="*/ 3399692 w 5779477"/>
              <a:gd name="connsiteY139" fmla="*/ 3763435 h 4179604"/>
              <a:gd name="connsiteX140" fmla="*/ 3387969 w 5779477"/>
              <a:gd name="connsiteY140" fmla="*/ 3734127 h 4179604"/>
              <a:gd name="connsiteX141" fmla="*/ 3423138 w 5779477"/>
              <a:gd name="connsiteY141" fmla="*/ 3657927 h 4179604"/>
              <a:gd name="connsiteX142" fmla="*/ 3464169 w 5779477"/>
              <a:gd name="connsiteY142" fmla="*/ 3622758 h 4179604"/>
              <a:gd name="connsiteX143" fmla="*/ 3487616 w 5779477"/>
              <a:gd name="connsiteY143" fmla="*/ 3593451 h 4179604"/>
              <a:gd name="connsiteX144" fmla="*/ 3405553 w 5779477"/>
              <a:gd name="connsiteY144" fmla="*/ 3429327 h 4179604"/>
              <a:gd name="connsiteX145" fmla="*/ 3364523 w 5779477"/>
              <a:gd name="connsiteY145" fmla="*/ 3341404 h 4179604"/>
              <a:gd name="connsiteX146" fmla="*/ 3276600 w 5779477"/>
              <a:gd name="connsiteY146" fmla="*/ 3294512 h 4179604"/>
              <a:gd name="connsiteX147" fmla="*/ 3264877 w 5779477"/>
              <a:gd name="connsiteY147" fmla="*/ 3271066 h 4179604"/>
              <a:gd name="connsiteX148" fmla="*/ 3229708 w 5779477"/>
              <a:gd name="connsiteY148" fmla="*/ 3212450 h 4179604"/>
              <a:gd name="connsiteX149" fmla="*/ 3212123 w 5779477"/>
              <a:gd name="connsiteY149" fmla="*/ 3142112 h 4179604"/>
              <a:gd name="connsiteX150" fmla="*/ 3229708 w 5779477"/>
              <a:gd name="connsiteY150" fmla="*/ 2966266 h 4179604"/>
              <a:gd name="connsiteX151" fmla="*/ 3253154 w 5779477"/>
              <a:gd name="connsiteY151" fmla="*/ 2919373 h 4179604"/>
              <a:gd name="connsiteX152" fmla="*/ 3264877 w 5779477"/>
              <a:gd name="connsiteY152" fmla="*/ 2872481 h 4179604"/>
              <a:gd name="connsiteX153" fmla="*/ 3305908 w 5779477"/>
              <a:gd name="connsiteY153" fmla="*/ 2761112 h 4179604"/>
              <a:gd name="connsiteX154" fmla="*/ 3323492 w 5779477"/>
              <a:gd name="connsiteY154" fmla="*/ 2720081 h 4179604"/>
              <a:gd name="connsiteX155" fmla="*/ 3364523 w 5779477"/>
              <a:gd name="connsiteY155" fmla="*/ 2620435 h 4179604"/>
              <a:gd name="connsiteX156" fmla="*/ 3382108 w 5779477"/>
              <a:gd name="connsiteY156" fmla="*/ 2579404 h 4179604"/>
              <a:gd name="connsiteX157" fmla="*/ 3417277 w 5779477"/>
              <a:gd name="connsiteY157" fmla="*/ 2538373 h 4179604"/>
              <a:gd name="connsiteX158" fmla="*/ 3440723 w 5779477"/>
              <a:gd name="connsiteY158" fmla="*/ 2520789 h 4179604"/>
              <a:gd name="connsiteX159" fmla="*/ 3458308 w 5779477"/>
              <a:gd name="connsiteY159" fmla="*/ 2497343 h 4179604"/>
              <a:gd name="connsiteX160" fmla="*/ 3470031 w 5779477"/>
              <a:gd name="connsiteY160" fmla="*/ 2473896 h 4179604"/>
              <a:gd name="connsiteX161" fmla="*/ 3487615 w 5779477"/>
              <a:gd name="connsiteY161" fmla="*/ 2468035 h 4179604"/>
              <a:gd name="connsiteX162" fmla="*/ 3663461 w 5779477"/>
              <a:gd name="connsiteY162" fmla="*/ 2491481 h 4179604"/>
              <a:gd name="connsiteX163" fmla="*/ 3722077 w 5779477"/>
              <a:gd name="connsiteY163" fmla="*/ 2509066 h 4179604"/>
              <a:gd name="connsiteX164" fmla="*/ 3804138 w 5779477"/>
              <a:gd name="connsiteY164" fmla="*/ 2514927 h 4179604"/>
              <a:gd name="connsiteX165" fmla="*/ 4366846 w 5779477"/>
              <a:gd name="connsiteY165" fmla="*/ 2532512 h 4179604"/>
              <a:gd name="connsiteX166" fmla="*/ 4472354 w 5779477"/>
              <a:gd name="connsiteY166" fmla="*/ 2514927 h 4179604"/>
              <a:gd name="connsiteX167" fmla="*/ 4495800 w 5779477"/>
              <a:gd name="connsiteY167" fmla="*/ 2491481 h 4179604"/>
              <a:gd name="connsiteX168" fmla="*/ 4513385 w 5779477"/>
              <a:gd name="connsiteY168" fmla="*/ 2485620 h 4179604"/>
              <a:gd name="connsiteX169" fmla="*/ 4536831 w 5779477"/>
              <a:gd name="connsiteY169" fmla="*/ 2462173 h 4179604"/>
              <a:gd name="connsiteX170" fmla="*/ 4554415 w 5779477"/>
              <a:gd name="connsiteY170" fmla="*/ 2456312 h 4179604"/>
              <a:gd name="connsiteX171" fmla="*/ 4577861 w 5779477"/>
              <a:gd name="connsiteY171" fmla="*/ 2444589 h 4179604"/>
              <a:gd name="connsiteX172" fmla="*/ 4601308 w 5779477"/>
              <a:gd name="connsiteY172" fmla="*/ 2427004 h 4179604"/>
              <a:gd name="connsiteX173" fmla="*/ 4618892 w 5779477"/>
              <a:gd name="connsiteY173" fmla="*/ 2421143 h 4179604"/>
              <a:gd name="connsiteX174" fmla="*/ 4648200 w 5779477"/>
              <a:gd name="connsiteY174" fmla="*/ 2403558 h 4179604"/>
              <a:gd name="connsiteX175" fmla="*/ 4624754 w 5779477"/>
              <a:gd name="connsiteY175" fmla="*/ 2385973 h 4179604"/>
              <a:gd name="connsiteX0" fmla="*/ 4624754 w 5779477"/>
              <a:gd name="connsiteY0" fmla="*/ 2385973 h 4179604"/>
              <a:gd name="connsiteX1" fmla="*/ 4700954 w 5779477"/>
              <a:gd name="connsiteY1" fmla="*/ 2362527 h 4179604"/>
              <a:gd name="connsiteX2" fmla="*/ 4706815 w 5779477"/>
              <a:gd name="connsiteY2" fmla="*/ 2303912 h 4179604"/>
              <a:gd name="connsiteX3" fmla="*/ 4712677 w 5779477"/>
              <a:gd name="connsiteY3" fmla="*/ 2286327 h 4179604"/>
              <a:gd name="connsiteX4" fmla="*/ 4741985 w 5779477"/>
              <a:gd name="connsiteY4" fmla="*/ 2262881 h 4179604"/>
              <a:gd name="connsiteX5" fmla="*/ 4771292 w 5779477"/>
              <a:gd name="connsiteY5" fmla="*/ 2239435 h 4179604"/>
              <a:gd name="connsiteX6" fmla="*/ 4806461 w 5779477"/>
              <a:gd name="connsiteY6" fmla="*/ 2210127 h 4179604"/>
              <a:gd name="connsiteX7" fmla="*/ 4818185 w 5779477"/>
              <a:gd name="connsiteY7" fmla="*/ 2198404 h 4179604"/>
              <a:gd name="connsiteX8" fmla="*/ 4870938 w 5779477"/>
              <a:gd name="connsiteY8" fmla="*/ 2180820 h 4179604"/>
              <a:gd name="connsiteX9" fmla="*/ 4888523 w 5779477"/>
              <a:gd name="connsiteY9" fmla="*/ 2169096 h 4179604"/>
              <a:gd name="connsiteX10" fmla="*/ 4923692 w 5779477"/>
              <a:gd name="connsiteY10" fmla="*/ 2163235 h 4179604"/>
              <a:gd name="connsiteX11" fmla="*/ 4947138 w 5779477"/>
              <a:gd name="connsiteY11" fmla="*/ 2157373 h 4179604"/>
              <a:gd name="connsiteX12" fmla="*/ 5081954 w 5779477"/>
              <a:gd name="connsiteY12" fmla="*/ 2133927 h 4179604"/>
              <a:gd name="connsiteX13" fmla="*/ 5134708 w 5779477"/>
              <a:gd name="connsiteY13" fmla="*/ 2151511 h 4179604"/>
              <a:gd name="connsiteX14" fmla="*/ 5181600 w 5779477"/>
              <a:gd name="connsiteY14" fmla="*/ 2092897 h 4179604"/>
              <a:gd name="connsiteX15" fmla="*/ 5269523 w 5779477"/>
              <a:gd name="connsiteY15" fmla="*/ 2069450 h 4179604"/>
              <a:gd name="connsiteX16" fmla="*/ 5187461 w 5779477"/>
              <a:gd name="connsiteY16" fmla="*/ 2139789 h 4179604"/>
              <a:gd name="connsiteX17" fmla="*/ 5228492 w 5779477"/>
              <a:gd name="connsiteY17" fmla="*/ 2057728 h 4179604"/>
              <a:gd name="connsiteX18" fmla="*/ 5372518 w 5779477"/>
              <a:gd name="connsiteY18" fmla="*/ 1753765 h 4179604"/>
              <a:gd name="connsiteX19" fmla="*/ 5455418 w 5779477"/>
              <a:gd name="connsiteY19" fmla="*/ 1489158 h 4179604"/>
              <a:gd name="connsiteX20" fmla="*/ 5451231 w 5779477"/>
              <a:gd name="connsiteY20" fmla="*/ 1407096 h 4179604"/>
              <a:gd name="connsiteX21" fmla="*/ 5474677 w 5779477"/>
              <a:gd name="connsiteY21" fmla="*/ 1371927 h 4179604"/>
              <a:gd name="connsiteX22" fmla="*/ 5492261 w 5779477"/>
              <a:gd name="connsiteY22" fmla="*/ 1348481 h 4179604"/>
              <a:gd name="connsiteX23" fmla="*/ 5503985 w 5779477"/>
              <a:gd name="connsiteY23" fmla="*/ 1319173 h 4179604"/>
              <a:gd name="connsiteX24" fmla="*/ 5533292 w 5779477"/>
              <a:gd name="connsiteY24" fmla="*/ 1266420 h 4179604"/>
              <a:gd name="connsiteX25" fmla="*/ 5556738 w 5779477"/>
              <a:gd name="connsiteY25" fmla="*/ 1219527 h 4179604"/>
              <a:gd name="connsiteX26" fmla="*/ 5603631 w 5779477"/>
              <a:gd name="connsiteY26" fmla="*/ 1155050 h 4179604"/>
              <a:gd name="connsiteX27" fmla="*/ 5668108 w 5779477"/>
              <a:gd name="connsiteY27" fmla="*/ 1020235 h 4179604"/>
              <a:gd name="connsiteX28" fmla="*/ 5709138 w 5779477"/>
              <a:gd name="connsiteY28" fmla="*/ 926450 h 4179604"/>
              <a:gd name="connsiteX29" fmla="*/ 5732585 w 5779477"/>
              <a:gd name="connsiteY29" fmla="*/ 867835 h 4179604"/>
              <a:gd name="connsiteX30" fmla="*/ 5744308 w 5779477"/>
              <a:gd name="connsiteY30" fmla="*/ 551312 h 4179604"/>
              <a:gd name="connsiteX31" fmla="*/ 5750169 w 5779477"/>
              <a:gd name="connsiteY31" fmla="*/ 527866 h 4179604"/>
              <a:gd name="connsiteX32" fmla="*/ 5761892 w 5779477"/>
              <a:gd name="connsiteY32" fmla="*/ 504420 h 4179604"/>
              <a:gd name="connsiteX33" fmla="*/ 5767754 w 5779477"/>
              <a:gd name="connsiteY33" fmla="*/ 475112 h 4179604"/>
              <a:gd name="connsiteX34" fmla="*/ 5773615 w 5779477"/>
              <a:gd name="connsiteY34" fmla="*/ 457527 h 4179604"/>
              <a:gd name="connsiteX35" fmla="*/ 5779477 w 5779477"/>
              <a:gd name="connsiteY35" fmla="*/ 369604 h 4179604"/>
              <a:gd name="connsiteX36" fmla="*/ 5767754 w 5779477"/>
              <a:gd name="connsiteY36" fmla="*/ 141004 h 4179604"/>
              <a:gd name="connsiteX37" fmla="*/ 5761892 w 5779477"/>
              <a:gd name="connsiteY37" fmla="*/ 105835 h 4179604"/>
              <a:gd name="connsiteX38" fmla="*/ 5750169 w 5779477"/>
              <a:gd name="connsiteY38" fmla="*/ 88250 h 4179604"/>
              <a:gd name="connsiteX39" fmla="*/ 5744308 w 5779477"/>
              <a:gd name="connsiteY39" fmla="*/ 64804 h 4179604"/>
              <a:gd name="connsiteX40" fmla="*/ 5691554 w 5779477"/>
              <a:gd name="connsiteY40" fmla="*/ 70666 h 4179604"/>
              <a:gd name="connsiteX41" fmla="*/ 5615354 w 5779477"/>
              <a:gd name="connsiteY41" fmla="*/ 58943 h 4179604"/>
              <a:gd name="connsiteX42" fmla="*/ 5533292 w 5779477"/>
              <a:gd name="connsiteY42" fmla="*/ 29635 h 4179604"/>
              <a:gd name="connsiteX43" fmla="*/ 5492261 w 5779477"/>
              <a:gd name="connsiteY43" fmla="*/ 12050 h 4179604"/>
              <a:gd name="connsiteX44" fmla="*/ 5427785 w 5779477"/>
              <a:gd name="connsiteY44" fmla="*/ 327 h 4179604"/>
              <a:gd name="connsiteX45" fmla="*/ 5257800 w 5779477"/>
              <a:gd name="connsiteY45" fmla="*/ 12050 h 4179604"/>
              <a:gd name="connsiteX46" fmla="*/ 5122985 w 5779477"/>
              <a:gd name="connsiteY46" fmla="*/ 41358 h 4179604"/>
              <a:gd name="connsiteX47" fmla="*/ 5058508 w 5779477"/>
              <a:gd name="connsiteY47" fmla="*/ 47220 h 4179604"/>
              <a:gd name="connsiteX48" fmla="*/ 3552092 w 5779477"/>
              <a:gd name="connsiteY48" fmla="*/ 58943 h 4179604"/>
              <a:gd name="connsiteX49" fmla="*/ 3376246 w 5779477"/>
              <a:gd name="connsiteY49" fmla="*/ 70666 h 4179604"/>
              <a:gd name="connsiteX50" fmla="*/ 3124200 w 5779477"/>
              <a:gd name="connsiteY50" fmla="*/ 76527 h 4179604"/>
              <a:gd name="connsiteX51" fmla="*/ 3053861 w 5779477"/>
              <a:gd name="connsiteY51" fmla="*/ 111696 h 4179604"/>
              <a:gd name="connsiteX52" fmla="*/ 2995246 w 5779477"/>
              <a:gd name="connsiteY52" fmla="*/ 176173 h 4179604"/>
              <a:gd name="connsiteX53" fmla="*/ 2895600 w 5779477"/>
              <a:gd name="connsiteY53" fmla="*/ 357881 h 4179604"/>
              <a:gd name="connsiteX54" fmla="*/ 2878015 w 5779477"/>
              <a:gd name="connsiteY54" fmla="*/ 510281 h 4179604"/>
              <a:gd name="connsiteX55" fmla="*/ 2883877 w 5779477"/>
              <a:gd name="connsiteY55" fmla="*/ 580620 h 4179604"/>
              <a:gd name="connsiteX56" fmla="*/ 3036277 w 5779477"/>
              <a:gd name="connsiteY56" fmla="*/ 891281 h 4179604"/>
              <a:gd name="connsiteX57" fmla="*/ 3100754 w 5779477"/>
              <a:gd name="connsiteY57" fmla="*/ 996789 h 4179604"/>
              <a:gd name="connsiteX58" fmla="*/ 3153508 w 5779477"/>
              <a:gd name="connsiteY58" fmla="*/ 1096435 h 4179604"/>
              <a:gd name="connsiteX59" fmla="*/ 3294185 w 5779477"/>
              <a:gd name="connsiteY59" fmla="*/ 1412958 h 4179604"/>
              <a:gd name="connsiteX60" fmla="*/ 3411415 w 5779477"/>
              <a:gd name="connsiteY60" fmla="*/ 1618112 h 4179604"/>
              <a:gd name="connsiteX61" fmla="*/ 3458308 w 5779477"/>
              <a:gd name="connsiteY61" fmla="*/ 1700173 h 4179604"/>
              <a:gd name="connsiteX62" fmla="*/ 3487615 w 5779477"/>
              <a:gd name="connsiteY62" fmla="*/ 1747066 h 4179604"/>
              <a:gd name="connsiteX63" fmla="*/ 3522785 w 5779477"/>
              <a:gd name="connsiteY63" fmla="*/ 1817404 h 4179604"/>
              <a:gd name="connsiteX64" fmla="*/ 3528646 w 5779477"/>
              <a:gd name="connsiteY64" fmla="*/ 1846712 h 4179604"/>
              <a:gd name="connsiteX65" fmla="*/ 3546231 w 5779477"/>
              <a:gd name="connsiteY65" fmla="*/ 1887743 h 4179604"/>
              <a:gd name="connsiteX66" fmla="*/ 3557954 w 5779477"/>
              <a:gd name="connsiteY66" fmla="*/ 1952220 h 4179604"/>
              <a:gd name="connsiteX67" fmla="*/ 3540369 w 5779477"/>
              <a:gd name="connsiteY67" fmla="*/ 2016696 h 4179604"/>
              <a:gd name="connsiteX68" fmla="*/ 3417277 w 5779477"/>
              <a:gd name="connsiteY68" fmla="*/ 2075312 h 4179604"/>
              <a:gd name="connsiteX69" fmla="*/ 3288323 w 5779477"/>
              <a:gd name="connsiteY69" fmla="*/ 1846712 h 4179604"/>
              <a:gd name="connsiteX70" fmla="*/ 3259015 w 5779477"/>
              <a:gd name="connsiteY70" fmla="*/ 1682589 h 4179604"/>
              <a:gd name="connsiteX71" fmla="*/ 3223846 w 5779477"/>
              <a:gd name="connsiteY71" fmla="*/ 1442266 h 4179604"/>
              <a:gd name="connsiteX72" fmla="*/ 3217985 w 5779477"/>
              <a:gd name="connsiteY72" fmla="*/ 1377789 h 4179604"/>
              <a:gd name="connsiteX73" fmla="*/ 3194538 w 5779477"/>
              <a:gd name="connsiteY73" fmla="*/ 1307450 h 4179604"/>
              <a:gd name="connsiteX74" fmla="*/ 3153508 w 5779477"/>
              <a:gd name="connsiteY74" fmla="*/ 1166773 h 4179604"/>
              <a:gd name="connsiteX75" fmla="*/ 3001108 w 5779477"/>
              <a:gd name="connsiteY75" fmla="*/ 867835 h 4179604"/>
              <a:gd name="connsiteX76" fmla="*/ 2965938 w 5779477"/>
              <a:gd name="connsiteY76" fmla="*/ 791635 h 4179604"/>
              <a:gd name="connsiteX77" fmla="*/ 2936631 w 5779477"/>
              <a:gd name="connsiteY77" fmla="*/ 721296 h 4179604"/>
              <a:gd name="connsiteX78" fmla="*/ 2924908 w 5779477"/>
              <a:gd name="connsiteY78" fmla="*/ 703712 h 4179604"/>
              <a:gd name="connsiteX79" fmla="*/ 2907323 w 5779477"/>
              <a:gd name="connsiteY79" fmla="*/ 633373 h 4179604"/>
              <a:gd name="connsiteX80" fmla="*/ 2889738 w 5779477"/>
              <a:gd name="connsiteY80" fmla="*/ 609927 h 4179604"/>
              <a:gd name="connsiteX81" fmla="*/ 2878015 w 5779477"/>
              <a:gd name="connsiteY81" fmla="*/ 451666 h 4179604"/>
              <a:gd name="connsiteX82" fmla="*/ 2866292 w 5779477"/>
              <a:gd name="connsiteY82" fmla="*/ 340296 h 4179604"/>
              <a:gd name="connsiteX83" fmla="*/ 2848708 w 5779477"/>
              <a:gd name="connsiteY83" fmla="*/ 240650 h 4179604"/>
              <a:gd name="connsiteX84" fmla="*/ 2784231 w 5779477"/>
              <a:gd name="connsiteY84" fmla="*/ 135143 h 4179604"/>
              <a:gd name="connsiteX85" fmla="*/ 2608385 w 5779477"/>
              <a:gd name="connsiteY85" fmla="*/ 64805 h 4179604"/>
              <a:gd name="connsiteX86" fmla="*/ 2573215 w 5779477"/>
              <a:gd name="connsiteY86" fmla="*/ 41358 h 4179604"/>
              <a:gd name="connsiteX87" fmla="*/ 2491154 w 5779477"/>
              <a:gd name="connsiteY87" fmla="*/ 327 h 4179604"/>
              <a:gd name="connsiteX88" fmla="*/ 2403231 w 5779477"/>
              <a:gd name="connsiteY88" fmla="*/ 23773 h 4179604"/>
              <a:gd name="connsiteX89" fmla="*/ 2356338 w 5779477"/>
              <a:gd name="connsiteY89" fmla="*/ 41358 h 4179604"/>
              <a:gd name="connsiteX90" fmla="*/ 2315308 w 5779477"/>
              <a:gd name="connsiteY90" fmla="*/ 47220 h 4179604"/>
              <a:gd name="connsiteX91" fmla="*/ 2268415 w 5779477"/>
              <a:gd name="connsiteY91" fmla="*/ 58943 h 4179604"/>
              <a:gd name="connsiteX92" fmla="*/ 2063261 w 5779477"/>
              <a:gd name="connsiteY92" fmla="*/ 53081 h 4179604"/>
              <a:gd name="connsiteX93" fmla="*/ 2010508 w 5779477"/>
              <a:gd name="connsiteY93" fmla="*/ 41358 h 4179604"/>
              <a:gd name="connsiteX94" fmla="*/ 1951892 w 5779477"/>
              <a:gd name="connsiteY94" fmla="*/ 29635 h 4179604"/>
              <a:gd name="connsiteX95" fmla="*/ 1471246 w 5779477"/>
              <a:gd name="connsiteY95" fmla="*/ 29635 h 4179604"/>
              <a:gd name="connsiteX96" fmla="*/ 779585 w 5779477"/>
              <a:gd name="connsiteY96" fmla="*/ 41358 h 4179604"/>
              <a:gd name="connsiteX97" fmla="*/ 726831 w 5779477"/>
              <a:gd name="connsiteY97" fmla="*/ 47220 h 4179604"/>
              <a:gd name="connsiteX98" fmla="*/ 656492 w 5779477"/>
              <a:gd name="connsiteY98" fmla="*/ 53081 h 4179604"/>
              <a:gd name="connsiteX99" fmla="*/ 621323 w 5779477"/>
              <a:gd name="connsiteY99" fmla="*/ 58943 h 4179604"/>
              <a:gd name="connsiteX100" fmla="*/ 486508 w 5779477"/>
              <a:gd name="connsiteY100" fmla="*/ 70666 h 4179604"/>
              <a:gd name="connsiteX101" fmla="*/ 357554 w 5779477"/>
              <a:gd name="connsiteY101" fmla="*/ 76527 h 4179604"/>
              <a:gd name="connsiteX102" fmla="*/ 322385 w 5779477"/>
              <a:gd name="connsiteY102" fmla="*/ 99973 h 4179604"/>
              <a:gd name="connsiteX103" fmla="*/ 193431 w 5779477"/>
              <a:gd name="connsiteY103" fmla="*/ 211343 h 4179604"/>
              <a:gd name="connsiteX104" fmla="*/ 99646 w 5779477"/>
              <a:gd name="connsiteY104" fmla="*/ 398912 h 4179604"/>
              <a:gd name="connsiteX105" fmla="*/ 0 w 5779477"/>
              <a:gd name="connsiteY105" fmla="*/ 1131604 h 4179604"/>
              <a:gd name="connsiteX106" fmla="*/ 17585 w 5779477"/>
              <a:gd name="connsiteY106" fmla="*/ 1928773 h 4179604"/>
              <a:gd name="connsiteX107" fmla="*/ 70338 w 5779477"/>
              <a:gd name="connsiteY107" fmla="*/ 2251158 h 4179604"/>
              <a:gd name="connsiteX108" fmla="*/ 123092 w 5779477"/>
              <a:gd name="connsiteY108" fmla="*/ 2473896 h 4179604"/>
              <a:gd name="connsiteX109" fmla="*/ 304800 w 5779477"/>
              <a:gd name="connsiteY109" fmla="*/ 2960404 h 4179604"/>
              <a:gd name="connsiteX110" fmla="*/ 568569 w 5779477"/>
              <a:gd name="connsiteY110" fmla="*/ 3364850 h 4179604"/>
              <a:gd name="connsiteX111" fmla="*/ 926123 w 5779477"/>
              <a:gd name="connsiteY111" fmla="*/ 3663789 h 4179604"/>
              <a:gd name="connsiteX112" fmla="*/ 1002323 w 5779477"/>
              <a:gd name="connsiteY112" fmla="*/ 3728266 h 4179604"/>
              <a:gd name="connsiteX113" fmla="*/ 1301261 w 5779477"/>
              <a:gd name="connsiteY113" fmla="*/ 3892389 h 4179604"/>
              <a:gd name="connsiteX114" fmla="*/ 1447800 w 5779477"/>
              <a:gd name="connsiteY114" fmla="*/ 3927558 h 4179604"/>
              <a:gd name="connsiteX115" fmla="*/ 1488831 w 5779477"/>
              <a:gd name="connsiteY115" fmla="*/ 3939281 h 4179604"/>
              <a:gd name="connsiteX116" fmla="*/ 1688123 w 5779477"/>
              <a:gd name="connsiteY116" fmla="*/ 3945143 h 4179604"/>
              <a:gd name="connsiteX117" fmla="*/ 1811215 w 5779477"/>
              <a:gd name="connsiteY117" fmla="*/ 3974450 h 4179604"/>
              <a:gd name="connsiteX118" fmla="*/ 1852246 w 5779477"/>
              <a:gd name="connsiteY118" fmla="*/ 3992035 h 4179604"/>
              <a:gd name="connsiteX119" fmla="*/ 1875692 w 5779477"/>
              <a:gd name="connsiteY119" fmla="*/ 4003758 h 4179604"/>
              <a:gd name="connsiteX120" fmla="*/ 1963615 w 5779477"/>
              <a:gd name="connsiteY120" fmla="*/ 4021343 h 4179604"/>
              <a:gd name="connsiteX121" fmla="*/ 2057400 w 5779477"/>
              <a:gd name="connsiteY121" fmla="*/ 4050650 h 4179604"/>
              <a:gd name="connsiteX122" fmla="*/ 2104292 w 5779477"/>
              <a:gd name="connsiteY122" fmla="*/ 4056512 h 4179604"/>
              <a:gd name="connsiteX123" fmla="*/ 2303585 w 5779477"/>
              <a:gd name="connsiteY123" fmla="*/ 4097543 h 4179604"/>
              <a:gd name="connsiteX124" fmla="*/ 2368061 w 5779477"/>
              <a:gd name="connsiteY124" fmla="*/ 4109266 h 4179604"/>
              <a:gd name="connsiteX125" fmla="*/ 2584938 w 5779477"/>
              <a:gd name="connsiteY125" fmla="*/ 4162020 h 4179604"/>
              <a:gd name="connsiteX126" fmla="*/ 2702169 w 5779477"/>
              <a:gd name="connsiteY126" fmla="*/ 4179604 h 4179604"/>
              <a:gd name="connsiteX127" fmla="*/ 2795954 w 5779477"/>
              <a:gd name="connsiteY127" fmla="*/ 4138573 h 4179604"/>
              <a:gd name="connsiteX128" fmla="*/ 2854569 w 5779477"/>
              <a:gd name="connsiteY128" fmla="*/ 4109266 h 4179604"/>
              <a:gd name="connsiteX129" fmla="*/ 3217985 w 5779477"/>
              <a:gd name="connsiteY129" fmla="*/ 4144435 h 4179604"/>
              <a:gd name="connsiteX130" fmla="*/ 3259015 w 5779477"/>
              <a:gd name="connsiteY130" fmla="*/ 4120989 h 4179604"/>
              <a:gd name="connsiteX131" fmla="*/ 3282461 w 5779477"/>
              <a:gd name="connsiteY131" fmla="*/ 4079958 h 4179604"/>
              <a:gd name="connsiteX132" fmla="*/ 3317631 w 5779477"/>
              <a:gd name="connsiteY132" fmla="*/ 4056512 h 4179604"/>
              <a:gd name="connsiteX133" fmla="*/ 3329354 w 5779477"/>
              <a:gd name="connsiteY133" fmla="*/ 4033066 h 4179604"/>
              <a:gd name="connsiteX134" fmla="*/ 3346938 w 5779477"/>
              <a:gd name="connsiteY134" fmla="*/ 4009620 h 4179604"/>
              <a:gd name="connsiteX135" fmla="*/ 3358661 w 5779477"/>
              <a:gd name="connsiteY135" fmla="*/ 3962727 h 4179604"/>
              <a:gd name="connsiteX136" fmla="*/ 3364523 w 5779477"/>
              <a:gd name="connsiteY136" fmla="*/ 3933420 h 4179604"/>
              <a:gd name="connsiteX137" fmla="*/ 3387969 w 5779477"/>
              <a:gd name="connsiteY137" fmla="*/ 3898250 h 4179604"/>
              <a:gd name="connsiteX138" fmla="*/ 3376246 w 5779477"/>
              <a:gd name="connsiteY138" fmla="*/ 3880666 h 4179604"/>
              <a:gd name="connsiteX139" fmla="*/ 3399692 w 5779477"/>
              <a:gd name="connsiteY139" fmla="*/ 3763435 h 4179604"/>
              <a:gd name="connsiteX140" fmla="*/ 3387969 w 5779477"/>
              <a:gd name="connsiteY140" fmla="*/ 3734127 h 4179604"/>
              <a:gd name="connsiteX141" fmla="*/ 3423138 w 5779477"/>
              <a:gd name="connsiteY141" fmla="*/ 3657927 h 4179604"/>
              <a:gd name="connsiteX142" fmla="*/ 3464169 w 5779477"/>
              <a:gd name="connsiteY142" fmla="*/ 3622758 h 4179604"/>
              <a:gd name="connsiteX143" fmla="*/ 3487616 w 5779477"/>
              <a:gd name="connsiteY143" fmla="*/ 3593451 h 4179604"/>
              <a:gd name="connsiteX144" fmla="*/ 3405553 w 5779477"/>
              <a:gd name="connsiteY144" fmla="*/ 3429327 h 4179604"/>
              <a:gd name="connsiteX145" fmla="*/ 3364523 w 5779477"/>
              <a:gd name="connsiteY145" fmla="*/ 3341404 h 4179604"/>
              <a:gd name="connsiteX146" fmla="*/ 3276600 w 5779477"/>
              <a:gd name="connsiteY146" fmla="*/ 3294512 h 4179604"/>
              <a:gd name="connsiteX147" fmla="*/ 3264877 w 5779477"/>
              <a:gd name="connsiteY147" fmla="*/ 3271066 h 4179604"/>
              <a:gd name="connsiteX148" fmla="*/ 3229708 w 5779477"/>
              <a:gd name="connsiteY148" fmla="*/ 3212450 h 4179604"/>
              <a:gd name="connsiteX149" fmla="*/ 3212123 w 5779477"/>
              <a:gd name="connsiteY149" fmla="*/ 3142112 h 4179604"/>
              <a:gd name="connsiteX150" fmla="*/ 3229708 w 5779477"/>
              <a:gd name="connsiteY150" fmla="*/ 2966266 h 4179604"/>
              <a:gd name="connsiteX151" fmla="*/ 3253154 w 5779477"/>
              <a:gd name="connsiteY151" fmla="*/ 2919373 h 4179604"/>
              <a:gd name="connsiteX152" fmla="*/ 3264877 w 5779477"/>
              <a:gd name="connsiteY152" fmla="*/ 2872481 h 4179604"/>
              <a:gd name="connsiteX153" fmla="*/ 3305908 w 5779477"/>
              <a:gd name="connsiteY153" fmla="*/ 2761112 h 4179604"/>
              <a:gd name="connsiteX154" fmla="*/ 3323492 w 5779477"/>
              <a:gd name="connsiteY154" fmla="*/ 2720081 h 4179604"/>
              <a:gd name="connsiteX155" fmla="*/ 3364523 w 5779477"/>
              <a:gd name="connsiteY155" fmla="*/ 2620435 h 4179604"/>
              <a:gd name="connsiteX156" fmla="*/ 3382108 w 5779477"/>
              <a:gd name="connsiteY156" fmla="*/ 2579404 h 4179604"/>
              <a:gd name="connsiteX157" fmla="*/ 3417277 w 5779477"/>
              <a:gd name="connsiteY157" fmla="*/ 2538373 h 4179604"/>
              <a:gd name="connsiteX158" fmla="*/ 3440723 w 5779477"/>
              <a:gd name="connsiteY158" fmla="*/ 2520789 h 4179604"/>
              <a:gd name="connsiteX159" fmla="*/ 3458308 w 5779477"/>
              <a:gd name="connsiteY159" fmla="*/ 2497343 h 4179604"/>
              <a:gd name="connsiteX160" fmla="*/ 3470031 w 5779477"/>
              <a:gd name="connsiteY160" fmla="*/ 2473896 h 4179604"/>
              <a:gd name="connsiteX161" fmla="*/ 3487615 w 5779477"/>
              <a:gd name="connsiteY161" fmla="*/ 2468035 h 4179604"/>
              <a:gd name="connsiteX162" fmla="*/ 3663461 w 5779477"/>
              <a:gd name="connsiteY162" fmla="*/ 2491481 h 4179604"/>
              <a:gd name="connsiteX163" fmla="*/ 3722077 w 5779477"/>
              <a:gd name="connsiteY163" fmla="*/ 2509066 h 4179604"/>
              <a:gd name="connsiteX164" fmla="*/ 3804138 w 5779477"/>
              <a:gd name="connsiteY164" fmla="*/ 2514927 h 4179604"/>
              <a:gd name="connsiteX165" fmla="*/ 4366846 w 5779477"/>
              <a:gd name="connsiteY165" fmla="*/ 2532512 h 4179604"/>
              <a:gd name="connsiteX166" fmla="*/ 4472354 w 5779477"/>
              <a:gd name="connsiteY166" fmla="*/ 2514927 h 4179604"/>
              <a:gd name="connsiteX167" fmla="*/ 4495800 w 5779477"/>
              <a:gd name="connsiteY167" fmla="*/ 2491481 h 4179604"/>
              <a:gd name="connsiteX168" fmla="*/ 4513385 w 5779477"/>
              <a:gd name="connsiteY168" fmla="*/ 2485620 h 4179604"/>
              <a:gd name="connsiteX169" fmla="*/ 4536831 w 5779477"/>
              <a:gd name="connsiteY169" fmla="*/ 2462173 h 4179604"/>
              <a:gd name="connsiteX170" fmla="*/ 4554415 w 5779477"/>
              <a:gd name="connsiteY170" fmla="*/ 2456312 h 4179604"/>
              <a:gd name="connsiteX171" fmla="*/ 4577861 w 5779477"/>
              <a:gd name="connsiteY171" fmla="*/ 2444589 h 4179604"/>
              <a:gd name="connsiteX172" fmla="*/ 4601308 w 5779477"/>
              <a:gd name="connsiteY172" fmla="*/ 2427004 h 4179604"/>
              <a:gd name="connsiteX173" fmla="*/ 4618892 w 5779477"/>
              <a:gd name="connsiteY173" fmla="*/ 2421143 h 4179604"/>
              <a:gd name="connsiteX174" fmla="*/ 4648200 w 5779477"/>
              <a:gd name="connsiteY174" fmla="*/ 2403558 h 4179604"/>
              <a:gd name="connsiteX175" fmla="*/ 4624754 w 5779477"/>
              <a:gd name="connsiteY175" fmla="*/ 2385973 h 4179604"/>
              <a:gd name="connsiteX0" fmla="*/ 4624754 w 5779477"/>
              <a:gd name="connsiteY0" fmla="*/ 2385973 h 4179604"/>
              <a:gd name="connsiteX1" fmla="*/ 4700954 w 5779477"/>
              <a:gd name="connsiteY1" fmla="*/ 2362527 h 4179604"/>
              <a:gd name="connsiteX2" fmla="*/ 4706815 w 5779477"/>
              <a:gd name="connsiteY2" fmla="*/ 2303912 h 4179604"/>
              <a:gd name="connsiteX3" fmla="*/ 4712677 w 5779477"/>
              <a:gd name="connsiteY3" fmla="*/ 2286327 h 4179604"/>
              <a:gd name="connsiteX4" fmla="*/ 4741985 w 5779477"/>
              <a:gd name="connsiteY4" fmla="*/ 2262881 h 4179604"/>
              <a:gd name="connsiteX5" fmla="*/ 4771292 w 5779477"/>
              <a:gd name="connsiteY5" fmla="*/ 2239435 h 4179604"/>
              <a:gd name="connsiteX6" fmla="*/ 4806461 w 5779477"/>
              <a:gd name="connsiteY6" fmla="*/ 2210127 h 4179604"/>
              <a:gd name="connsiteX7" fmla="*/ 4818185 w 5779477"/>
              <a:gd name="connsiteY7" fmla="*/ 2198404 h 4179604"/>
              <a:gd name="connsiteX8" fmla="*/ 4870938 w 5779477"/>
              <a:gd name="connsiteY8" fmla="*/ 2180820 h 4179604"/>
              <a:gd name="connsiteX9" fmla="*/ 4888523 w 5779477"/>
              <a:gd name="connsiteY9" fmla="*/ 2169096 h 4179604"/>
              <a:gd name="connsiteX10" fmla="*/ 4923692 w 5779477"/>
              <a:gd name="connsiteY10" fmla="*/ 2163235 h 4179604"/>
              <a:gd name="connsiteX11" fmla="*/ 4947138 w 5779477"/>
              <a:gd name="connsiteY11" fmla="*/ 2157373 h 4179604"/>
              <a:gd name="connsiteX12" fmla="*/ 5124816 w 5779477"/>
              <a:gd name="connsiteY12" fmla="*/ 2167265 h 4179604"/>
              <a:gd name="connsiteX13" fmla="*/ 5134708 w 5779477"/>
              <a:gd name="connsiteY13" fmla="*/ 2151511 h 4179604"/>
              <a:gd name="connsiteX14" fmla="*/ 5181600 w 5779477"/>
              <a:gd name="connsiteY14" fmla="*/ 2092897 h 4179604"/>
              <a:gd name="connsiteX15" fmla="*/ 5269523 w 5779477"/>
              <a:gd name="connsiteY15" fmla="*/ 2069450 h 4179604"/>
              <a:gd name="connsiteX16" fmla="*/ 5187461 w 5779477"/>
              <a:gd name="connsiteY16" fmla="*/ 2139789 h 4179604"/>
              <a:gd name="connsiteX17" fmla="*/ 5228492 w 5779477"/>
              <a:gd name="connsiteY17" fmla="*/ 2057728 h 4179604"/>
              <a:gd name="connsiteX18" fmla="*/ 5372518 w 5779477"/>
              <a:gd name="connsiteY18" fmla="*/ 1753765 h 4179604"/>
              <a:gd name="connsiteX19" fmla="*/ 5455418 w 5779477"/>
              <a:gd name="connsiteY19" fmla="*/ 1489158 h 4179604"/>
              <a:gd name="connsiteX20" fmla="*/ 5451231 w 5779477"/>
              <a:gd name="connsiteY20" fmla="*/ 1407096 h 4179604"/>
              <a:gd name="connsiteX21" fmla="*/ 5474677 w 5779477"/>
              <a:gd name="connsiteY21" fmla="*/ 1371927 h 4179604"/>
              <a:gd name="connsiteX22" fmla="*/ 5492261 w 5779477"/>
              <a:gd name="connsiteY22" fmla="*/ 1348481 h 4179604"/>
              <a:gd name="connsiteX23" fmla="*/ 5503985 w 5779477"/>
              <a:gd name="connsiteY23" fmla="*/ 1319173 h 4179604"/>
              <a:gd name="connsiteX24" fmla="*/ 5533292 w 5779477"/>
              <a:gd name="connsiteY24" fmla="*/ 1266420 h 4179604"/>
              <a:gd name="connsiteX25" fmla="*/ 5556738 w 5779477"/>
              <a:gd name="connsiteY25" fmla="*/ 1219527 h 4179604"/>
              <a:gd name="connsiteX26" fmla="*/ 5603631 w 5779477"/>
              <a:gd name="connsiteY26" fmla="*/ 1155050 h 4179604"/>
              <a:gd name="connsiteX27" fmla="*/ 5668108 w 5779477"/>
              <a:gd name="connsiteY27" fmla="*/ 1020235 h 4179604"/>
              <a:gd name="connsiteX28" fmla="*/ 5709138 w 5779477"/>
              <a:gd name="connsiteY28" fmla="*/ 926450 h 4179604"/>
              <a:gd name="connsiteX29" fmla="*/ 5732585 w 5779477"/>
              <a:gd name="connsiteY29" fmla="*/ 867835 h 4179604"/>
              <a:gd name="connsiteX30" fmla="*/ 5744308 w 5779477"/>
              <a:gd name="connsiteY30" fmla="*/ 551312 h 4179604"/>
              <a:gd name="connsiteX31" fmla="*/ 5750169 w 5779477"/>
              <a:gd name="connsiteY31" fmla="*/ 527866 h 4179604"/>
              <a:gd name="connsiteX32" fmla="*/ 5761892 w 5779477"/>
              <a:gd name="connsiteY32" fmla="*/ 504420 h 4179604"/>
              <a:gd name="connsiteX33" fmla="*/ 5767754 w 5779477"/>
              <a:gd name="connsiteY33" fmla="*/ 475112 h 4179604"/>
              <a:gd name="connsiteX34" fmla="*/ 5773615 w 5779477"/>
              <a:gd name="connsiteY34" fmla="*/ 457527 h 4179604"/>
              <a:gd name="connsiteX35" fmla="*/ 5779477 w 5779477"/>
              <a:gd name="connsiteY35" fmla="*/ 369604 h 4179604"/>
              <a:gd name="connsiteX36" fmla="*/ 5767754 w 5779477"/>
              <a:gd name="connsiteY36" fmla="*/ 141004 h 4179604"/>
              <a:gd name="connsiteX37" fmla="*/ 5761892 w 5779477"/>
              <a:gd name="connsiteY37" fmla="*/ 105835 h 4179604"/>
              <a:gd name="connsiteX38" fmla="*/ 5750169 w 5779477"/>
              <a:gd name="connsiteY38" fmla="*/ 88250 h 4179604"/>
              <a:gd name="connsiteX39" fmla="*/ 5744308 w 5779477"/>
              <a:gd name="connsiteY39" fmla="*/ 64804 h 4179604"/>
              <a:gd name="connsiteX40" fmla="*/ 5691554 w 5779477"/>
              <a:gd name="connsiteY40" fmla="*/ 70666 h 4179604"/>
              <a:gd name="connsiteX41" fmla="*/ 5615354 w 5779477"/>
              <a:gd name="connsiteY41" fmla="*/ 58943 h 4179604"/>
              <a:gd name="connsiteX42" fmla="*/ 5533292 w 5779477"/>
              <a:gd name="connsiteY42" fmla="*/ 29635 h 4179604"/>
              <a:gd name="connsiteX43" fmla="*/ 5492261 w 5779477"/>
              <a:gd name="connsiteY43" fmla="*/ 12050 h 4179604"/>
              <a:gd name="connsiteX44" fmla="*/ 5427785 w 5779477"/>
              <a:gd name="connsiteY44" fmla="*/ 327 h 4179604"/>
              <a:gd name="connsiteX45" fmla="*/ 5257800 w 5779477"/>
              <a:gd name="connsiteY45" fmla="*/ 12050 h 4179604"/>
              <a:gd name="connsiteX46" fmla="*/ 5122985 w 5779477"/>
              <a:gd name="connsiteY46" fmla="*/ 41358 h 4179604"/>
              <a:gd name="connsiteX47" fmla="*/ 5058508 w 5779477"/>
              <a:gd name="connsiteY47" fmla="*/ 47220 h 4179604"/>
              <a:gd name="connsiteX48" fmla="*/ 3552092 w 5779477"/>
              <a:gd name="connsiteY48" fmla="*/ 58943 h 4179604"/>
              <a:gd name="connsiteX49" fmla="*/ 3376246 w 5779477"/>
              <a:gd name="connsiteY49" fmla="*/ 70666 h 4179604"/>
              <a:gd name="connsiteX50" fmla="*/ 3124200 w 5779477"/>
              <a:gd name="connsiteY50" fmla="*/ 76527 h 4179604"/>
              <a:gd name="connsiteX51" fmla="*/ 3053861 w 5779477"/>
              <a:gd name="connsiteY51" fmla="*/ 111696 h 4179604"/>
              <a:gd name="connsiteX52" fmla="*/ 2995246 w 5779477"/>
              <a:gd name="connsiteY52" fmla="*/ 176173 h 4179604"/>
              <a:gd name="connsiteX53" fmla="*/ 2895600 w 5779477"/>
              <a:gd name="connsiteY53" fmla="*/ 357881 h 4179604"/>
              <a:gd name="connsiteX54" fmla="*/ 2878015 w 5779477"/>
              <a:gd name="connsiteY54" fmla="*/ 510281 h 4179604"/>
              <a:gd name="connsiteX55" fmla="*/ 2883877 w 5779477"/>
              <a:gd name="connsiteY55" fmla="*/ 580620 h 4179604"/>
              <a:gd name="connsiteX56" fmla="*/ 3036277 w 5779477"/>
              <a:gd name="connsiteY56" fmla="*/ 891281 h 4179604"/>
              <a:gd name="connsiteX57" fmla="*/ 3100754 w 5779477"/>
              <a:gd name="connsiteY57" fmla="*/ 996789 h 4179604"/>
              <a:gd name="connsiteX58" fmla="*/ 3153508 w 5779477"/>
              <a:gd name="connsiteY58" fmla="*/ 1096435 h 4179604"/>
              <a:gd name="connsiteX59" fmla="*/ 3294185 w 5779477"/>
              <a:gd name="connsiteY59" fmla="*/ 1412958 h 4179604"/>
              <a:gd name="connsiteX60" fmla="*/ 3411415 w 5779477"/>
              <a:gd name="connsiteY60" fmla="*/ 1618112 h 4179604"/>
              <a:gd name="connsiteX61" fmla="*/ 3458308 w 5779477"/>
              <a:gd name="connsiteY61" fmla="*/ 1700173 h 4179604"/>
              <a:gd name="connsiteX62" fmla="*/ 3487615 w 5779477"/>
              <a:gd name="connsiteY62" fmla="*/ 1747066 h 4179604"/>
              <a:gd name="connsiteX63" fmla="*/ 3522785 w 5779477"/>
              <a:gd name="connsiteY63" fmla="*/ 1817404 h 4179604"/>
              <a:gd name="connsiteX64" fmla="*/ 3528646 w 5779477"/>
              <a:gd name="connsiteY64" fmla="*/ 1846712 h 4179604"/>
              <a:gd name="connsiteX65" fmla="*/ 3546231 w 5779477"/>
              <a:gd name="connsiteY65" fmla="*/ 1887743 h 4179604"/>
              <a:gd name="connsiteX66" fmla="*/ 3557954 w 5779477"/>
              <a:gd name="connsiteY66" fmla="*/ 1952220 h 4179604"/>
              <a:gd name="connsiteX67" fmla="*/ 3540369 w 5779477"/>
              <a:gd name="connsiteY67" fmla="*/ 2016696 h 4179604"/>
              <a:gd name="connsiteX68" fmla="*/ 3417277 w 5779477"/>
              <a:gd name="connsiteY68" fmla="*/ 2075312 h 4179604"/>
              <a:gd name="connsiteX69" fmla="*/ 3288323 w 5779477"/>
              <a:gd name="connsiteY69" fmla="*/ 1846712 h 4179604"/>
              <a:gd name="connsiteX70" fmla="*/ 3259015 w 5779477"/>
              <a:gd name="connsiteY70" fmla="*/ 1682589 h 4179604"/>
              <a:gd name="connsiteX71" fmla="*/ 3223846 w 5779477"/>
              <a:gd name="connsiteY71" fmla="*/ 1442266 h 4179604"/>
              <a:gd name="connsiteX72" fmla="*/ 3217985 w 5779477"/>
              <a:gd name="connsiteY72" fmla="*/ 1377789 h 4179604"/>
              <a:gd name="connsiteX73" fmla="*/ 3194538 w 5779477"/>
              <a:gd name="connsiteY73" fmla="*/ 1307450 h 4179604"/>
              <a:gd name="connsiteX74" fmla="*/ 3153508 w 5779477"/>
              <a:gd name="connsiteY74" fmla="*/ 1166773 h 4179604"/>
              <a:gd name="connsiteX75" fmla="*/ 3001108 w 5779477"/>
              <a:gd name="connsiteY75" fmla="*/ 867835 h 4179604"/>
              <a:gd name="connsiteX76" fmla="*/ 2965938 w 5779477"/>
              <a:gd name="connsiteY76" fmla="*/ 791635 h 4179604"/>
              <a:gd name="connsiteX77" fmla="*/ 2936631 w 5779477"/>
              <a:gd name="connsiteY77" fmla="*/ 721296 h 4179604"/>
              <a:gd name="connsiteX78" fmla="*/ 2924908 w 5779477"/>
              <a:gd name="connsiteY78" fmla="*/ 703712 h 4179604"/>
              <a:gd name="connsiteX79" fmla="*/ 2907323 w 5779477"/>
              <a:gd name="connsiteY79" fmla="*/ 633373 h 4179604"/>
              <a:gd name="connsiteX80" fmla="*/ 2889738 w 5779477"/>
              <a:gd name="connsiteY80" fmla="*/ 609927 h 4179604"/>
              <a:gd name="connsiteX81" fmla="*/ 2878015 w 5779477"/>
              <a:gd name="connsiteY81" fmla="*/ 451666 h 4179604"/>
              <a:gd name="connsiteX82" fmla="*/ 2866292 w 5779477"/>
              <a:gd name="connsiteY82" fmla="*/ 340296 h 4179604"/>
              <a:gd name="connsiteX83" fmla="*/ 2848708 w 5779477"/>
              <a:gd name="connsiteY83" fmla="*/ 240650 h 4179604"/>
              <a:gd name="connsiteX84" fmla="*/ 2784231 w 5779477"/>
              <a:gd name="connsiteY84" fmla="*/ 135143 h 4179604"/>
              <a:gd name="connsiteX85" fmla="*/ 2608385 w 5779477"/>
              <a:gd name="connsiteY85" fmla="*/ 64805 h 4179604"/>
              <a:gd name="connsiteX86" fmla="*/ 2573215 w 5779477"/>
              <a:gd name="connsiteY86" fmla="*/ 41358 h 4179604"/>
              <a:gd name="connsiteX87" fmla="*/ 2491154 w 5779477"/>
              <a:gd name="connsiteY87" fmla="*/ 327 h 4179604"/>
              <a:gd name="connsiteX88" fmla="*/ 2403231 w 5779477"/>
              <a:gd name="connsiteY88" fmla="*/ 23773 h 4179604"/>
              <a:gd name="connsiteX89" fmla="*/ 2356338 w 5779477"/>
              <a:gd name="connsiteY89" fmla="*/ 41358 h 4179604"/>
              <a:gd name="connsiteX90" fmla="*/ 2315308 w 5779477"/>
              <a:gd name="connsiteY90" fmla="*/ 47220 h 4179604"/>
              <a:gd name="connsiteX91" fmla="*/ 2268415 w 5779477"/>
              <a:gd name="connsiteY91" fmla="*/ 58943 h 4179604"/>
              <a:gd name="connsiteX92" fmla="*/ 2063261 w 5779477"/>
              <a:gd name="connsiteY92" fmla="*/ 53081 h 4179604"/>
              <a:gd name="connsiteX93" fmla="*/ 2010508 w 5779477"/>
              <a:gd name="connsiteY93" fmla="*/ 41358 h 4179604"/>
              <a:gd name="connsiteX94" fmla="*/ 1951892 w 5779477"/>
              <a:gd name="connsiteY94" fmla="*/ 29635 h 4179604"/>
              <a:gd name="connsiteX95" fmla="*/ 1471246 w 5779477"/>
              <a:gd name="connsiteY95" fmla="*/ 29635 h 4179604"/>
              <a:gd name="connsiteX96" fmla="*/ 779585 w 5779477"/>
              <a:gd name="connsiteY96" fmla="*/ 41358 h 4179604"/>
              <a:gd name="connsiteX97" fmla="*/ 726831 w 5779477"/>
              <a:gd name="connsiteY97" fmla="*/ 47220 h 4179604"/>
              <a:gd name="connsiteX98" fmla="*/ 656492 w 5779477"/>
              <a:gd name="connsiteY98" fmla="*/ 53081 h 4179604"/>
              <a:gd name="connsiteX99" fmla="*/ 621323 w 5779477"/>
              <a:gd name="connsiteY99" fmla="*/ 58943 h 4179604"/>
              <a:gd name="connsiteX100" fmla="*/ 486508 w 5779477"/>
              <a:gd name="connsiteY100" fmla="*/ 70666 h 4179604"/>
              <a:gd name="connsiteX101" fmla="*/ 357554 w 5779477"/>
              <a:gd name="connsiteY101" fmla="*/ 76527 h 4179604"/>
              <a:gd name="connsiteX102" fmla="*/ 322385 w 5779477"/>
              <a:gd name="connsiteY102" fmla="*/ 99973 h 4179604"/>
              <a:gd name="connsiteX103" fmla="*/ 193431 w 5779477"/>
              <a:gd name="connsiteY103" fmla="*/ 211343 h 4179604"/>
              <a:gd name="connsiteX104" fmla="*/ 99646 w 5779477"/>
              <a:gd name="connsiteY104" fmla="*/ 398912 h 4179604"/>
              <a:gd name="connsiteX105" fmla="*/ 0 w 5779477"/>
              <a:gd name="connsiteY105" fmla="*/ 1131604 h 4179604"/>
              <a:gd name="connsiteX106" fmla="*/ 17585 w 5779477"/>
              <a:gd name="connsiteY106" fmla="*/ 1928773 h 4179604"/>
              <a:gd name="connsiteX107" fmla="*/ 70338 w 5779477"/>
              <a:gd name="connsiteY107" fmla="*/ 2251158 h 4179604"/>
              <a:gd name="connsiteX108" fmla="*/ 123092 w 5779477"/>
              <a:gd name="connsiteY108" fmla="*/ 2473896 h 4179604"/>
              <a:gd name="connsiteX109" fmla="*/ 304800 w 5779477"/>
              <a:gd name="connsiteY109" fmla="*/ 2960404 h 4179604"/>
              <a:gd name="connsiteX110" fmla="*/ 568569 w 5779477"/>
              <a:gd name="connsiteY110" fmla="*/ 3364850 h 4179604"/>
              <a:gd name="connsiteX111" fmla="*/ 926123 w 5779477"/>
              <a:gd name="connsiteY111" fmla="*/ 3663789 h 4179604"/>
              <a:gd name="connsiteX112" fmla="*/ 1002323 w 5779477"/>
              <a:gd name="connsiteY112" fmla="*/ 3728266 h 4179604"/>
              <a:gd name="connsiteX113" fmla="*/ 1301261 w 5779477"/>
              <a:gd name="connsiteY113" fmla="*/ 3892389 h 4179604"/>
              <a:gd name="connsiteX114" fmla="*/ 1447800 w 5779477"/>
              <a:gd name="connsiteY114" fmla="*/ 3927558 h 4179604"/>
              <a:gd name="connsiteX115" fmla="*/ 1488831 w 5779477"/>
              <a:gd name="connsiteY115" fmla="*/ 3939281 h 4179604"/>
              <a:gd name="connsiteX116" fmla="*/ 1688123 w 5779477"/>
              <a:gd name="connsiteY116" fmla="*/ 3945143 h 4179604"/>
              <a:gd name="connsiteX117" fmla="*/ 1811215 w 5779477"/>
              <a:gd name="connsiteY117" fmla="*/ 3974450 h 4179604"/>
              <a:gd name="connsiteX118" fmla="*/ 1852246 w 5779477"/>
              <a:gd name="connsiteY118" fmla="*/ 3992035 h 4179604"/>
              <a:gd name="connsiteX119" fmla="*/ 1875692 w 5779477"/>
              <a:gd name="connsiteY119" fmla="*/ 4003758 h 4179604"/>
              <a:gd name="connsiteX120" fmla="*/ 1963615 w 5779477"/>
              <a:gd name="connsiteY120" fmla="*/ 4021343 h 4179604"/>
              <a:gd name="connsiteX121" fmla="*/ 2057400 w 5779477"/>
              <a:gd name="connsiteY121" fmla="*/ 4050650 h 4179604"/>
              <a:gd name="connsiteX122" fmla="*/ 2104292 w 5779477"/>
              <a:gd name="connsiteY122" fmla="*/ 4056512 h 4179604"/>
              <a:gd name="connsiteX123" fmla="*/ 2303585 w 5779477"/>
              <a:gd name="connsiteY123" fmla="*/ 4097543 h 4179604"/>
              <a:gd name="connsiteX124" fmla="*/ 2368061 w 5779477"/>
              <a:gd name="connsiteY124" fmla="*/ 4109266 h 4179604"/>
              <a:gd name="connsiteX125" fmla="*/ 2584938 w 5779477"/>
              <a:gd name="connsiteY125" fmla="*/ 4162020 h 4179604"/>
              <a:gd name="connsiteX126" fmla="*/ 2702169 w 5779477"/>
              <a:gd name="connsiteY126" fmla="*/ 4179604 h 4179604"/>
              <a:gd name="connsiteX127" fmla="*/ 2795954 w 5779477"/>
              <a:gd name="connsiteY127" fmla="*/ 4138573 h 4179604"/>
              <a:gd name="connsiteX128" fmla="*/ 2854569 w 5779477"/>
              <a:gd name="connsiteY128" fmla="*/ 4109266 h 4179604"/>
              <a:gd name="connsiteX129" fmla="*/ 3217985 w 5779477"/>
              <a:gd name="connsiteY129" fmla="*/ 4144435 h 4179604"/>
              <a:gd name="connsiteX130" fmla="*/ 3259015 w 5779477"/>
              <a:gd name="connsiteY130" fmla="*/ 4120989 h 4179604"/>
              <a:gd name="connsiteX131" fmla="*/ 3282461 w 5779477"/>
              <a:gd name="connsiteY131" fmla="*/ 4079958 h 4179604"/>
              <a:gd name="connsiteX132" fmla="*/ 3317631 w 5779477"/>
              <a:gd name="connsiteY132" fmla="*/ 4056512 h 4179604"/>
              <a:gd name="connsiteX133" fmla="*/ 3329354 w 5779477"/>
              <a:gd name="connsiteY133" fmla="*/ 4033066 h 4179604"/>
              <a:gd name="connsiteX134" fmla="*/ 3346938 w 5779477"/>
              <a:gd name="connsiteY134" fmla="*/ 4009620 h 4179604"/>
              <a:gd name="connsiteX135" fmla="*/ 3358661 w 5779477"/>
              <a:gd name="connsiteY135" fmla="*/ 3962727 h 4179604"/>
              <a:gd name="connsiteX136" fmla="*/ 3364523 w 5779477"/>
              <a:gd name="connsiteY136" fmla="*/ 3933420 h 4179604"/>
              <a:gd name="connsiteX137" fmla="*/ 3387969 w 5779477"/>
              <a:gd name="connsiteY137" fmla="*/ 3898250 h 4179604"/>
              <a:gd name="connsiteX138" fmla="*/ 3376246 w 5779477"/>
              <a:gd name="connsiteY138" fmla="*/ 3880666 h 4179604"/>
              <a:gd name="connsiteX139" fmla="*/ 3399692 w 5779477"/>
              <a:gd name="connsiteY139" fmla="*/ 3763435 h 4179604"/>
              <a:gd name="connsiteX140" fmla="*/ 3387969 w 5779477"/>
              <a:gd name="connsiteY140" fmla="*/ 3734127 h 4179604"/>
              <a:gd name="connsiteX141" fmla="*/ 3423138 w 5779477"/>
              <a:gd name="connsiteY141" fmla="*/ 3657927 h 4179604"/>
              <a:gd name="connsiteX142" fmla="*/ 3464169 w 5779477"/>
              <a:gd name="connsiteY142" fmla="*/ 3622758 h 4179604"/>
              <a:gd name="connsiteX143" fmla="*/ 3487616 w 5779477"/>
              <a:gd name="connsiteY143" fmla="*/ 3593451 h 4179604"/>
              <a:gd name="connsiteX144" fmla="*/ 3405553 w 5779477"/>
              <a:gd name="connsiteY144" fmla="*/ 3429327 h 4179604"/>
              <a:gd name="connsiteX145" fmla="*/ 3364523 w 5779477"/>
              <a:gd name="connsiteY145" fmla="*/ 3341404 h 4179604"/>
              <a:gd name="connsiteX146" fmla="*/ 3276600 w 5779477"/>
              <a:gd name="connsiteY146" fmla="*/ 3294512 h 4179604"/>
              <a:gd name="connsiteX147" fmla="*/ 3264877 w 5779477"/>
              <a:gd name="connsiteY147" fmla="*/ 3271066 h 4179604"/>
              <a:gd name="connsiteX148" fmla="*/ 3229708 w 5779477"/>
              <a:gd name="connsiteY148" fmla="*/ 3212450 h 4179604"/>
              <a:gd name="connsiteX149" fmla="*/ 3212123 w 5779477"/>
              <a:gd name="connsiteY149" fmla="*/ 3142112 h 4179604"/>
              <a:gd name="connsiteX150" fmla="*/ 3229708 w 5779477"/>
              <a:gd name="connsiteY150" fmla="*/ 2966266 h 4179604"/>
              <a:gd name="connsiteX151" fmla="*/ 3253154 w 5779477"/>
              <a:gd name="connsiteY151" fmla="*/ 2919373 h 4179604"/>
              <a:gd name="connsiteX152" fmla="*/ 3264877 w 5779477"/>
              <a:gd name="connsiteY152" fmla="*/ 2872481 h 4179604"/>
              <a:gd name="connsiteX153" fmla="*/ 3305908 w 5779477"/>
              <a:gd name="connsiteY153" fmla="*/ 2761112 h 4179604"/>
              <a:gd name="connsiteX154" fmla="*/ 3323492 w 5779477"/>
              <a:gd name="connsiteY154" fmla="*/ 2720081 h 4179604"/>
              <a:gd name="connsiteX155" fmla="*/ 3364523 w 5779477"/>
              <a:gd name="connsiteY155" fmla="*/ 2620435 h 4179604"/>
              <a:gd name="connsiteX156" fmla="*/ 3382108 w 5779477"/>
              <a:gd name="connsiteY156" fmla="*/ 2579404 h 4179604"/>
              <a:gd name="connsiteX157" fmla="*/ 3417277 w 5779477"/>
              <a:gd name="connsiteY157" fmla="*/ 2538373 h 4179604"/>
              <a:gd name="connsiteX158" fmla="*/ 3440723 w 5779477"/>
              <a:gd name="connsiteY158" fmla="*/ 2520789 h 4179604"/>
              <a:gd name="connsiteX159" fmla="*/ 3458308 w 5779477"/>
              <a:gd name="connsiteY159" fmla="*/ 2497343 h 4179604"/>
              <a:gd name="connsiteX160" fmla="*/ 3470031 w 5779477"/>
              <a:gd name="connsiteY160" fmla="*/ 2473896 h 4179604"/>
              <a:gd name="connsiteX161" fmla="*/ 3487615 w 5779477"/>
              <a:gd name="connsiteY161" fmla="*/ 2468035 h 4179604"/>
              <a:gd name="connsiteX162" fmla="*/ 3663461 w 5779477"/>
              <a:gd name="connsiteY162" fmla="*/ 2491481 h 4179604"/>
              <a:gd name="connsiteX163" fmla="*/ 3722077 w 5779477"/>
              <a:gd name="connsiteY163" fmla="*/ 2509066 h 4179604"/>
              <a:gd name="connsiteX164" fmla="*/ 3804138 w 5779477"/>
              <a:gd name="connsiteY164" fmla="*/ 2514927 h 4179604"/>
              <a:gd name="connsiteX165" fmla="*/ 4366846 w 5779477"/>
              <a:gd name="connsiteY165" fmla="*/ 2532512 h 4179604"/>
              <a:gd name="connsiteX166" fmla="*/ 4472354 w 5779477"/>
              <a:gd name="connsiteY166" fmla="*/ 2514927 h 4179604"/>
              <a:gd name="connsiteX167" fmla="*/ 4495800 w 5779477"/>
              <a:gd name="connsiteY167" fmla="*/ 2491481 h 4179604"/>
              <a:gd name="connsiteX168" fmla="*/ 4513385 w 5779477"/>
              <a:gd name="connsiteY168" fmla="*/ 2485620 h 4179604"/>
              <a:gd name="connsiteX169" fmla="*/ 4536831 w 5779477"/>
              <a:gd name="connsiteY169" fmla="*/ 2462173 h 4179604"/>
              <a:gd name="connsiteX170" fmla="*/ 4554415 w 5779477"/>
              <a:gd name="connsiteY170" fmla="*/ 2456312 h 4179604"/>
              <a:gd name="connsiteX171" fmla="*/ 4577861 w 5779477"/>
              <a:gd name="connsiteY171" fmla="*/ 2444589 h 4179604"/>
              <a:gd name="connsiteX172" fmla="*/ 4601308 w 5779477"/>
              <a:gd name="connsiteY172" fmla="*/ 2427004 h 4179604"/>
              <a:gd name="connsiteX173" fmla="*/ 4618892 w 5779477"/>
              <a:gd name="connsiteY173" fmla="*/ 2421143 h 4179604"/>
              <a:gd name="connsiteX174" fmla="*/ 4648200 w 5779477"/>
              <a:gd name="connsiteY174" fmla="*/ 2403558 h 4179604"/>
              <a:gd name="connsiteX175" fmla="*/ 4624754 w 5779477"/>
              <a:gd name="connsiteY175" fmla="*/ 2385973 h 4179604"/>
              <a:gd name="connsiteX0" fmla="*/ 4624754 w 5779477"/>
              <a:gd name="connsiteY0" fmla="*/ 2385973 h 4179604"/>
              <a:gd name="connsiteX1" fmla="*/ 4700954 w 5779477"/>
              <a:gd name="connsiteY1" fmla="*/ 2362527 h 4179604"/>
              <a:gd name="connsiteX2" fmla="*/ 4706815 w 5779477"/>
              <a:gd name="connsiteY2" fmla="*/ 2303912 h 4179604"/>
              <a:gd name="connsiteX3" fmla="*/ 4712677 w 5779477"/>
              <a:gd name="connsiteY3" fmla="*/ 2286327 h 4179604"/>
              <a:gd name="connsiteX4" fmla="*/ 4741985 w 5779477"/>
              <a:gd name="connsiteY4" fmla="*/ 2262881 h 4179604"/>
              <a:gd name="connsiteX5" fmla="*/ 4771292 w 5779477"/>
              <a:gd name="connsiteY5" fmla="*/ 2239435 h 4179604"/>
              <a:gd name="connsiteX6" fmla="*/ 4806461 w 5779477"/>
              <a:gd name="connsiteY6" fmla="*/ 2210127 h 4179604"/>
              <a:gd name="connsiteX7" fmla="*/ 4818185 w 5779477"/>
              <a:gd name="connsiteY7" fmla="*/ 2198404 h 4179604"/>
              <a:gd name="connsiteX8" fmla="*/ 4870938 w 5779477"/>
              <a:gd name="connsiteY8" fmla="*/ 2180820 h 4179604"/>
              <a:gd name="connsiteX9" fmla="*/ 4888523 w 5779477"/>
              <a:gd name="connsiteY9" fmla="*/ 2169096 h 4179604"/>
              <a:gd name="connsiteX10" fmla="*/ 4923692 w 5779477"/>
              <a:gd name="connsiteY10" fmla="*/ 2163235 h 4179604"/>
              <a:gd name="connsiteX11" fmla="*/ 4947138 w 5779477"/>
              <a:gd name="connsiteY11" fmla="*/ 2157373 h 4179604"/>
              <a:gd name="connsiteX12" fmla="*/ 5124816 w 5779477"/>
              <a:gd name="connsiteY12" fmla="*/ 2167265 h 4179604"/>
              <a:gd name="connsiteX13" fmla="*/ 5134708 w 5779477"/>
              <a:gd name="connsiteY13" fmla="*/ 2151511 h 4179604"/>
              <a:gd name="connsiteX14" fmla="*/ 5181600 w 5779477"/>
              <a:gd name="connsiteY14" fmla="*/ 2092897 h 4179604"/>
              <a:gd name="connsiteX15" fmla="*/ 5269523 w 5779477"/>
              <a:gd name="connsiteY15" fmla="*/ 2069450 h 4179604"/>
              <a:gd name="connsiteX16" fmla="*/ 5277948 w 5779477"/>
              <a:gd name="connsiteY16" fmla="*/ 2063589 h 4179604"/>
              <a:gd name="connsiteX17" fmla="*/ 5228492 w 5779477"/>
              <a:gd name="connsiteY17" fmla="*/ 2057728 h 4179604"/>
              <a:gd name="connsiteX18" fmla="*/ 5372518 w 5779477"/>
              <a:gd name="connsiteY18" fmla="*/ 1753765 h 4179604"/>
              <a:gd name="connsiteX19" fmla="*/ 5455418 w 5779477"/>
              <a:gd name="connsiteY19" fmla="*/ 1489158 h 4179604"/>
              <a:gd name="connsiteX20" fmla="*/ 5451231 w 5779477"/>
              <a:gd name="connsiteY20" fmla="*/ 1407096 h 4179604"/>
              <a:gd name="connsiteX21" fmla="*/ 5474677 w 5779477"/>
              <a:gd name="connsiteY21" fmla="*/ 1371927 h 4179604"/>
              <a:gd name="connsiteX22" fmla="*/ 5492261 w 5779477"/>
              <a:gd name="connsiteY22" fmla="*/ 1348481 h 4179604"/>
              <a:gd name="connsiteX23" fmla="*/ 5503985 w 5779477"/>
              <a:gd name="connsiteY23" fmla="*/ 1319173 h 4179604"/>
              <a:gd name="connsiteX24" fmla="*/ 5533292 w 5779477"/>
              <a:gd name="connsiteY24" fmla="*/ 1266420 h 4179604"/>
              <a:gd name="connsiteX25" fmla="*/ 5556738 w 5779477"/>
              <a:gd name="connsiteY25" fmla="*/ 1219527 h 4179604"/>
              <a:gd name="connsiteX26" fmla="*/ 5603631 w 5779477"/>
              <a:gd name="connsiteY26" fmla="*/ 1155050 h 4179604"/>
              <a:gd name="connsiteX27" fmla="*/ 5668108 w 5779477"/>
              <a:gd name="connsiteY27" fmla="*/ 1020235 h 4179604"/>
              <a:gd name="connsiteX28" fmla="*/ 5709138 w 5779477"/>
              <a:gd name="connsiteY28" fmla="*/ 926450 h 4179604"/>
              <a:gd name="connsiteX29" fmla="*/ 5732585 w 5779477"/>
              <a:gd name="connsiteY29" fmla="*/ 867835 h 4179604"/>
              <a:gd name="connsiteX30" fmla="*/ 5744308 w 5779477"/>
              <a:gd name="connsiteY30" fmla="*/ 551312 h 4179604"/>
              <a:gd name="connsiteX31" fmla="*/ 5750169 w 5779477"/>
              <a:gd name="connsiteY31" fmla="*/ 527866 h 4179604"/>
              <a:gd name="connsiteX32" fmla="*/ 5761892 w 5779477"/>
              <a:gd name="connsiteY32" fmla="*/ 504420 h 4179604"/>
              <a:gd name="connsiteX33" fmla="*/ 5767754 w 5779477"/>
              <a:gd name="connsiteY33" fmla="*/ 475112 h 4179604"/>
              <a:gd name="connsiteX34" fmla="*/ 5773615 w 5779477"/>
              <a:gd name="connsiteY34" fmla="*/ 457527 h 4179604"/>
              <a:gd name="connsiteX35" fmla="*/ 5779477 w 5779477"/>
              <a:gd name="connsiteY35" fmla="*/ 369604 h 4179604"/>
              <a:gd name="connsiteX36" fmla="*/ 5767754 w 5779477"/>
              <a:gd name="connsiteY36" fmla="*/ 141004 h 4179604"/>
              <a:gd name="connsiteX37" fmla="*/ 5761892 w 5779477"/>
              <a:gd name="connsiteY37" fmla="*/ 105835 h 4179604"/>
              <a:gd name="connsiteX38" fmla="*/ 5750169 w 5779477"/>
              <a:gd name="connsiteY38" fmla="*/ 88250 h 4179604"/>
              <a:gd name="connsiteX39" fmla="*/ 5744308 w 5779477"/>
              <a:gd name="connsiteY39" fmla="*/ 64804 h 4179604"/>
              <a:gd name="connsiteX40" fmla="*/ 5691554 w 5779477"/>
              <a:gd name="connsiteY40" fmla="*/ 70666 h 4179604"/>
              <a:gd name="connsiteX41" fmla="*/ 5615354 w 5779477"/>
              <a:gd name="connsiteY41" fmla="*/ 58943 h 4179604"/>
              <a:gd name="connsiteX42" fmla="*/ 5533292 w 5779477"/>
              <a:gd name="connsiteY42" fmla="*/ 29635 h 4179604"/>
              <a:gd name="connsiteX43" fmla="*/ 5492261 w 5779477"/>
              <a:gd name="connsiteY43" fmla="*/ 12050 h 4179604"/>
              <a:gd name="connsiteX44" fmla="*/ 5427785 w 5779477"/>
              <a:gd name="connsiteY44" fmla="*/ 327 h 4179604"/>
              <a:gd name="connsiteX45" fmla="*/ 5257800 w 5779477"/>
              <a:gd name="connsiteY45" fmla="*/ 12050 h 4179604"/>
              <a:gd name="connsiteX46" fmla="*/ 5122985 w 5779477"/>
              <a:gd name="connsiteY46" fmla="*/ 41358 h 4179604"/>
              <a:gd name="connsiteX47" fmla="*/ 5058508 w 5779477"/>
              <a:gd name="connsiteY47" fmla="*/ 47220 h 4179604"/>
              <a:gd name="connsiteX48" fmla="*/ 3552092 w 5779477"/>
              <a:gd name="connsiteY48" fmla="*/ 58943 h 4179604"/>
              <a:gd name="connsiteX49" fmla="*/ 3376246 w 5779477"/>
              <a:gd name="connsiteY49" fmla="*/ 70666 h 4179604"/>
              <a:gd name="connsiteX50" fmla="*/ 3124200 w 5779477"/>
              <a:gd name="connsiteY50" fmla="*/ 76527 h 4179604"/>
              <a:gd name="connsiteX51" fmla="*/ 3053861 w 5779477"/>
              <a:gd name="connsiteY51" fmla="*/ 111696 h 4179604"/>
              <a:gd name="connsiteX52" fmla="*/ 2995246 w 5779477"/>
              <a:gd name="connsiteY52" fmla="*/ 176173 h 4179604"/>
              <a:gd name="connsiteX53" fmla="*/ 2895600 w 5779477"/>
              <a:gd name="connsiteY53" fmla="*/ 357881 h 4179604"/>
              <a:gd name="connsiteX54" fmla="*/ 2878015 w 5779477"/>
              <a:gd name="connsiteY54" fmla="*/ 510281 h 4179604"/>
              <a:gd name="connsiteX55" fmla="*/ 2883877 w 5779477"/>
              <a:gd name="connsiteY55" fmla="*/ 580620 h 4179604"/>
              <a:gd name="connsiteX56" fmla="*/ 3036277 w 5779477"/>
              <a:gd name="connsiteY56" fmla="*/ 891281 h 4179604"/>
              <a:gd name="connsiteX57" fmla="*/ 3100754 w 5779477"/>
              <a:gd name="connsiteY57" fmla="*/ 996789 h 4179604"/>
              <a:gd name="connsiteX58" fmla="*/ 3153508 w 5779477"/>
              <a:gd name="connsiteY58" fmla="*/ 1096435 h 4179604"/>
              <a:gd name="connsiteX59" fmla="*/ 3294185 w 5779477"/>
              <a:gd name="connsiteY59" fmla="*/ 1412958 h 4179604"/>
              <a:gd name="connsiteX60" fmla="*/ 3411415 w 5779477"/>
              <a:gd name="connsiteY60" fmla="*/ 1618112 h 4179604"/>
              <a:gd name="connsiteX61" fmla="*/ 3458308 w 5779477"/>
              <a:gd name="connsiteY61" fmla="*/ 1700173 h 4179604"/>
              <a:gd name="connsiteX62" fmla="*/ 3487615 w 5779477"/>
              <a:gd name="connsiteY62" fmla="*/ 1747066 h 4179604"/>
              <a:gd name="connsiteX63" fmla="*/ 3522785 w 5779477"/>
              <a:gd name="connsiteY63" fmla="*/ 1817404 h 4179604"/>
              <a:gd name="connsiteX64" fmla="*/ 3528646 w 5779477"/>
              <a:gd name="connsiteY64" fmla="*/ 1846712 h 4179604"/>
              <a:gd name="connsiteX65" fmla="*/ 3546231 w 5779477"/>
              <a:gd name="connsiteY65" fmla="*/ 1887743 h 4179604"/>
              <a:gd name="connsiteX66" fmla="*/ 3557954 w 5779477"/>
              <a:gd name="connsiteY66" fmla="*/ 1952220 h 4179604"/>
              <a:gd name="connsiteX67" fmla="*/ 3540369 w 5779477"/>
              <a:gd name="connsiteY67" fmla="*/ 2016696 h 4179604"/>
              <a:gd name="connsiteX68" fmla="*/ 3417277 w 5779477"/>
              <a:gd name="connsiteY68" fmla="*/ 2075312 h 4179604"/>
              <a:gd name="connsiteX69" fmla="*/ 3288323 w 5779477"/>
              <a:gd name="connsiteY69" fmla="*/ 1846712 h 4179604"/>
              <a:gd name="connsiteX70" fmla="*/ 3259015 w 5779477"/>
              <a:gd name="connsiteY70" fmla="*/ 1682589 h 4179604"/>
              <a:gd name="connsiteX71" fmla="*/ 3223846 w 5779477"/>
              <a:gd name="connsiteY71" fmla="*/ 1442266 h 4179604"/>
              <a:gd name="connsiteX72" fmla="*/ 3217985 w 5779477"/>
              <a:gd name="connsiteY72" fmla="*/ 1377789 h 4179604"/>
              <a:gd name="connsiteX73" fmla="*/ 3194538 w 5779477"/>
              <a:gd name="connsiteY73" fmla="*/ 1307450 h 4179604"/>
              <a:gd name="connsiteX74" fmla="*/ 3153508 w 5779477"/>
              <a:gd name="connsiteY74" fmla="*/ 1166773 h 4179604"/>
              <a:gd name="connsiteX75" fmla="*/ 3001108 w 5779477"/>
              <a:gd name="connsiteY75" fmla="*/ 867835 h 4179604"/>
              <a:gd name="connsiteX76" fmla="*/ 2965938 w 5779477"/>
              <a:gd name="connsiteY76" fmla="*/ 791635 h 4179604"/>
              <a:gd name="connsiteX77" fmla="*/ 2936631 w 5779477"/>
              <a:gd name="connsiteY77" fmla="*/ 721296 h 4179604"/>
              <a:gd name="connsiteX78" fmla="*/ 2924908 w 5779477"/>
              <a:gd name="connsiteY78" fmla="*/ 703712 h 4179604"/>
              <a:gd name="connsiteX79" fmla="*/ 2907323 w 5779477"/>
              <a:gd name="connsiteY79" fmla="*/ 633373 h 4179604"/>
              <a:gd name="connsiteX80" fmla="*/ 2889738 w 5779477"/>
              <a:gd name="connsiteY80" fmla="*/ 609927 h 4179604"/>
              <a:gd name="connsiteX81" fmla="*/ 2878015 w 5779477"/>
              <a:gd name="connsiteY81" fmla="*/ 451666 h 4179604"/>
              <a:gd name="connsiteX82" fmla="*/ 2866292 w 5779477"/>
              <a:gd name="connsiteY82" fmla="*/ 340296 h 4179604"/>
              <a:gd name="connsiteX83" fmla="*/ 2848708 w 5779477"/>
              <a:gd name="connsiteY83" fmla="*/ 240650 h 4179604"/>
              <a:gd name="connsiteX84" fmla="*/ 2784231 w 5779477"/>
              <a:gd name="connsiteY84" fmla="*/ 135143 h 4179604"/>
              <a:gd name="connsiteX85" fmla="*/ 2608385 w 5779477"/>
              <a:gd name="connsiteY85" fmla="*/ 64805 h 4179604"/>
              <a:gd name="connsiteX86" fmla="*/ 2573215 w 5779477"/>
              <a:gd name="connsiteY86" fmla="*/ 41358 h 4179604"/>
              <a:gd name="connsiteX87" fmla="*/ 2491154 w 5779477"/>
              <a:gd name="connsiteY87" fmla="*/ 327 h 4179604"/>
              <a:gd name="connsiteX88" fmla="*/ 2403231 w 5779477"/>
              <a:gd name="connsiteY88" fmla="*/ 23773 h 4179604"/>
              <a:gd name="connsiteX89" fmla="*/ 2356338 w 5779477"/>
              <a:gd name="connsiteY89" fmla="*/ 41358 h 4179604"/>
              <a:gd name="connsiteX90" fmla="*/ 2315308 w 5779477"/>
              <a:gd name="connsiteY90" fmla="*/ 47220 h 4179604"/>
              <a:gd name="connsiteX91" fmla="*/ 2268415 w 5779477"/>
              <a:gd name="connsiteY91" fmla="*/ 58943 h 4179604"/>
              <a:gd name="connsiteX92" fmla="*/ 2063261 w 5779477"/>
              <a:gd name="connsiteY92" fmla="*/ 53081 h 4179604"/>
              <a:gd name="connsiteX93" fmla="*/ 2010508 w 5779477"/>
              <a:gd name="connsiteY93" fmla="*/ 41358 h 4179604"/>
              <a:gd name="connsiteX94" fmla="*/ 1951892 w 5779477"/>
              <a:gd name="connsiteY94" fmla="*/ 29635 h 4179604"/>
              <a:gd name="connsiteX95" fmla="*/ 1471246 w 5779477"/>
              <a:gd name="connsiteY95" fmla="*/ 29635 h 4179604"/>
              <a:gd name="connsiteX96" fmla="*/ 779585 w 5779477"/>
              <a:gd name="connsiteY96" fmla="*/ 41358 h 4179604"/>
              <a:gd name="connsiteX97" fmla="*/ 726831 w 5779477"/>
              <a:gd name="connsiteY97" fmla="*/ 47220 h 4179604"/>
              <a:gd name="connsiteX98" fmla="*/ 656492 w 5779477"/>
              <a:gd name="connsiteY98" fmla="*/ 53081 h 4179604"/>
              <a:gd name="connsiteX99" fmla="*/ 621323 w 5779477"/>
              <a:gd name="connsiteY99" fmla="*/ 58943 h 4179604"/>
              <a:gd name="connsiteX100" fmla="*/ 486508 w 5779477"/>
              <a:gd name="connsiteY100" fmla="*/ 70666 h 4179604"/>
              <a:gd name="connsiteX101" fmla="*/ 357554 w 5779477"/>
              <a:gd name="connsiteY101" fmla="*/ 76527 h 4179604"/>
              <a:gd name="connsiteX102" fmla="*/ 322385 w 5779477"/>
              <a:gd name="connsiteY102" fmla="*/ 99973 h 4179604"/>
              <a:gd name="connsiteX103" fmla="*/ 193431 w 5779477"/>
              <a:gd name="connsiteY103" fmla="*/ 211343 h 4179604"/>
              <a:gd name="connsiteX104" fmla="*/ 99646 w 5779477"/>
              <a:gd name="connsiteY104" fmla="*/ 398912 h 4179604"/>
              <a:gd name="connsiteX105" fmla="*/ 0 w 5779477"/>
              <a:gd name="connsiteY105" fmla="*/ 1131604 h 4179604"/>
              <a:gd name="connsiteX106" fmla="*/ 17585 w 5779477"/>
              <a:gd name="connsiteY106" fmla="*/ 1928773 h 4179604"/>
              <a:gd name="connsiteX107" fmla="*/ 70338 w 5779477"/>
              <a:gd name="connsiteY107" fmla="*/ 2251158 h 4179604"/>
              <a:gd name="connsiteX108" fmla="*/ 123092 w 5779477"/>
              <a:gd name="connsiteY108" fmla="*/ 2473896 h 4179604"/>
              <a:gd name="connsiteX109" fmla="*/ 304800 w 5779477"/>
              <a:gd name="connsiteY109" fmla="*/ 2960404 h 4179604"/>
              <a:gd name="connsiteX110" fmla="*/ 568569 w 5779477"/>
              <a:gd name="connsiteY110" fmla="*/ 3364850 h 4179604"/>
              <a:gd name="connsiteX111" fmla="*/ 926123 w 5779477"/>
              <a:gd name="connsiteY111" fmla="*/ 3663789 h 4179604"/>
              <a:gd name="connsiteX112" fmla="*/ 1002323 w 5779477"/>
              <a:gd name="connsiteY112" fmla="*/ 3728266 h 4179604"/>
              <a:gd name="connsiteX113" fmla="*/ 1301261 w 5779477"/>
              <a:gd name="connsiteY113" fmla="*/ 3892389 h 4179604"/>
              <a:gd name="connsiteX114" fmla="*/ 1447800 w 5779477"/>
              <a:gd name="connsiteY114" fmla="*/ 3927558 h 4179604"/>
              <a:gd name="connsiteX115" fmla="*/ 1488831 w 5779477"/>
              <a:gd name="connsiteY115" fmla="*/ 3939281 h 4179604"/>
              <a:gd name="connsiteX116" fmla="*/ 1688123 w 5779477"/>
              <a:gd name="connsiteY116" fmla="*/ 3945143 h 4179604"/>
              <a:gd name="connsiteX117" fmla="*/ 1811215 w 5779477"/>
              <a:gd name="connsiteY117" fmla="*/ 3974450 h 4179604"/>
              <a:gd name="connsiteX118" fmla="*/ 1852246 w 5779477"/>
              <a:gd name="connsiteY118" fmla="*/ 3992035 h 4179604"/>
              <a:gd name="connsiteX119" fmla="*/ 1875692 w 5779477"/>
              <a:gd name="connsiteY119" fmla="*/ 4003758 h 4179604"/>
              <a:gd name="connsiteX120" fmla="*/ 1963615 w 5779477"/>
              <a:gd name="connsiteY120" fmla="*/ 4021343 h 4179604"/>
              <a:gd name="connsiteX121" fmla="*/ 2057400 w 5779477"/>
              <a:gd name="connsiteY121" fmla="*/ 4050650 h 4179604"/>
              <a:gd name="connsiteX122" fmla="*/ 2104292 w 5779477"/>
              <a:gd name="connsiteY122" fmla="*/ 4056512 h 4179604"/>
              <a:gd name="connsiteX123" fmla="*/ 2303585 w 5779477"/>
              <a:gd name="connsiteY123" fmla="*/ 4097543 h 4179604"/>
              <a:gd name="connsiteX124" fmla="*/ 2368061 w 5779477"/>
              <a:gd name="connsiteY124" fmla="*/ 4109266 h 4179604"/>
              <a:gd name="connsiteX125" fmla="*/ 2584938 w 5779477"/>
              <a:gd name="connsiteY125" fmla="*/ 4162020 h 4179604"/>
              <a:gd name="connsiteX126" fmla="*/ 2702169 w 5779477"/>
              <a:gd name="connsiteY126" fmla="*/ 4179604 h 4179604"/>
              <a:gd name="connsiteX127" fmla="*/ 2795954 w 5779477"/>
              <a:gd name="connsiteY127" fmla="*/ 4138573 h 4179604"/>
              <a:gd name="connsiteX128" fmla="*/ 2854569 w 5779477"/>
              <a:gd name="connsiteY128" fmla="*/ 4109266 h 4179604"/>
              <a:gd name="connsiteX129" fmla="*/ 3217985 w 5779477"/>
              <a:gd name="connsiteY129" fmla="*/ 4144435 h 4179604"/>
              <a:gd name="connsiteX130" fmla="*/ 3259015 w 5779477"/>
              <a:gd name="connsiteY130" fmla="*/ 4120989 h 4179604"/>
              <a:gd name="connsiteX131" fmla="*/ 3282461 w 5779477"/>
              <a:gd name="connsiteY131" fmla="*/ 4079958 h 4179604"/>
              <a:gd name="connsiteX132" fmla="*/ 3317631 w 5779477"/>
              <a:gd name="connsiteY132" fmla="*/ 4056512 h 4179604"/>
              <a:gd name="connsiteX133" fmla="*/ 3329354 w 5779477"/>
              <a:gd name="connsiteY133" fmla="*/ 4033066 h 4179604"/>
              <a:gd name="connsiteX134" fmla="*/ 3346938 w 5779477"/>
              <a:gd name="connsiteY134" fmla="*/ 4009620 h 4179604"/>
              <a:gd name="connsiteX135" fmla="*/ 3358661 w 5779477"/>
              <a:gd name="connsiteY135" fmla="*/ 3962727 h 4179604"/>
              <a:gd name="connsiteX136" fmla="*/ 3364523 w 5779477"/>
              <a:gd name="connsiteY136" fmla="*/ 3933420 h 4179604"/>
              <a:gd name="connsiteX137" fmla="*/ 3387969 w 5779477"/>
              <a:gd name="connsiteY137" fmla="*/ 3898250 h 4179604"/>
              <a:gd name="connsiteX138" fmla="*/ 3376246 w 5779477"/>
              <a:gd name="connsiteY138" fmla="*/ 3880666 h 4179604"/>
              <a:gd name="connsiteX139" fmla="*/ 3399692 w 5779477"/>
              <a:gd name="connsiteY139" fmla="*/ 3763435 h 4179604"/>
              <a:gd name="connsiteX140" fmla="*/ 3387969 w 5779477"/>
              <a:gd name="connsiteY140" fmla="*/ 3734127 h 4179604"/>
              <a:gd name="connsiteX141" fmla="*/ 3423138 w 5779477"/>
              <a:gd name="connsiteY141" fmla="*/ 3657927 h 4179604"/>
              <a:gd name="connsiteX142" fmla="*/ 3464169 w 5779477"/>
              <a:gd name="connsiteY142" fmla="*/ 3622758 h 4179604"/>
              <a:gd name="connsiteX143" fmla="*/ 3487616 w 5779477"/>
              <a:gd name="connsiteY143" fmla="*/ 3593451 h 4179604"/>
              <a:gd name="connsiteX144" fmla="*/ 3405553 w 5779477"/>
              <a:gd name="connsiteY144" fmla="*/ 3429327 h 4179604"/>
              <a:gd name="connsiteX145" fmla="*/ 3364523 w 5779477"/>
              <a:gd name="connsiteY145" fmla="*/ 3341404 h 4179604"/>
              <a:gd name="connsiteX146" fmla="*/ 3276600 w 5779477"/>
              <a:gd name="connsiteY146" fmla="*/ 3294512 h 4179604"/>
              <a:gd name="connsiteX147" fmla="*/ 3264877 w 5779477"/>
              <a:gd name="connsiteY147" fmla="*/ 3271066 h 4179604"/>
              <a:gd name="connsiteX148" fmla="*/ 3229708 w 5779477"/>
              <a:gd name="connsiteY148" fmla="*/ 3212450 h 4179604"/>
              <a:gd name="connsiteX149" fmla="*/ 3212123 w 5779477"/>
              <a:gd name="connsiteY149" fmla="*/ 3142112 h 4179604"/>
              <a:gd name="connsiteX150" fmla="*/ 3229708 w 5779477"/>
              <a:gd name="connsiteY150" fmla="*/ 2966266 h 4179604"/>
              <a:gd name="connsiteX151" fmla="*/ 3253154 w 5779477"/>
              <a:gd name="connsiteY151" fmla="*/ 2919373 h 4179604"/>
              <a:gd name="connsiteX152" fmla="*/ 3264877 w 5779477"/>
              <a:gd name="connsiteY152" fmla="*/ 2872481 h 4179604"/>
              <a:gd name="connsiteX153" fmla="*/ 3305908 w 5779477"/>
              <a:gd name="connsiteY153" fmla="*/ 2761112 h 4179604"/>
              <a:gd name="connsiteX154" fmla="*/ 3323492 w 5779477"/>
              <a:gd name="connsiteY154" fmla="*/ 2720081 h 4179604"/>
              <a:gd name="connsiteX155" fmla="*/ 3364523 w 5779477"/>
              <a:gd name="connsiteY155" fmla="*/ 2620435 h 4179604"/>
              <a:gd name="connsiteX156" fmla="*/ 3382108 w 5779477"/>
              <a:gd name="connsiteY156" fmla="*/ 2579404 h 4179604"/>
              <a:gd name="connsiteX157" fmla="*/ 3417277 w 5779477"/>
              <a:gd name="connsiteY157" fmla="*/ 2538373 h 4179604"/>
              <a:gd name="connsiteX158" fmla="*/ 3440723 w 5779477"/>
              <a:gd name="connsiteY158" fmla="*/ 2520789 h 4179604"/>
              <a:gd name="connsiteX159" fmla="*/ 3458308 w 5779477"/>
              <a:gd name="connsiteY159" fmla="*/ 2497343 h 4179604"/>
              <a:gd name="connsiteX160" fmla="*/ 3470031 w 5779477"/>
              <a:gd name="connsiteY160" fmla="*/ 2473896 h 4179604"/>
              <a:gd name="connsiteX161" fmla="*/ 3487615 w 5779477"/>
              <a:gd name="connsiteY161" fmla="*/ 2468035 h 4179604"/>
              <a:gd name="connsiteX162" fmla="*/ 3663461 w 5779477"/>
              <a:gd name="connsiteY162" fmla="*/ 2491481 h 4179604"/>
              <a:gd name="connsiteX163" fmla="*/ 3722077 w 5779477"/>
              <a:gd name="connsiteY163" fmla="*/ 2509066 h 4179604"/>
              <a:gd name="connsiteX164" fmla="*/ 3804138 w 5779477"/>
              <a:gd name="connsiteY164" fmla="*/ 2514927 h 4179604"/>
              <a:gd name="connsiteX165" fmla="*/ 4366846 w 5779477"/>
              <a:gd name="connsiteY165" fmla="*/ 2532512 h 4179604"/>
              <a:gd name="connsiteX166" fmla="*/ 4472354 w 5779477"/>
              <a:gd name="connsiteY166" fmla="*/ 2514927 h 4179604"/>
              <a:gd name="connsiteX167" fmla="*/ 4495800 w 5779477"/>
              <a:gd name="connsiteY167" fmla="*/ 2491481 h 4179604"/>
              <a:gd name="connsiteX168" fmla="*/ 4513385 w 5779477"/>
              <a:gd name="connsiteY168" fmla="*/ 2485620 h 4179604"/>
              <a:gd name="connsiteX169" fmla="*/ 4536831 w 5779477"/>
              <a:gd name="connsiteY169" fmla="*/ 2462173 h 4179604"/>
              <a:gd name="connsiteX170" fmla="*/ 4554415 w 5779477"/>
              <a:gd name="connsiteY170" fmla="*/ 2456312 h 4179604"/>
              <a:gd name="connsiteX171" fmla="*/ 4577861 w 5779477"/>
              <a:gd name="connsiteY171" fmla="*/ 2444589 h 4179604"/>
              <a:gd name="connsiteX172" fmla="*/ 4601308 w 5779477"/>
              <a:gd name="connsiteY172" fmla="*/ 2427004 h 4179604"/>
              <a:gd name="connsiteX173" fmla="*/ 4618892 w 5779477"/>
              <a:gd name="connsiteY173" fmla="*/ 2421143 h 4179604"/>
              <a:gd name="connsiteX174" fmla="*/ 4648200 w 5779477"/>
              <a:gd name="connsiteY174" fmla="*/ 2403558 h 4179604"/>
              <a:gd name="connsiteX175" fmla="*/ 4624754 w 5779477"/>
              <a:gd name="connsiteY175" fmla="*/ 2385973 h 4179604"/>
              <a:gd name="connsiteX0" fmla="*/ 4624754 w 5779477"/>
              <a:gd name="connsiteY0" fmla="*/ 2385973 h 4179604"/>
              <a:gd name="connsiteX1" fmla="*/ 4700954 w 5779477"/>
              <a:gd name="connsiteY1" fmla="*/ 2362527 h 4179604"/>
              <a:gd name="connsiteX2" fmla="*/ 4706815 w 5779477"/>
              <a:gd name="connsiteY2" fmla="*/ 2303912 h 4179604"/>
              <a:gd name="connsiteX3" fmla="*/ 4712677 w 5779477"/>
              <a:gd name="connsiteY3" fmla="*/ 2286327 h 4179604"/>
              <a:gd name="connsiteX4" fmla="*/ 4741985 w 5779477"/>
              <a:gd name="connsiteY4" fmla="*/ 2262881 h 4179604"/>
              <a:gd name="connsiteX5" fmla="*/ 4771292 w 5779477"/>
              <a:gd name="connsiteY5" fmla="*/ 2239435 h 4179604"/>
              <a:gd name="connsiteX6" fmla="*/ 4806461 w 5779477"/>
              <a:gd name="connsiteY6" fmla="*/ 2210127 h 4179604"/>
              <a:gd name="connsiteX7" fmla="*/ 4818185 w 5779477"/>
              <a:gd name="connsiteY7" fmla="*/ 2198404 h 4179604"/>
              <a:gd name="connsiteX8" fmla="*/ 4870938 w 5779477"/>
              <a:gd name="connsiteY8" fmla="*/ 2180820 h 4179604"/>
              <a:gd name="connsiteX9" fmla="*/ 4888523 w 5779477"/>
              <a:gd name="connsiteY9" fmla="*/ 2169096 h 4179604"/>
              <a:gd name="connsiteX10" fmla="*/ 4923692 w 5779477"/>
              <a:gd name="connsiteY10" fmla="*/ 2163235 h 4179604"/>
              <a:gd name="connsiteX11" fmla="*/ 4947138 w 5779477"/>
              <a:gd name="connsiteY11" fmla="*/ 2157373 h 4179604"/>
              <a:gd name="connsiteX12" fmla="*/ 5124816 w 5779477"/>
              <a:gd name="connsiteY12" fmla="*/ 2167265 h 4179604"/>
              <a:gd name="connsiteX13" fmla="*/ 5134708 w 5779477"/>
              <a:gd name="connsiteY13" fmla="*/ 2151511 h 4179604"/>
              <a:gd name="connsiteX14" fmla="*/ 5224462 w 5779477"/>
              <a:gd name="connsiteY14" fmla="*/ 2183385 h 4179604"/>
              <a:gd name="connsiteX15" fmla="*/ 5269523 w 5779477"/>
              <a:gd name="connsiteY15" fmla="*/ 2069450 h 4179604"/>
              <a:gd name="connsiteX16" fmla="*/ 5277948 w 5779477"/>
              <a:gd name="connsiteY16" fmla="*/ 2063589 h 4179604"/>
              <a:gd name="connsiteX17" fmla="*/ 5228492 w 5779477"/>
              <a:gd name="connsiteY17" fmla="*/ 2057728 h 4179604"/>
              <a:gd name="connsiteX18" fmla="*/ 5372518 w 5779477"/>
              <a:gd name="connsiteY18" fmla="*/ 1753765 h 4179604"/>
              <a:gd name="connsiteX19" fmla="*/ 5455418 w 5779477"/>
              <a:gd name="connsiteY19" fmla="*/ 1489158 h 4179604"/>
              <a:gd name="connsiteX20" fmla="*/ 5451231 w 5779477"/>
              <a:gd name="connsiteY20" fmla="*/ 1407096 h 4179604"/>
              <a:gd name="connsiteX21" fmla="*/ 5474677 w 5779477"/>
              <a:gd name="connsiteY21" fmla="*/ 1371927 h 4179604"/>
              <a:gd name="connsiteX22" fmla="*/ 5492261 w 5779477"/>
              <a:gd name="connsiteY22" fmla="*/ 1348481 h 4179604"/>
              <a:gd name="connsiteX23" fmla="*/ 5503985 w 5779477"/>
              <a:gd name="connsiteY23" fmla="*/ 1319173 h 4179604"/>
              <a:gd name="connsiteX24" fmla="*/ 5533292 w 5779477"/>
              <a:gd name="connsiteY24" fmla="*/ 1266420 h 4179604"/>
              <a:gd name="connsiteX25" fmla="*/ 5556738 w 5779477"/>
              <a:gd name="connsiteY25" fmla="*/ 1219527 h 4179604"/>
              <a:gd name="connsiteX26" fmla="*/ 5603631 w 5779477"/>
              <a:gd name="connsiteY26" fmla="*/ 1155050 h 4179604"/>
              <a:gd name="connsiteX27" fmla="*/ 5668108 w 5779477"/>
              <a:gd name="connsiteY27" fmla="*/ 1020235 h 4179604"/>
              <a:gd name="connsiteX28" fmla="*/ 5709138 w 5779477"/>
              <a:gd name="connsiteY28" fmla="*/ 926450 h 4179604"/>
              <a:gd name="connsiteX29" fmla="*/ 5732585 w 5779477"/>
              <a:gd name="connsiteY29" fmla="*/ 867835 h 4179604"/>
              <a:gd name="connsiteX30" fmla="*/ 5744308 w 5779477"/>
              <a:gd name="connsiteY30" fmla="*/ 551312 h 4179604"/>
              <a:gd name="connsiteX31" fmla="*/ 5750169 w 5779477"/>
              <a:gd name="connsiteY31" fmla="*/ 527866 h 4179604"/>
              <a:gd name="connsiteX32" fmla="*/ 5761892 w 5779477"/>
              <a:gd name="connsiteY32" fmla="*/ 504420 h 4179604"/>
              <a:gd name="connsiteX33" fmla="*/ 5767754 w 5779477"/>
              <a:gd name="connsiteY33" fmla="*/ 475112 h 4179604"/>
              <a:gd name="connsiteX34" fmla="*/ 5773615 w 5779477"/>
              <a:gd name="connsiteY34" fmla="*/ 457527 h 4179604"/>
              <a:gd name="connsiteX35" fmla="*/ 5779477 w 5779477"/>
              <a:gd name="connsiteY35" fmla="*/ 369604 h 4179604"/>
              <a:gd name="connsiteX36" fmla="*/ 5767754 w 5779477"/>
              <a:gd name="connsiteY36" fmla="*/ 141004 h 4179604"/>
              <a:gd name="connsiteX37" fmla="*/ 5761892 w 5779477"/>
              <a:gd name="connsiteY37" fmla="*/ 105835 h 4179604"/>
              <a:gd name="connsiteX38" fmla="*/ 5750169 w 5779477"/>
              <a:gd name="connsiteY38" fmla="*/ 88250 h 4179604"/>
              <a:gd name="connsiteX39" fmla="*/ 5744308 w 5779477"/>
              <a:gd name="connsiteY39" fmla="*/ 64804 h 4179604"/>
              <a:gd name="connsiteX40" fmla="*/ 5691554 w 5779477"/>
              <a:gd name="connsiteY40" fmla="*/ 70666 h 4179604"/>
              <a:gd name="connsiteX41" fmla="*/ 5615354 w 5779477"/>
              <a:gd name="connsiteY41" fmla="*/ 58943 h 4179604"/>
              <a:gd name="connsiteX42" fmla="*/ 5533292 w 5779477"/>
              <a:gd name="connsiteY42" fmla="*/ 29635 h 4179604"/>
              <a:gd name="connsiteX43" fmla="*/ 5492261 w 5779477"/>
              <a:gd name="connsiteY43" fmla="*/ 12050 h 4179604"/>
              <a:gd name="connsiteX44" fmla="*/ 5427785 w 5779477"/>
              <a:gd name="connsiteY44" fmla="*/ 327 h 4179604"/>
              <a:gd name="connsiteX45" fmla="*/ 5257800 w 5779477"/>
              <a:gd name="connsiteY45" fmla="*/ 12050 h 4179604"/>
              <a:gd name="connsiteX46" fmla="*/ 5122985 w 5779477"/>
              <a:gd name="connsiteY46" fmla="*/ 41358 h 4179604"/>
              <a:gd name="connsiteX47" fmla="*/ 5058508 w 5779477"/>
              <a:gd name="connsiteY47" fmla="*/ 47220 h 4179604"/>
              <a:gd name="connsiteX48" fmla="*/ 3552092 w 5779477"/>
              <a:gd name="connsiteY48" fmla="*/ 58943 h 4179604"/>
              <a:gd name="connsiteX49" fmla="*/ 3376246 w 5779477"/>
              <a:gd name="connsiteY49" fmla="*/ 70666 h 4179604"/>
              <a:gd name="connsiteX50" fmla="*/ 3124200 w 5779477"/>
              <a:gd name="connsiteY50" fmla="*/ 76527 h 4179604"/>
              <a:gd name="connsiteX51" fmla="*/ 3053861 w 5779477"/>
              <a:gd name="connsiteY51" fmla="*/ 111696 h 4179604"/>
              <a:gd name="connsiteX52" fmla="*/ 2995246 w 5779477"/>
              <a:gd name="connsiteY52" fmla="*/ 176173 h 4179604"/>
              <a:gd name="connsiteX53" fmla="*/ 2895600 w 5779477"/>
              <a:gd name="connsiteY53" fmla="*/ 357881 h 4179604"/>
              <a:gd name="connsiteX54" fmla="*/ 2878015 w 5779477"/>
              <a:gd name="connsiteY54" fmla="*/ 510281 h 4179604"/>
              <a:gd name="connsiteX55" fmla="*/ 2883877 w 5779477"/>
              <a:gd name="connsiteY55" fmla="*/ 580620 h 4179604"/>
              <a:gd name="connsiteX56" fmla="*/ 3036277 w 5779477"/>
              <a:gd name="connsiteY56" fmla="*/ 891281 h 4179604"/>
              <a:gd name="connsiteX57" fmla="*/ 3100754 w 5779477"/>
              <a:gd name="connsiteY57" fmla="*/ 996789 h 4179604"/>
              <a:gd name="connsiteX58" fmla="*/ 3153508 w 5779477"/>
              <a:gd name="connsiteY58" fmla="*/ 1096435 h 4179604"/>
              <a:gd name="connsiteX59" fmla="*/ 3294185 w 5779477"/>
              <a:gd name="connsiteY59" fmla="*/ 1412958 h 4179604"/>
              <a:gd name="connsiteX60" fmla="*/ 3411415 w 5779477"/>
              <a:gd name="connsiteY60" fmla="*/ 1618112 h 4179604"/>
              <a:gd name="connsiteX61" fmla="*/ 3458308 w 5779477"/>
              <a:gd name="connsiteY61" fmla="*/ 1700173 h 4179604"/>
              <a:gd name="connsiteX62" fmla="*/ 3487615 w 5779477"/>
              <a:gd name="connsiteY62" fmla="*/ 1747066 h 4179604"/>
              <a:gd name="connsiteX63" fmla="*/ 3522785 w 5779477"/>
              <a:gd name="connsiteY63" fmla="*/ 1817404 h 4179604"/>
              <a:gd name="connsiteX64" fmla="*/ 3528646 w 5779477"/>
              <a:gd name="connsiteY64" fmla="*/ 1846712 h 4179604"/>
              <a:gd name="connsiteX65" fmla="*/ 3546231 w 5779477"/>
              <a:gd name="connsiteY65" fmla="*/ 1887743 h 4179604"/>
              <a:gd name="connsiteX66" fmla="*/ 3557954 w 5779477"/>
              <a:gd name="connsiteY66" fmla="*/ 1952220 h 4179604"/>
              <a:gd name="connsiteX67" fmla="*/ 3540369 w 5779477"/>
              <a:gd name="connsiteY67" fmla="*/ 2016696 h 4179604"/>
              <a:gd name="connsiteX68" fmla="*/ 3417277 w 5779477"/>
              <a:gd name="connsiteY68" fmla="*/ 2075312 h 4179604"/>
              <a:gd name="connsiteX69" fmla="*/ 3288323 w 5779477"/>
              <a:gd name="connsiteY69" fmla="*/ 1846712 h 4179604"/>
              <a:gd name="connsiteX70" fmla="*/ 3259015 w 5779477"/>
              <a:gd name="connsiteY70" fmla="*/ 1682589 h 4179604"/>
              <a:gd name="connsiteX71" fmla="*/ 3223846 w 5779477"/>
              <a:gd name="connsiteY71" fmla="*/ 1442266 h 4179604"/>
              <a:gd name="connsiteX72" fmla="*/ 3217985 w 5779477"/>
              <a:gd name="connsiteY72" fmla="*/ 1377789 h 4179604"/>
              <a:gd name="connsiteX73" fmla="*/ 3194538 w 5779477"/>
              <a:gd name="connsiteY73" fmla="*/ 1307450 h 4179604"/>
              <a:gd name="connsiteX74" fmla="*/ 3153508 w 5779477"/>
              <a:gd name="connsiteY74" fmla="*/ 1166773 h 4179604"/>
              <a:gd name="connsiteX75" fmla="*/ 3001108 w 5779477"/>
              <a:gd name="connsiteY75" fmla="*/ 867835 h 4179604"/>
              <a:gd name="connsiteX76" fmla="*/ 2965938 w 5779477"/>
              <a:gd name="connsiteY76" fmla="*/ 791635 h 4179604"/>
              <a:gd name="connsiteX77" fmla="*/ 2936631 w 5779477"/>
              <a:gd name="connsiteY77" fmla="*/ 721296 h 4179604"/>
              <a:gd name="connsiteX78" fmla="*/ 2924908 w 5779477"/>
              <a:gd name="connsiteY78" fmla="*/ 703712 h 4179604"/>
              <a:gd name="connsiteX79" fmla="*/ 2907323 w 5779477"/>
              <a:gd name="connsiteY79" fmla="*/ 633373 h 4179604"/>
              <a:gd name="connsiteX80" fmla="*/ 2889738 w 5779477"/>
              <a:gd name="connsiteY80" fmla="*/ 609927 h 4179604"/>
              <a:gd name="connsiteX81" fmla="*/ 2878015 w 5779477"/>
              <a:gd name="connsiteY81" fmla="*/ 451666 h 4179604"/>
              <a:gd name="connsiteX82" fmla="*/ 2866292 w 5779477"/>
              <a:gd name="connsiteY82" fmla="*/ 340296 h 4179604"/>
              <a:gd name="connsiteX83" fmla="*/ 2848708 w 5779477"/>
              <a:gd name="connsiteY83" fmla="*/ 240650 h 4179604"/>
              <a:gd name="connsiteX84" fmla="*/ 2784231 w 5779477"/>
              <a:gd name="connsiteY84" fmla="*/ 135143 h 4179604"/>
              <a:gd name="connsiteX85" fmla="*/ 2608385 w 5779477"/>
              <a:gd name="connsiteY85" fmla="*/ 64805 h 4179604"/>
              <a:gd name="connsiteX86" fmla="*/ 2573215 w 5779477"/>
              <a:gd name="connsiteY86" fmla="*/ 41358 h 4179604"/>
              <a:gd name="connsiteX87" fmla="*/ 2491154 w 5779477"/>
              <a:gd name="connsiteY87" fmla="*/ 327 h 4179604"/>
              <a:gd name="connsiteX88" fmla="*/ 2403231 w 5779477"/>
              <a:gd name="connsiteY88" fmla="*/ 23773 h 4179604"/>
              <a:gd name="connsiteX89" fmla="*/ 2356338 w 5779477"/>
              <a:gd name="connsiteY89" fmla="*/ 41358 h 4179604"/>
              <a:gd name="connsiteX90" fmla="*/ 2315308 w 5779477"/>
              <a:gd name="connsiteY90" fmla="*/ 47220 h 4179604"/>
              <a:gd name="connsiteX91" fmla="*/ 2268415 w 5779477"/>
              <a:gd name="connsiteY91" fmla="*/ 58943 h 4179604"/>
              <a:gd name="connsiteX92" fmla="*/ 2063261 w 5779477"/>
              <a:gd name="connsiteY92" fmla="*/ 53081 h 4179604"/>
              <a:gd name="connsiteX93" fmla="*/ 2010508 w 5779477"/>
              <a:gd name="connsiteY93" fmla="*/ 41358 h 4179604"/>
              <a:gd name="connsiteX94" fmla="*/ 1951892 w 5779477"/>
              <a:gd name="connsiteY94" fmla="*/ 29635 h 4179604"/>
              <a:gd name="connsiteX95" fmla="*/ 1471246 w 5779477"/>
              <a:gd name="connsiteY95" fmla="*/ 29635 h 4179604"/>
              <a:gd name="connsiteX96" fmla="*/ 779585 w 5779477"/>
              <a:gd name="connsiteY96" fmla="*/ 41358 h 4179604"/>
              <a:gd name="connsiteX97" fmla="*/ 726831 w 5779477"/>
              <a:gd name="connsiteY97" fmla="*/ 47220 h 4179604"/>
              <a:gd name="connsiteX98" fmla="*/ 656492 w 5779477"/>
              <a:gd name="connsiteY98" fmla="*/ 53081 h 4179604"/>
              <a:gd name="connsiteX99" fmla="*/ 621323 w 5779477"/>
              <a:gd name="connsiteY99" fmla="*/ 58943 h 4179604"/>
              <a:gd name="connsiteX100" fmla="*/ 486508 w 5779477"/>
              <a:gd name="connsiteY100" fmla="*/ 70666 h 4179604"/>
              <a:gd name="connsiteX101" fmla="*/ 357554 w 5779477"/>
              <a:gd name="connsiteY101" fmla="*/ 76527 h 4179604"/>
              <a:gd name="connsiteX102" fmla="*/ 322385 w 5779477"/>
              <a:gd name="connsiteY102" fmla="*/ 99973 h 4179604"/>
              <a:gd name="connsiteX103" fmla="*/ 193431 w 5779477"/>
              <a:gd name="connsiteY103" fmla="*/ 211343 h 4179604"/>
              <a:gd name="connsiteX104" fmla="*/ 99646 w 5779477"/>
              <a:gd name="connsiteY104" fmla="*/ 398912 h 4179604"/>
              <a:gd name="connsiteX105" fmla="*/ 0 w 5779477"/>
              <a:gd name="connsiteY105" fmla="*/ 1131604 h 4179604"/>
              <a:gd name="connsiteX106" fmla="*/ 17585 w 5779477"/>
              <a:gd name="connsiteY106" fmla="*/ 1928773 h 4179604"/>
              <a:gd name="connsiteX107" fmla="*/ 70338 w 5779477"/>
              <a:gd name="connsiteY107" fmla="*/ 2251158 h 4179604"/>
              <a:gd name="connsiteX108" fmla="*/ 123092 w 5779477"/>
              <a:gd name="connsiteY108" fmla="*/ 2473896 h 4179604"/>
              <a:gd name="connsiteX109" fmla="*/ 304800 w 5779477"/>
              <a:gd name="connsiteY109" fmla="*/ 2960404 h 4179604"/>
              <a:gd name="connsiteX110" fmla="*/ 568569 w 5779477"/>
              <a:gd name="connsiteY110" fmla="*/ 3364850 h 4179604"/>
              <a:gd name="connsiteX111" fmla="*/ 926123 w 5779477"/>
              <a:gd name="connsiteY111" fmla="*/ 3663789 h 4179604"/>
              <a:gd name="connsiteX112" fmla="*/ 1002323 w 5779477"/>
              <a:gd name="connsiteY112" fmla="*/ 3728266 h 4179604"/>
              <a:gd name="connsiteX113" fmla="*/ 1301261 w 5779477"/>
              <a:gd name="connsiteY113" fmla="*/ 3892389 h 4179604"/>
              <a:gd name="connsiteX114" fmla="*/ 1447800 w 5779477"/>
              <a:gd name="connsiteY114" fmla="*/ 3927558 h 4179604"/>
              <a:gd name="connsiteX115" fmla="*/ 1488831 w 5779477"/>
              <a:gd name="connsiteY115" fmla="*/ 3939281 h 4179604"/>
              <a:gd name="connsiteX116" fmla="*/ 1688123 w 5779477"/>
              <a:gd name="connsiteY116" fmla="*/ 3945143 h 4179604"/>
              <a:gd name="connsiteX117" fmla="*/ 1811215 w 5779477"/>
              <a:gd name="connsiteY117" fmla="*/ 3974450 h 4179604"/>
              <a:gd name="connsiteX118" fmla="*/ 1852246 w 5779477"/>
              <a:gd name="connsiteY118" fmla="*/ 3992035 h 4179604"/>
              <a:gd name="connsiteX119" fmla="*/ 1875692 w 5779477"/>
              <a:gd name="connsiteY119" fmla="*/ 4003758 h 4179604"/>
              <a:gd name="connsiteX120" fmla="*/ 1963615 w 5779477"/>
              <a:gd name="connsiteY120" fmla="*/ 4021343 h 4179604"/>
              <a:gd name="connsiteX121" fmla="*/ 2057400 w 5779477"/>
              <a:gd name="connsiteY121" fmla="*/ 4050650 h 4179604"/>
              <a:gd name="connsiteX122" fmla="*/ 2104292 w 5779477"/>
              <a:gd name="connsiteY122" fmla="*/ 4056512 h 4179604"/>
              <a:gd name="connsiteX123" fmla="*/ 2303585 w 5779477"/>
              <a:gd name="connsiteY123" fmla="*/ 4097543 h 4179604"/>
              <a:gd name="connsiteX124" fmla="*/ 2368061 w 5779477"/>
              <a:gd name="connsiteY124" fmla="*/ 4109266 h 4179604"/>
              <a:gd name="connsiteX125" fmla="*/ 2584938 w 5779477"/>
              <a:gd name="connsiteY125" fmla="*/ 4162020 h 4179604"/>
              <a:gd name="connsiteX126" fmla="*/ 2702169 w 5779477"/>
              <a:gd name="connsiteY126" fmla="*/ 4179604 h 4179604"/>
              <a:gd name="connsiteX127" fmla="*/ 2795954 w 5779477"/>
              <a:gd name="connsiteY127" fmla="*/ 4138573 h 4179604"/>
              <a:gd name="connsiteX128" fmla="*/ 2854569 w 5779477"/>
              <a:gd name="connsiteY128" fmla="*/ 4109266 h 4179604"/>
              <a:gd name="connsiteX129" fmla="*/ 3217985 w 5779477"/>
              <a:gd name="connsiteY129" fmla="*/ 4144435 h 4179604"/>
              <a:gd name="connsiteX130" fmla="*/ 3259015 w 5779477"/>
              <a:gd name="connsiteY130" fmla="*/ 4120989 h 4179604"/>
              <a:gd name="connsiteX131" fmla="*/ 3282461 w 5779477"/>
              <a:gd name="connsiteY131" fmla="*/ 4079958 h 4179604"/>
              <a:gd name="connsiteX132" fmla="*/ 3317631 w 5779477"/>
              <a:gd name="connsiteY132" fmla="*/ 4056512 h 4179604"/>
              <a:gd name="connsiteX133" fmla="*/ 3329354 w 5779477"/>
              <a:gd name="connsiteY133" fmla="*/ 4033066 h 4179604"/>
              <a:gd name="connsiteX134" fmla="*/ 3346938 w 5779477"/>
              <a:gd name="connsiteY134" fmla="*/ 4009620 h 4179604"/>
              <a:gd name="connsiteX135" fmla="*/ 3358661 w 5779477"/>
              <a:gd name="connsiteY135" fmla="*/ 3962727 h 4179604"/>
              <a:gd name="connsiteX136" fmla="*/ 3364523 w 5779477"/>
              <a:gd name="connsiteY136" fmla="*/ 3933420 h 4179604"/>
              <a:gd name="connsiteX137" fmla="*/ 3387969 w 5779477"/>
              <a:gd name="connsiteY137" fmla="*/ 3898250 h 4179604"/>
              <a:gd name="connsiteX138" fmla="*/ 3376246 w 5779477"/>
              <a:gd name="connsiteY138" fmla="*/ 3880666 h 4179604"/>
              <a:gd name="connsiteX139" fmla="*/ 3399692 w 5779477"/>
              <a:gd name="connsiteY139" fmla="*/ 3763435 h 4179604"/>
              <a:gd name="connsiteX140" fmla="*/ 3387969 w 5779477"/>
              <a:gd name="connsiteY140" fmla="*/ 3734127 h 4179604"/>
              <a:gd name="connsiteX141" fmla="*/ 3423138 w 5779477"/>
              <a:gd name="connsiteY141" fmla="*/ 3657927 h 4179604"/>
              <a:gd name="connsiteX142" fmla="*/ 3464169 w 5779477"/>
              <a:gd name="connsiteY142" fmla="*/ 3622758 h 4179604"/>
              <a:gd name="connsiteX143" fmla="*/ 3487616 w 5779477"/>
              <a:gd name="connsiteY143" fmla="*/ 3593451 h 4179604"/>
              <a:gd name="connsiteX144" fmla="*/ 3405553 w 5779477"/>
              <a:gd name="connsiteY144" fmla="*/ 3429327 h 4179604"/>
              <a:gd name="connsiteX145" fmla="*/ 3364523 w 5779477"/>
              <a:gd name="connsiteY145" fmla="*/ 3341404 h 4179604"/>
              <a:gd name="connsiteX146" fmla="*/ 3276600 w 5779477"/>
              <a:gd name="connsiteY146" fmla="*/ 3294512 h 4179604"/>
              <a:gd name="connsiteX147" fmla="*/ 3264877 w 5779477"/>
              <a:gd name="connsiteY147" fmla="*/ 3271066 h 4179604"/>
              <a:gd name="connsiteX148" fmla="*/ 3229708 w 5779477"/>
              <a:gd name="connsiteY148" fmla="*/ 3212450 h 4179604"/>
              <a:gd name="connsiteX149" fmla="*/ 3212123 w 5779477"/>
              <a:gd name="connsiteY149" fmla="*/ 3142112 h 4179604"/>
              <a:gd name="connsiteX150" fmla="*/ 3229708 w 5779477"/>
              <a:gd name="connsiteY150" fmla="*/ 2966266 h 4179604"/>
              <a:gd name="connsiteX151" fmla="*/ 3253154 w 5779477"/>
              <a:gd name="connsiteY151" fmla="*/ 2919373 h 4179604"/>
              <a:gd name="connsiteX152" fmla="*/ 3264877 w 5779477"/>
              <a:gd name="connsiteY152" fmla="*/ 2872481 h 4179604"/>
              <a:gd name="connsiteX153" fmla="*/ 3305908 w 5779477"/>
              <a:gd name="connsiteY153" fmla="*/ 2761112 h 4179604"/>
              <a:gd name="connsiteX154" fmla="*/ 3323492 w 5779477"/>
              <a:gd name="connsiteY154" fmla="*/ 2720081 h 4179604"/>
              <a:gd name="connsiteX155" fmla="*/ 3364523 w 5779477"/>
              <a:gd name="connsiteY155" fmla="*/ 2620435 h 4179604"/>
              <a:gd name="connsiteX156" fmla="*/ 3382108 w 5779477"/>
              <a:gd name="connsiteY156" fmla="*/ 2579404 h 4179604"/>
              <a:gd name="connsiteX157" fmla="*/ 3417277 w 5779477"/>
              <a:gd name="connsiteY157" fmla="*/ 2538373 h 4179604"/>
              <a:gd name="connsiteX158" fmla="*/ 3440723 w 5779477"/>
              <a:gd name="connsiteY158" fmla="*/ 2520789 h 4179604"/>
              <a:gd name="connsiteX159" fmla="*/ 3458308 w 5779477"/>
              <a:gd name="connsiteY159" fmla="*/ 2497343 h 4179604"/>
              <a:gd name="connsiteX160" fmla="*/ 3470031 w 5779477"/>
              <a:gd name="connsiteY160" fmla="*/ 2473896 h 4179604"/>
              <a:gd name="connsiteX161" fmla="*/ 3487615 w 5779477"/>
              <a:gd name="connsiteY161" fmla="*/ 2468035 h 4179604"/>
              <a:gd name="connsiteX162" fmla="*/ 3663461 w 5779477"/>
              <a:gd name="connsiteY162" fmla="*/ 2491481 h 4179604"/>
              <a:gd name="connsiteX163" fmla="*/ 3722077 w 5779477"/>
              <a:gd name="connsiteY163" fmla="*/ 2509066 h 4179604"/>
              <a:gd name="connsiteX164" fmla="*/ 3804138 w 5779477"/>
              <a:gd name="connsiteY164" fmla="*/ 2514927 h 4179604"/>
              <a:gd name="connsiteX165" fmla="*/ 4366846 w 5779477"/>
              <a:gd name="connsiteY165" fmla="*/ 2532512 h 4179604"/>
              <a:gd name="connsiteX166" fmla="*/ 4472354 w 5779477"/>
              <a:gd name="connsiteY166" fmla="*/ 2514927 h 4179604"/>
              <a:gd name="connsiteX167" fmla="*/ 4495800 w 5779477"/>
              <a:gd name="connsiteY167" fmla="*/ 2491481 h 4179604"/>
              <a:gd name="connsiteX168" fmla="*/ 4513385 w 5779477"/>
              <a:gd name="connsiteY168" fmla="*/ 2485620 h 4179604"/>
              <a:gd name="connsiteX169" fmla="*/ 4536831 w 5779477"/>
              <a:gd name="connsiteY169" fmla="*/ 2462173 h 4179604"/>
              <a:gd name="connsiteX170" fmla="*/ 4554415 w 5779477"/>
              <a:gd name="connsiteY170" fmla="*/ 2456312 h 4179604"/>
              <a:gd name="connsiteX171" fmla="*/ 4577861 w 5779477"/>
              <a:gd name="connsiteY171" fmla="*/ 2444589 h 4179604"/>
              <a:gd name="connsiteX172" fmla="*/ 4601308 w 5779477"/>
              <a:gd name="connsiteY172" fmla="*/ 2427004 h 4179604"/>
              <a:gd name="connsiteX173" fmla="*/ 4618892 w 5779477"/>
              <a:gd name="connsiteY173" fmla="*/ 2421143 h 4179604"/>
              <a:gd name="connsiteX174" fmla="*/ 4648200 w 5779477"/>
              <a:gd name="connsiteY174" fmla="*/ 2403558 h 4179604"/>
              <a:gd name="connsiteX175" fmla="*/ 4624754 w 5779477"/>
              <a:gd name="connsiteY175" fmla="*/ 2385973 h 4179604"/>
              <a:gd name="connsiteX0" fmla="*/ 4624754 w 5793206"/>
              <a:gd name="connsiteY0" fmla="*/ 2385973 h 4179604"/>
              <a:gd name="connsiteX1" fmla="*/ 4700954 w 5793206"/>
              <a:gd name="connsiteY1" fmla="*/ 2362527 h 4179604"/>
              <a:gd name="connsiteX2" fmla="*/ 4706815 w 5793206"/>
              <a:gd name="connsiteY2" fmla="*/ 2303912 h 4179604"/>
              <a:gd name="connsiteX3" fmla="*/ 4712677 w 5793206"/>
              <a:gd name="connsiteY3" fmla="*/ 2286327 h 4179604"/>
              <a:gd name="connsiteX4" fmla="*/ 4741985 w 5793206"/>
              <a:gd name="connsiteY4" fmla="*/ 2262881 h 4179604"/>
              <a:gd name="connsiteX5" fmla="*/ 4771292 w 5793206"/>
              <a:gd name="connsiteY5" fmla="*/ 2239435 h 4179604"/>
              <a:gd name="connsiteX6" fmla="*/ 4806461 w 5793206"/>
              <a:gd name="connsiteY6" fmla="*/ 2210127 h 4179604"/>
              <a:gd name="connsiteX7" fmla="*/ 4818185 w 5793206"/>
              <a:gd name="connsiteY7" fmla="*/ 2198404 h 4179604"/>
              <a:gd name="connsiteX8" fmla="*/ 4870938 w 5793206"/>
              <a:gd name="connsiteY8" fmla="*/ 2180820 h 4179604"/>
              <a:gd name="connsiteX9" fmla="*/ 4888523 w 5793206"/>
              <a:gd name="connsiteY9" fmla="*/ 2169096 h 4179604"/>
              <a:gd name="connsiteX10" fmla="*/ 4923692 w 5793206"/>
              <a:gd name="connsiteY10" fmla="*/ 2163235 h 4179604"/>
              <a:gd name="connsiteX11" fmla="*/ 4947138 w 5793206"/>
              <a:gd name="connsiteY11" fmla="*/ 2157373 h 4179604"/>
              <a:gd name="connsiteX12" fmla="*/ 5124816 w 5793206"/>
              <a:gd name="connsiteY12" fmla="*/ 2167265 h 4179604"/>
              <a:gd name="connsiteX13" fmla="*/ 5134708 w 5793206"/>
              <a:gd name="connsiteY13" fmla="*/ 2151511 h 4179604"/>
              <a:gd name="connsiteX14" fmla="*/ 5224462 w 5793206"/>
              <a:gd name="connsiteY14" fmla="*/ 2183385 h 4179604"/>
              <a:gd name="connsiteX15" fmla="*/ 5269523 w 5793206"/>
              <a:gd name="connsiteY15" fmla="*/ 2069450 h 4179604"/>
              <a:gd name="connsiteX16" fmla="*/ 5277948 w 5793206"/>
              <a:gd name="connsiteY16" fmla="*/ 2063589 h 4179604"/>
              <a:gd name="connsiteX17" fmla="*/ 5228492 w 5793206"/>
              <a:gd name="connsiteY17" fmla="*/ 2057728 h 4179604"/>
              <a:gd name="connsiteX18" fmla="*/ 5372518 w 5793206"/>
              <a:gd name="connsiteY18" fmla="*/ 1753765 h 4179604"/>
              <a:gd name="connsiteX19" fmla="*/ 5455418 w 5793206"/>
              <a:gd name="connsiteY19" fmla="*/ 1489158 h 4179604"/>
              <a:gd name="connsiteX20" fmla="*/ 5451231 w 5793206"/>
              <a:gd name="connsiteY20" fmla="*/ 1407096 h 4179604"/>
              <a:gd name="connsiteX21" fmla="*/ 5474677 w 5793206"/>
              <a:gd name="connsiteY21" fmla="*/ 1371927 h 4179604"/>
              <a:gd name="connsiteX22" fmla="*/ 5492261 w 5793206"/>
              <a:gd name="connsiteY22" fmla="*/ 1348481 h 4179604"/>
              <a:gd name="connsiteX23" fmla="*/ 5503985 w 5793206"/>
              <a:gd name="connsiteY23" fmla="*/ 1319173 h 4179604"/>
              <a:gd name="connsiteX24" fmla="*/ 5533292 w 5793206"/>
              <a:gd name="connsiteY24" fmla="*/ 1266420 h 4179604"/>
              <a:gd name="connsiteX25" fmla="*/ 5556738 w 5793206"/>
              <a:gd name="connsiteY25" fmla="*/ 1219527 h 4179604"/>
              <a:gd name="connsiteX26" fmla="*/ 5603631 w 5793206"/>
              <a:gd name="connsiteY26" fmla="*/ 1155050 h 4179604"/>
              <a:gd name="connsiteX27" fmla="*/ 5668108 w 5793206"/>
              <a:gd name="connsiteY27" fmla="*/ 1020235 h 4179604"/>
              <a:gd name="connsiteX28" fmla="*/ 5709138 w 5793206"/>
              <a:gd name="connsiteY28" fmla="*/ 926450 h 4179604"/>
              <a:gd name="connsiteX29" fmla="*/ 5732585 w 5793206"/>
              <a:gd name="connsiteY29" fmla="*/ 867835 h 4179604"/>
              <a:gd name="connsiteX30" fmla="*/ 5744308 w 5793206"/>
              <a:gd name="connsiteY30" fmla="*/ 551312 h 4179604"/>
              <a:gd name="connsiteX31" fmla="*/ 5793031 w 5793206"/>
              <a:gd name="connsiteY31" fmla="*/ 542154 h 4179604"/>
              <a:gd name="connsiteX32" fmla="*/ 5761892 w 5793206"/>
              <a:gd name="connsiteY32" fmla="*/ 504420 h 4179604"/>
              <a:gd name="connsiteX33" fmla="*/ 5767754 w 5793206"/>
              <a:gd name="connsiteY33" fmla="*/ 475112 h 4179604"/>
              <a:gd name="connsiteX34" fmla="*/ 5773615 w 5793206"/>
              <a:gd name="connsiteY34" fmla="*/ 457527 h 4179604"/>
              <a:gd name="connsiteX35" fmla="*/ 5779477 w 5793206"/>
              <a:gd name="connsiteY35" fmla="*/ 369604 h 4179604"/>
              <a:gd name="connsiteX36" fmla="*/ 5767754 w 5793206"/>
              <a:gd name="connsiteY36" fmla="*/ 141004 h 4179604"/>
              <a:gd name="connsiteX37" fmla="*/ 5761892 w 5793206"/>
              <a:gd name="connsiteY37" fmla="*/ 105835 h 4179604"/>
              <a:gd name="connsiteX38" fmla="*/ 5750169 w 5793206"/>
              <a:gd name="connsiteY38" fmla="*/ 88250 h 4179604"/>
              <a:gd name="connsiteX39" fmla="*/ 5744308 w 5793206"/>
              <a:gd name="connsiteY39" fmla="*/ 64804 h 4179604"/>
              <a:gd name="connsiteX40" fmla="*/ 5691554 w 5793206"/>
              <a:gd name="connsiteY40" fmla="*/ 70666 h 4179604"/>
              <a:gd name="connsiteX41" fmla="*/ 5615354 w 5793206"/>
              <a:gd name="connsiteY41" fmla="*/ 58943 h 4179604"/>
              <a:gd name="connsiteX42" fmla="*/ 5533292 w 5793206"/>
              <a:gd name="connsiteY42" fmla="*/ 29635 h 4179604"/>
              <a:gd name="connsiteX43" fmla="*/ 5492261 w 5793206"/>
              <a:gd name="connsiteY43" fmla="*/ 12050 h 4179604"/>
              <a:gd name="connsiteX44" fmla="*/ 5427785 w 5793206"/>
              <a:gd name="connsiteY44" fmla="*/ 327 h 4179604"/>
              <a:gd name="connsiteX45" fmla="*/ 5257800 w 5793206"/>
              <a:gd name="connsiteY45" fmla="*/ 12050 h 4179604"/>
              <a:gd name="connsiteX46" fmla="*/ 5122985 w 5793206"/>
              <a:gd name="connsiteY46" fmla="*/ 41358 h 4179604"/>
              <a:gd name="connsiteX47" fmla="*/ 5058508 w 5793206"/>
              <a:gd name="connsiteY47" fmla="*/ 47220 h 4179604"/>
              <a:gd name="connsiteX48" fmla="*/ 3552092 w 5793206"/>
              <a:gd name="connsiteY48" fmla="*/ 58943 h 4179604"/>
              <a:gd name="connsiteX49" fmla="*/ 3376246 w 5793206"/>
              <a:gd name="connsiteY49" fmla="*/ 70666 h 4179604"/>
              <a:gd name="connsiteX50" fmla="*/ 3124200 w 5793206"/>
              <a:gd name="connsiteY50" fmla="*/ 76527 h 4179604"/>
              <a:gd name="connsiteX51" fmla="*/ 3053861 w 5793206"/>
              <a:gd name="connsiteY51" fmla="*/ 111696 h 4179604"/>
              <a:gd name="connsiteX52" fmla="*/ 2995246 w 5793206"/>
              <a:gd name="connsiteY52" fmla="*/ 176173 h 4179604"/>
              <a:gd name="connsiteX53" fmla="*/ 2895600 w 5793206"/>
              <a:gd name="connsiteY53" fmla="*/ 357881 h 4179604"/>
              <a:gd name="connsiteX54" fmla="*/ 2878015 w 5793206"/>
              <a:gd name="connsiteY54" fmla="*/ 510281 h 4179604"/>
              <a:gd name="connsiteX55" fmla="*/ 2883877 w 5793206"/>
              <a:gd name="connsiteY55" fmla="*/ 580620 h 4179604"/>
              <a:gd name="connsiteX56" fmla="*/ 3036277 w 5793206"/>
              <a:gd name="connsiteY56" fmla="*/ 891281 h 4179604"/>
              <a:gd name="connsiteX57" fmla="*/ 3100754 w 5793206"/>
              <a:gd name="connsiteY57" fmla="*/ 996789 h 4179604"/>
              <a:gd name="connsiteX58" fmla="*/ 3153508 w 5793206"/>
              <a:gd name="connsiteY58" fmla="*/ 1096435 h 4179604"/>
              <a:gd name="connsiteX59" fmla="*/ 3294185 w 5793206"/>
              <a:gd name="connsiteY59" fmla="*/ 1412958 h 4179604"/>
              <a:gd name="connsiteX60" fmla="*/ 3411415 w 5793206"/>
              <a:gd name="connsiteY60" fmla="*/ 1618112 h 4179604"/>
              <a:gd name="connsiteX61" fmla="*/ 3458308 w 5793206"/>
              <a:gd name="connsiteY61" fmla="*/ 1700173 h 4179604"/>
              <a:gd name="connsiteX62" fmla="*/ 3487615 w 5793206"/>
              <a:gd name="connsiteY62" fmla="*/ 1747066 h 4179604"/>
              <a:gd name="connsiteX63" fmla="*/ 3522785 w 5793206"/>
              <a:gd name="connsiteY63" fmla="*/ 1817404 h 4179604"/>
              <a:gd name="connsiteX64" fmla="*/ 3528646 w 5793206"/>
              <a:gd name="connsiteY64" fmla="*/ 1846712 h 4179604"/>
              <a:gd name="connsiteX65" fmla="*/ 3546231 w 5793206"/>
              <a:gd name="connsiteY65" fmla="*/ 1887743 h 4179604"/>
              <a:gd name="connsiteX66" fmla="*/ 3557954 w 5793206"/>
              <a:gd name="connsiteY66" fmla="*/ 1952220 h 4179604"/>
              <a:gd name="connsiteX67" fmla="*/ 3540369 w 5793206"/>
              <a:gd name="connsiteY67" fmla="*/ 2016696 h 4179604"/>
              <a:gd name="connsiteX68" fmla="*/ 3417277 w 5793206"/>
              <a:gd name="connsiteY68" fmla="*/ 2075312 h 4179604"/>
              <a:gd name="connsiteX69" fmla="*/ 3288323 w 5793206"/>
              <a:gd name="connsiteY69" fmla="*/ 1846712 h 4179604"/>
              <a:gd name="connsiteX70" fmla="*/ 3259015 w 5793206"/>
              <a:gd name="connsiteY70" fmla="*/ 1682589 h 4179604"/>
              <a:gd name="connsiteX71" fmla="*/ 3223846 w 5793206"/>
              <a:gd name="connsiteY71" fmla="*/ 1442266 h 4179604"/>
              <a:gd name="connsiteX72" fmla="*/ 3217985 w 5793206"/>
              <a:gd name="connsiteY72" fmla="*/ 1377789 h 4179604"/>
              <a:gd name="connsiteX73" fmla="*/ 3194538 w 5793206"/>
              <a:gd name="connsiteY73" fmla="*/ 1307450 h 4179604"/>
              <a:gd name="connsiteX74" fmla="*/ 3153508 w 5793206"/>
              <a:gd name="connsiteY74" fmla="*/ 1166773 h 4179604"/>
              <a:gd name="connsiteX75" fmla="*/ 3001108 w 5793206"/>
              <a:gd name="connsiteY75" fmla="*/ 867835 h 4179604"/>
              <a:gd name="connsiteX76" fmla="*/ 2965938 w 5793206"/>
              <a:gd name="connsiteY76" fmla="*/ 791635 h 4179604"/>
              <a:gd name="connsiteX77" fmla="*/ 2936631 w 5793206"/>
              <a:gd name="connsiteY77" fmla="*/ 721296 h 4179604"/>
              <a:gd name="connsiteX78" fmla="*/ 2924908 w 5793206"/>
              <a:gd name="connsiteY78" fmla="*/ 703712 h 4179604"/>
              <a:gd name="connsiteX79" fmla="*/ 2907323 w 5793206"/>
              <a:gd name="connsiteY79" fmla="*/ 633373 h 4179604"/>
              <a:gd name="connsiteX80" fmla="*/ 2889738 w 5793206"/>
              <a:gd name="connsiteY80" fmla="*/ 609927 h 4179604"/>
              <a:gd name="connsiteX81" fmla="*/ 2878015 w 5793206"/>
              <a:gd name="connsiteY81" fmla="*/ 451666 h 4179604"/>
              <a:gd name="connsiteX82" fmla="*/ 2866292 w 5793206"/>
              <a:gd name="connsiteY82" fmla="*/ 340296 h 4179604"/>
              <a:gd name="connsiteX83" fmla="*/ 2848708 w 5793206"/>
              <a:gd name="connsiteY83" fmla="*/ 240650 h 4179604"/>
              <a:gd name="connsiteX84" fmla="*/ 2784231 w 5793206"/>
              <a:gd name="connsiteY84" fmla="*/ 135143 h 4179604"/>
              <a:gd name="connsiteX85" fmla="*/ 2608385 w 5793206"/>
              <a:gd name="connsiteY85" fmla="*/ 64805 h 4179604"/>
              <a:gd name="connsiteX86" fmla="*/ 2573215 w 5793206"/>
              <a:gd name="connsiteY86" fmla="*/ 41358 h 4179604"/>
              <a:gd name="connsiteX87" fmla="*/ 2491154 w 5793206"/>
              <a:gd name="connsiteY87" fmla="*/ 327 h 4179604"/>
              <a:gd name="connsiteX88" fmla="*/ 2403231 w 5793206"/>
              <a:gd name="connsiteY88" fmla="*/ 23773 h 4179604"/>
              <a:gd name="connsiteX89" fmla="*/ 2356338 w 5793206"/>
              <a:gd name="connsiteY89" fmla="*/ 41358 h 4179604"/>
              <a:gd name="connsiteX90" fmla="*/ 2315308 w 5793206"/>
              <a:gd name="connsiteY90" fmla="*/ 47220 h 4179604"/>
              <a:gd name="connsiteX91" fmla="*/ 2268415 w 5793206"/>
              <a:gd name="connsiteY91" fmla="*/ 58943 h 4179604"/>
              <a:gd name="connsiteX92" fmla="*/ 2063261 w 5793206"/>
              <a:gd name="connsiteY92" fmla="*/ 53081 h 4179604"/>
              <a:gd name="connsiteX93" fmla="*/ 2010508 w 5793206"/>
              <a:gd name="connsiteY93" fmla="*/ 41358 h 4179604"/>
              <a:gd name="connsiteX94" fmla="*/ 1951892 w 5793206"/>
              <a:gd name="connsiteY94" fmla="*/ 29635 h 4179604"/>
              <a:gd name="connsiteX95" fmla="*/ 1471246 w 5793206"/>
              <a:gd name="connsiteY95" fmla="*/ 29635 h 4179604"/>
              <a:gd name="connsiteX96" fmla="*/ 779585 w 5793206"/>
              <a:gd name="connsiteY96" fmla="*/ 41358 h 4179604"/>
              <a:gd name="connsiteX97" fmla="*/ 726831 w 5793206"/>
              <a:gd name="connsiteY97" fmla="*/ 47220 h 4179604"/>
              <a:gd name="connsiteX98" fmla="*/ 656492 w 5793206"/>
              <a:gd name="connsiteY98" fmla="*/ 53081 h 4179604"/>
              <a:gd name="connsiteX99" fmla="*/ 621323 w 5793206"/>
              <a:gd name="connsiteY99" fmla="*/ 58943 h 4179604"/>
              <a:gd name="connsiteX100" fmla="*/ 486508 w 5793206"/>
              <a:gd name="connsiteY100" fmla="*/ 70666 h 4179604"/>
              <a:gd name="connsiteX101" fmla="*/ 357554 w 5793206"/>
              <a:gd name="connsiteY101" fmla="*/ 76527 h 4179604"/>
              <a:gd name="connsiteX102" fmla="*/ 322385 w 5793206"/>
              <a:gd name="connsiteY102" fmla="*/ 99973 h 4179604"/>
              <a:gd name="connsiteX103" fmla="*/ 193431 w 5793206"/>
              <a:gd name="connsiteY103" fmla="*/ 211343 h 4179604"/>
              <a:gd name="connsiteX104" fmla="*/ 99646 w 5793206"/>
              <a:gd name="connsiteY104" fmla="*/ 398912 h 4179604"/>
              <a:gd name="connsiteX105" fmla="*/ 0 w 5793206"/>
              <a:gd name="connsiteY105" fmla="*/ 1131604 h 4179604"/>
              <a:gd name="connsiteX106" fmla="*/ 17585 w 5793206"/>
              <a:gd name="connsiteY106" fmla="*/ 1928773 h 4179604"/>
              <a:gd name="connsiteX107" fmla="*/ 70338 w 5793206"/>
              <a:gd name="connsiteY107" fmla="*/ 2251158 h 4179604"/>
              <a:gd name="connsiteX108" fmla="*/ 123092 w 5793206"/>
              <a:gd name="connsiteY108" fmla="*/ 2473896 h 4179604"/>
              <a:gd name="connsiteX109" fmla="*/ 304800 w 5793206"/>
              <a:gd name="connsiteY109" fmla="*/ 2960404 h 4179604"/>
              <a:gd name="connsiteX110" fmla="*/ 568569 w 5793206"/>
              <a:gd name="connsiteY110" fmla="*/ 3364850 h 4179604"/>
              <a:gd name="connsiteX111" fmla="*/ 926123 w 5793206"/>
              <a:gd name="connsiteY111" fmla="*/ 3663789 h 4179604"/>
              <a:gd name="connsiteX112" fmla="*/ 1002323 w 5793206"/>
              <a:gd name="connsiteY112" fmla="*/ 3728266 h 4179604"/>
              <a:gd name="connsiteX113" fmla="*/ 1301261 w 5793206"/>
              <a:gd name="connsiteY113" fmla="*/ 3892389 h 4179604"/>
              <a:gd name="connsiteX114" fmla="*/ 1447800 w 5793206"/>
              <a:gd name="connsiteY114" fmla="*/ 3927558 h 4179604"/>
              <a:gd name="connsiteX115" fmla="*/ 1488831 w 5793206"/>
              <a:gd name="connsiteY115" fmla="*/ 3939281 h 4179604"/>
              <a:gd name="connsiteX116" fmla="*/ 1688123 w 5793206"/>
              <a:gd name="connsiteY116" fmla="*/ 3945143 h 4179604"/>
              <a:gd name="connsiteX117" fmla="*/ 1811215 w 5793206"/>
              <a:gd name="connsiteY117" fmla="*/ 3974450 h 4179604"/>
              <a:gd name="connsiteX118" fmla="*/ 1852246 w 5793206"/>
              <a:gd name="connsiteY118" fmla="*/ 3992035 h 4179604"/>
              <a:gd name="connsiteX119" fmla="*/ 1875692 w 5793206"/>
              <a:gd name="connsiteY119" fmla="*/ 4003758 h 4179604"/>
              <a:gd name="connsiteX120" fmla="*/ 1963615 w 5793206"/>
              <a:gd name="connsiteY120" fmla="*/ 4021343 h 4179604"/>
              <a:gd name="connsiteX121" fmla="*/ 2057400 w 5793206"/>
              <a:gd name="connsiteY121" fmla="*/ 4050650 h 4179604"/>
              <a:gd name="connsiteX122" fmla="*/ 2104292 w 5793206"/>
              <a:gd name="connsiteY122" fmla="*/ 4056512 h 4179604"/>
              <a:gd name="connsiteX123" fmla="*/ 2303585 w 5793206"/>
              <a:gd name="connsiteY123" fmla="*/ 4097543 h 4179604"/>
              <a:gd name="connsiteX124" fmla="*/ 2368061 w 5793206"/>
              <a:gd name="connsiteY124" fmla="*/ 4109266 h 4179604"/>
              <a:gd name="connsiteX125" fmla="*/ 2584938 w 5793206"/>
              <a:gd name="connsiteY125" fmla="*/ 4162020 h 4179604"/>
              <a:gd name="connsiteX126" fmla="*/ 2702169 w 5793206"/>
              <a:gd name="connsiteY126" fmla="*/ 4179604 h 4179604"/>
              <a:gd name="connsiteX127" fmla="*/ 2795954 w 5793206"/>
              <a:gd name="connsiteY127" fmla="*/ 4138573 h 4179604"/>
              <a:gd name="connsiteX128" fmla="*/ 2854569 w 5793206"/>
              <a:gd name="connsiteY128" fmla="*/ 4109266 h 4179604"/>
              <a:gd name="connsiteX129" fmla="*/ 3217985 w 5793206"/>
              <a:gd name="connsiteY129" fmla="*/ 4144435 h 4179604"/>
              <a:gd name="connsiteX130" fmla="*/ 3259015 w 5793206"/>
              <a:gd name="connsiteY130" fmla="*/ 4120989 h 4179604"/>
              <a:gd name="connsiteX131" fmla="*/ 3282461 w 5793206"/>
              <a:gd name="connsiteY131" fmla="*/ 4079958 h 4179604"/>
              <a:gd name="connsiteX132" fmla="*/ 3317631 w 5793206"/>
              <a:gd name="connsiteY132" fmla="*/ 4056512 h 4179604"/>
              <a:gd name="connsiteX133" fmla="*/ 3329354 w 5793206"/>
              <a:gd name="connsiteY133" fmla="*/ 4033066 h 4179604"/>
              <a:gd name="connsiteX134" fmla="*/ 3346938 w 5793206"/>
              <a:gd name="connsiteY134" fmla="*/ 4009620 h 4179604"/>
              <a:gd name="connsiteX135" fmla="*/ 3358661 w 5793206"/>
              <a:gd name="connsiteY135" fmla="*/ 3962727 h 4179604"/>
              <a:gd name="connsiteX136" fmla="*/ 3364523 w 5793206"/>
              <a:gd name="connsiteY136" fmla="*/ 3933420 h 4179604"/>
              <a:gd name="connsiteX137" fmla="*/ 3387969 w 5793206"/>
              <a:gd name="connsiteY137" fmla="*/ 3898250 h 4179604"/>
              <a:gd name="connsiteX138" fmla="*/ 3376246 w 5793206"/>
              <a:gd name="connsiteY138" fmla="*/ 3880666 h 4179604"/>
              <a:gd name="connsiteX139" fmla="*/ 3399692 w 5793206"/>
              <a:gd name="connsiteY139" fmla="*/ 3763435 h 4179604"/>
              <a:gd name="connsiteX140" fmla="*/ 3387969 w 5793206"/>
              <a:gd name="connsiteY140" fmla="*/ 3734127 h 4179604"/>
              <a:gd name="connsiteX141" fmla="*/ 3423138 w 5793206"/>
              <a:gd name="connsiteY141" fmla="*/ 3657927 h 4179604"/>
              <a:gd name="connsiteX142" fmla="*/ 3464169 w 5793206"/>
              <a:gd name="connsiteY142" fmla="*/ 3622758 h 4179604"/>
              <a:gd name="connsiteX143" fmla="*/ 3487616 w 5793206"/>
              <a:gd name="connsiteY143" fmla="*/ 3593451 h 4179604"/>
              <a:gd name="connsiteX144" fmla="*/ 3405553 w 5793206"/>
              <a:gd name="connsiteY144" fmla="*/ 3429327 h 4179604"/>
              <a:gd name="connsiteX145" fmla="*/ 3364523 w 5793206"/>
              <a:gd name="connsiteY145" fmla="*/ 3341404 h 4179604"/>
              <a:gd name="connsiteX146" fmla="*/ 3276600 w 5793206"/>
              <a:gd name="connsiteY146" fmla="*/ 3294512 h 4179604"/>
              <a:gd name="connsiteX147" fmla="*/ 3264877 w 5793206"/>
              <a:gd name="connsiteY147" fmla="*/ 3271066 h 4179604"/>
              <a:gd name="connsiteX148" fmla="*/ 3229708 w 5793206"/>
              <a:gd name="connsiteY148" fmla="*/ 3212450 h 4179604"/>
              <a:gd name="connsiteX149" fmla="*/ 3212123 w 5793206"/>
              <a:gd name="connsiteY149" fmla="*/ 3142112 h 4179604"/>
              <a:gd name="connsiteX150" fmla="*/ 3229708 w 5793206"/>
              <a:gd name="connsiteY150" fmla="*/ 2966266 h 4179604"/>
              <a:gd name="connsiteX151" fmla="*/ 3253154 w 5793206"/>
              <a:gd name="connsiteY151" fmla="*/ 2919373 h 4179604"/>
              <a:gd name="connsiteX152" fmla="*/ 3264877 w 5793206"/>
              <a:gd name="connsiteY152" fmla="*/ 2872481 h 4179604"/>
              <a:gd name="connsiteX153" fmla="*/ 3305908 w 5793206"/>
              <a:gd name="connsiteY153" fmla="*/ 2761112 h 4179604"/>
              <a:gd name="connsiteX154" fmla="*/ 3323492 w 5793206"/>
              <a:gd name="connsiteY154" fmla="*/ 2720081 h 4179604"/>
              <a:gd name="connsiteX155" fmla="*/ 3364523 w 5793206"/>
              <a:gd name="connsiteY155" fmla="*/ 2620435 h 4179604"/>
              <a:gd name="connsiteX156" fmla="*/ 3382108 w 5793206"/>
              <a:gd name="connsiteY156" fmla="*/ 2579404 h 4179604"/>
              <a:gd name="connsiteX157" fmla="*/ 3417277 w 5793206"/>
              <a:gd name="connsiteY157" fmla="*/ 2538373 h 4179604"/>
              <a:gd name="connsiteX158" fmla="*/ 3440723 w 5793206"/>
              <a:gd name="connsiteY158" fmla="*/ 2520789 h 4179604"/>
              <a:gd name="connsiteX159" fmla="*/ 3458308 w 5793206"/>
              <a:gd name="connsiteY159" fmla="*/ 2497343 h 4179604"/>
              <a:gd name="connsiteX160" fmla="*/ 3470031 w 5793206"/>
              <a:gd name="connsiteY160" fmla="*/ 2473896 h 4179604"/>
              <a:gd name="connsiteX161" fmla="*/ 3487615 w 5793206"/>
              <a:gd name="connsiteY161" fmla="*/ 2468035 h 4179604"/>
              <a:gd name="connsiteX162" fmla="*/ 3663461 w 5793206"/>
              <a:gd name="connsiteY162" fmla="*/ 2491481 h 4179604"/>
              <a:gd name="connsiteX163" fmla="*/ 3722077 w 5793206"/>
              <a:gd name="connsiteY163" fmla="*/ 2509066 h 4179604"/>
              <a:gd name="connsiteX164" fmla="*/ 3804138 w 5793206"/>
              <a:gd name="connsiteY164" fmla="*/ 2514927 h 4179604"/>
              <a:gd name="connsiteX165" fmla="*/ 4366846 w 5793206"/>
              <a:gd name="connsiteY165" fmla="*/ 2532512 h 4179604"/>
              <a:gd name="connsiteX166" fmla="*/ 4472354 w 5793206"/>
              <a:gd name="connsiteY166" fmla="*/ 2514927 h 4179604"/>
              <a:gd name="connsiteX167" fmla="*/ 4495800 w 5793206"/>
              <a:gd name="connsiteY167" fmla="*/ 2491481 h 4179604"/>
              <a:gd name="connsiteX168" fmla="*/ 4513385 w 5793206"/>
              <a:gd name="connsiteY168" fmla="*/ 2485620 h 4179604"/>
              <a:gd name="connsiteX169" fmla="*/ 4536831 w 5793206"/>
              <a:gd name="connsiteY169" fmla="*/ 2462173 h 4179604"/>
              <a:gd name="connsiteX170" fmla="*/ 4554415 w 5793206"/>
              <a:gd name="connsiteY170" fmla="*/ 2456312 h 4179604"/>
              <a:gd name="connsiteX171" fmla="*/ 4577861 w 5793206"/>
              <a:gd name="connsiteY171" fmla="*/ 2444589 h 4179604"/>
              <a:gd name="connsiteX172" fmla="*/ 4601308 w 5793206"/>
              <a:gd name="connsiteY172" fmla="*/ 2427004 h 4179604"/>
              <a:gd name="connsiteX173" fmla="*/ 4618892 w 5793206"/>
              <a:gd name="connsiteY173" fmla="*/ 2421143 h 4179604"/>
              <a:gd name="connsiteX174" fmla="*/ 4648200 w 5793206"/>
              <a:gd name="connsiteY174" fmla="*/ 2403558 h 4179604"/>
              <a:gd name="connsiteX175" fmla="*/ 4624754 w 5793206"/>
              <a:gd name="connsiteY175" fmla="*/ 2385973 h 4179604"/>
              <a:gd name="connsiteX0" fmla="*/ 4624754 w 5801518"/>
              <a:gd name="connsiteY0" fmla="*/ 2385973 h 4179604"/>
              <a:gd name="connsiteX1" fmla="*/ 4700954 w 5801518"/>
              <a:gd name="connsiteY1" fmla="*/ 2362527 h 4179604"/>
              <a:gd name="connsiteX2" fmla="*/ 4706815 w 5801518"/>
              <a:gd name="connsiteY2" fmla="*/ 2303912 h 4179604"/>
              <a:gd name="connsiteX3" fmla="*/ 4712677 w 5801518"/>
              <a:gd name="connsiteY3" fmla="*/ 2286327 h 4179604"/>
              <a:gd name="connsiteX4" fmla="*/ 4741985 w 5801518"/>
              <a:gd name="connsiteY4" fmla="*/ 2262881 h 4179604"/>
              <a:gd name="connsiteX5" fmla="*/ 4771292 w 5801518"/>
              <a:gd name="connsiteY5" fmla="*/ 2239435 h 4179604"/>
              <a:gd name="connsiteX6" fmla="*/ 4806461 w 5801518"/>
              <a:gd name="connsiteY6" fmla="*/ 2210127 h 4179604"/>
              <a:gd name="connsiteX7" fmla="*/ 4818185 w 5801518"/>
              <a:gd name="connsiteY7" fmla="*/ 2198404 h 4179604"/>
              <a:gd name="connsiteX8" fmla="*/ 4870938 w 5801518"/>
              <a:gd name="connsiteY8" fmla="*/ 2180820 h 4179604"/>
              <a:gd name="connsiteX9" fmla="*/ 4888523 w 5801518"/>
              <a:gd name="connsiteY9" fmla="*/ 2169096 h 4179604"/>
              <a:gd name="connsiteX10" fmla="*/ 4923692 w 5801518"/>
              <a:gd name="connsiteY10" fmla="*/ 2163235 h 4179604"/>
              <a:gd name="connsiteX11" fmla="*/ 4947138 w 5801518"/>
              <a:gd name="connsiteY11" fmla="*/ 2157373 h 4179604"/>
              <a:gd name="connsiteX12" fmla="*/ 5124816 w 5801518"/>
              <a:gd name="connsiteY12" fmla="*/ 2167265 h 4179604"/>
              <a:gd name="connsiteX13" fmla="*/ 5134708 w 5801518"/>
              <a:gd name="connsiteY13" fmla="*/ 2151511 h 4179604"/>
              <a:gd name="connsiteX14" fmla="*/ 5224462 w 5801518"/>
              <a:gd name="connsiteY14" fmla="*/ 2183385 h 4179604"/>
              <a:gd name="connsiteX15" fmla="*/ 5269523 w 5801518"/>
              <a:gd name="connsiteY15" fmla="*/ 2069450 h 4179604"/>
              <a:gd name="connsiteX16" fmla="*/ 5277948 w 5801518"/>
              <a:gd name="connsiteY16" fmla="*/ 2063589 h 4179604"/>
              <a:gd name="connsiteX17" fmla="*/ 5228492 w 5801518"/>
              <a:gd name="connsiteY17" fmla="*/ 2057728 h 4179604"/>
              <a:gd name="connsiteX18" fmla="*/ 5372518 w 5801518"/>
              <a:gd name="connsiteY18" fmla="*/ 1753765 h 4179604"/>
              <a:gd name="connsiteX19" fmla="*/ 5455418 w 5801518"/>
              <a:gd name="connsiteY19" fmla="*/ 1489158 h 4179604"/>
              <a:gd name="connsiteX20" fmla="*/ 5451231 w 5801518"/>
              <a:gd name="connsiteY20" fmla="*/ 1407096 h 4179604"/>
              <a:gd name="connsiteX21" fmla="*/ 5474677 w 5801518"/>
              <a:gd name="connsiteY21" fmla="*/ 1371927 h 4179604"/>
              <a:gd name="connsiteX22" fmla="*/ 5492261 w 5801518"/>
              <a:gd name="connsiteY22" fmla="*/ 1348481 h 4179604"/>
              <a:gd name="connsiteX23" fmla="*/ 5503985 w 5801518"/>
              <a:gd name="connsiteY23" fmla="*/ 1319173 h 4179604"/>
              <a:gd name="connsiteX24" fmla="*/ 5533292 w 5801518"/>
              <a:gd name="connsiteY24" fmla="*/ 1266420 h 4179604"/>
              <a:gd name="connsiteX25" fmla="*/ 5556738 w 5801518"/>
              <a:gd name="connsiteY25" fmla="*/ 1219527 h 4179604"/>
              <a:gd name="connsiteX26" fmla="*/ 5603631 w 5801518"/>
              <a:gd name="connsiteY26" fmla="*/ 1155050 h 4179604"/>
              <a:gd name="connsiteX27" fmla="*/ 5668108 w 5801518"/>
              <a:gd name="connsiteY27" fmla="*/ 1020235 h 4179604"/>
              <a:gd name="connsiteX28" fmla="*/ 5709138 w 5801518"/>
              <a:gd name="connsiteY28" fmla="*/ 926450 h 4179604"/>
              <a:gd name="connsiteX29" fmla="*/ 5732585 w 5801518"/>
              <a:gd name="connsiteY29" fmla="*/ 867835 h 4179604"/>
              <a:gd name="connsiteX30" fmla="*/ 5796696 w 5801518"/>
              <a:gd name="connsiteY30" fmla="*/ 646562 h 4179604"/>
              <a:gd name="connsiteX31" fmla="*/ 5793031 w 5801518"/>
              <a:gd name="connsiteY31" fmla="*/ 542154 h 4179604"/>
              <a:gd name="connsiteX32" fmla="*/ 5761892 w 5801518"/>
              <a:gd name="connsiteY32" fmla="*/ 504420 h 4179604"/>
              <a:gd name="connsiteX33" fmla="*/ 5767754 w 5801518"/>
              <a:gd name="connsiteY33" fmla="*/ 475112 h 4179604"/>
              <a:gd name="connsiteX34" fmla="*/ 5773615 w 5801518"/>
              <a:gd name="connsiteY34" fmla="*/ 457527 h 4179604"/>
              <a:gd name="connsiteX35" fmla="*/ 5779477 w 5801518"/>
              <a:gd name="connsiteY35" fmla="*/ 369604 h 4179604"/>
              <a:gd name="connsiteX36" fmla="*/ 5767754 w 5801518"/>
              <a:gd name="connsiteY36" fmla="*/ 141004 h 4179604"/>
              <a:gd name="connsiteX37" fmla="*/ 5761892 w 5801518"/>
              <a:gd name="connsiteY37" fmla="*/ 105835 h 4179604"/>
              <a:gd name="connsiteX38" fmla="*/ 5750169 w 5801518"/>
              <a:gd name="connsiteY38" fmla="*/ 88250 h 4179604"/>
              <a:gd name="connsiteX39" fmla="*/ 5744308 w 5801518"/>
              <a:gd name="connsiteY39" fmla="*/ 64804 h 4179604"/>
              <a:gd name="connsiteX40" fmla="*/ 5691554 w 5801518"/>
              <a:gd name="connsiteY40" fmla="*/ 70666 h 4179604"/>
              <a:gd name="connsiteX41" fmla="*/ 5615354 w 5801518"/>
              <a:gd name="connsiteY41" fmla="*/ 58943 h 4179604"/>
              <a:gd name="connsiteX42" fmla="*/ 5533292 w 5801518"/>
              <a:gd name="connsiteY42" fmla="*/ 29635 h 4179604"/>
              <a:gd name="connsiteX43" fmla="*/ 5492261 w 5801518"/>
              <a:gd name="connsiteY43" fmla="*/ 12050 h 4179604"/>
              <a:gd name="connsiteX44" fmla="*/ 5427785 w 5801518"/>
              <a:gd name="connsiteY44" fmla="*/ 327 h 4179604"/>
              <a:gd name="connsiteX45" fmla="*/ 5257800 w 5801518"/>
              <a:gd name="connsiteY45" fmla="*/ 12050 h 4179604"/>
              <a:gd name="connsiteX46" fmla="*/ 5122985 w 5801518"/>
              <a:gd name="connsiteY46" fmla="*/ 41358 h 4179604"/>
              <a:gd name="connsiteX47" fmla="*/ 5058508 w 5801518"/>
              <a:gd name="connsiteY47" fmla="*/ 47220 h 4179604"/>
              <a:gd name="connsiteX48" fmla="*/ 3552092 w 5801518"/>
              <a:gd name="connsiteY48" fmla="*/ 58943 h 4179604"/>
              <a:gd name="connsiteX49" fmla="*/ 3376246 w 5801518"/>
              <a:gd name="connsiteY49" fmla="*/ 70666 h 4179604"/>
              <a:gd name="connsiteX50" fmla="*/ 3124200 w 5801518"/>
              <a:gd name="connsiteY50" fmla="*/ 76527 h 4179604"/>
              <a:gd name="connsiteX51" fmla="*/ 3053861 w 5801518"/>
              <a:gd name="connsiteY51" fmla="*/ 111696 h 4179604"/>
              <a:gd name="connsiteX52" fmla="*/ 2995246 w 5801518"/>
              <a:gd name="connsiteY52" fmla="*/ 176173 h 4179604"/>
              <a:gd name="connsiteX53" fmla="*/ 2895600 w 5801518"/>
              <a:gd name="connsiteY53" fmla="*/ 357881 h 4179604"/>
              <a:gd name="connsiteX54" fmla="*/ 2878015 w 5801518"/>
              <a:gd name="connsiteY54" fmla="*/ 510281 h 4179604"/>
              <a:gd name="connsiteX55" fmla="*/ 2883877 w 5801518"/>
              <a:gd name="connsiteY55" fmla="*/ 580620 h 4179604"/>
              <a:gd name="connsiteX56" fmla="*/ 3036277 w 5801518"/>
              <a:gd name="connsiteY56" fmla="*/ 891281 h 4179604"/>
              <a:gd name="connsiteX57" fmla="*/ 3100754 w 5801518"/>
              <a:gd name="connsiteY57" fmla="*/ 996789 h 4179604"/>
              <a:gd name="connsiteX58" fmla="*/ 3153508 w 5801518"/>
              <a:gd name="connsiteY58" fmla="*/ 1096435 h 4179604"/>
              <a:gd name="connsiteX59" fmla="*/ 3294185 w 5801518"/>
              <a:gd name="connsiteY59" fmla="*/ 1412958 h 4179604"/>
              <a:gd name="connsiteX60" fmla="*/ 3411415 w 5801518"/>
              <a:gd name="connsiteY60" fmla="*/ 1618112 h 4179604"/>
              <a:gd name="connsiteX61" fmla="*/ 3458308 w 5801518"/>
              <a:gd name="connsiteY61" fmla="*/ 1700173 h 4179604"/>
              <a:gd name="connsiteX62" fmla="*/ 3487615 w 5801518"/>
              <a:gd name="connsiteY62" fmla="*/ 1747066 h 4179604"/>
              <a:gd name="connsiteX63" fmla="*/ 3522785 w 5801518"/>
              <a:gd name="connsiteY63" fmla="*/ 1817404 h 4179604"/>
              <a:gd name="connsiteX64" fmla="*/ 3528646 w 5801518"/>
              <a:gd name="connsiteY64" fmla="*/ 1846712 h 4179604"/>
              <a:gd name="connsiteX65" fmla="*/ 3546231 w 5801518"/>
              <a:gd name="connsiteY65" fmla="*/ 1887743 h 4179604"/>
              <a:gd name="connsiteX66" fmla="*/ 3557954 w 5801518"/>
              <a:gd name="connsiteY66" fmla="*/ 1952220 h 4179604"/>
              <a:gd name="connsiteX67" fmla="*/ 3540369 w 5801518"/>
              <a:gd name="connsiteY67" fmla="*/ 2016696 h 4179604"/>
              <a:gd name="connsiteX68" fmla="*/ 3417277 w 5801518"/>
              <a:gd name="connsiteY68" fmla="*/ 2075312 h 4179604"/>
              <a:gd name="connsiteX69" fmla="*/ 3288323 w 5801518"/>
              <a:gd name="connsiteY69" fmla="*/ 1846712 h 4179604"/>
              <a:gd name="connsiteX70" fmla="*/ 3259015 w 5801518"/>
              <a:gd name="connsiteY70" fmla="*/ 1682589 h 4179604"/>
              <a:gd name="connsiteX71" fmla="*/ 3223846 w 5801518"/>
              <a:gd name="connsiteY71" fmla="*/ 1442266 h 4179604"/>
              <a:gd name="connsiteX72" fmla="*/ 3217985 w 5801518"/>
              <a:gd name="connsiteY72" fmla="*/ 1377789 h 4179604"/>
              <a:gd name="connsiteX73" fmla="*/ 3194538 w 5801518"/>
              <a:gd name="connsiteY73" fmla="*/ 1307450 h 4179604"/>
              <a:gd name="connsiteX74" fmla="*/ 3153508 w 5801518"/>
              <a:gd name="connsiteY74" fmla="*/ 1166773 h 4179604"/>
              <a:gd name="connsiteX75" fmla="*/ 3001108 w 5801518"/>
              <a:gd name="connsiteY75" fmla="*/ 867835 h 4179604"/>
              <a:gd name="connsiteX76" fmla="*/ 2965938 w 5801518"/>
              <a:gd name="connsiteY76" fmla="*/ 791635 h 4179604"/>
              <a:gd name="connsiteX77" fmla="*/ 2936631 w 5801518"/>
              <a:gd name="connsiteY77" fmla="*/ 721296 h 4179604"/>
              <a:gd name="connsiteX78" fmla="*/ 2924908 w 5801518"/>
              <a:gd name="connsiteY78" fmla="*/ 703712 h 4179604"/>
              <a:gd name="connsiteX79" fmla="*/ 2907323 w 5801518"/>
              <a:gd name="connsiteY79" fmla="*/ 633373 h 4179604"/>
              <a:gd name="connsiteX80" fmla="*/ 2889738 w 5801518"/>
              <a:gd name="connsiteY80" fmla="*/ 609927 h 4179604"/>
              <a:gd name="connsiteX81" fmla="*/ 2878015 w 5801518"/>
              <a:gd name="connsiteY81" fmla="*/ 451666 h 4179604"/>
              <a:gd name="connsiteX82" fmla="*/ 2866292 w 5801518"/>
              <a:gd name="connsiteY82" fmla="*/ 340296 h 4179604"/>
              <a:gd name="connsiteX83" fmla="*/ 2848708 w 5801518"/>
              <a:gd name="connsiteY83" fmla="*/ 240650 h 4179604"/>
              <a:gd name="connsiteX84" fmla="*/ 2784231 w 5801518"/>
              <a:gd name="connsiteY84" fmla="*/ 135143 h 4179604"/>
              <a:gd name="connsiteX85" fmla="*/ 2608385 w 5801518"/>
              <a:gd name="connsiteY85" fmla="*/ 64805 h 4179604"/>
              <a:gd name="connsiteX86" fmla="*/ 2573215 w 5801518"/>
              <a:gd name="connsiteY86" fmla="*/ 41358 h 4179604"/>
              <a:gd name="connsiteX87" fmla="*/ 2491154 w 5801518"/>
              <a:gd name="connsiteY87" fmla="*/ 327 h 4179604"/>
              <a:gd name="connsiteX88" fmla="*/ 2403231 w 5801518"/>
              <a:gd name="connsiteY88" fmla="*/ 23773 h 4179604"/>
              <a:gd name="connsiteX89" fmla="*/ 2356338 w 5801518"/>
              <a:gd name="connsiteY89" fmla="*/ 41358 h 4179604"/>
              <a:gd name="connsiteX90" fmla="*/ 2315308 w 5801518"/>
              <a:gd name="connsiteY90" fmla="*/ 47220 h 4179604"/>
              <a:gd name="connsiteX91" fmla="*/ 2268415 w 5801518"/>
              <a:gd name="connsiteY91" fmla="*/ 58943 h 4179604"/>
              <a:gd name="connsiteX92" fmla="*/ 2063261 w 5801518"/>
              <a:gd name="connsiteY92" fmla="*/ 53081 h 4179604"/>
              <a:gd name="connsiteX93" fmla="*/ 2010508 w 5801518"/>
              <a:gd name="connsiteY93" fmla="*/ 41358 h 4179604"/>
              <a:gd name="connsiteX94" fmla="*/ 1951892 w 5801518"/>
              <a:gd name="connsiteY94" fmla="*/ 29635 h 4179604"/>
              <a:gd name="connsiteX95" fmla="*/ 1471246 w 5801518"/>
              <a:gd name="connsiteY95" fmla="*/ 29635 h 4179604"/>
              <a:gd name="connsiteX96" fmla="*/ 779585 w 5801518"/>
              <a:gd name="connsiteY96" fmla="*/ 41358 h 4179604"/>
              <a:gd name="connsiteX97" fmla="*/ 726831 w 5801518"/>
              <a:gd name="connsiteY97" fmla="*/ 47220 h 4179604"/>
              <a:gd name="connsiteX98" fmla="*/ 656492 w 5801518"/>
              <a:gd name="connsiteY98" fmla="*/ 53081 h 4179604"/>
              <a:gd name="connsiteX99" fmla="*/ 621323 w 5801518"/>
              <a:gd name="connsiteY99" fmla="*/ 58943 h 4179604"/>
              <a:gd name="connsiteX100" fmla="*/ 486508 w 5801518"/>
              <a:gd name="connsiteY100" fmla="*/ 70666 h 4179604"/>
              <a:gd name="connsiteX101" fmla="*/ 357554 w 5801518"/>
              <a:gd name="connsiteY101" fmla="*/ 76527 h 4179604"/>
              <a:gd name="connsiteX102" fmla="*/ 322385 w 5801518"/>
              <a:gd name="connsiteY102" fmla="*/ 99973 h 4179604"/>
              <a:gd name="connsiteX103" fmla="*/ 193431 w 5801518"/>
              <a:gd name="connsiteY103" fmla="*/ 211343 h 4179604"/>
              <a:gd name="connsiteX104" fmla="*/ 99646 w 5801518"/>
              <a:gd name="connsiteY104" fmla="*/ 398912 h 4179604"/>
              <a:gd name="connsiteX105" fmla="*/ 0 w 5801518"/>
              <a:gd name="connsiteY105" fmla="*/ 1131604 h 4179604"/>
              <a:gd name="connsiteX106" fmla="*/ 17585 w 5801518"/>
              <a:gd name="connsiteY106" fmla="*/ 1928773 h 4179604"/>
              <a:gd name="connsiteX107" fmla="*/ 70338 w 5801518"/>
              <a:gd name="connsiteY107" fmla="*/ 2251158 h 4179604"/>
              <a:gd name="connsiteX108" fmla="*/ 123092 w 5801518"/>
              <a:gd name="connsiteY108" fmla="*/ 2473896 h 4179604"/>
              <a:gd name="connsiteX109" fmla="*/ 304800 w 5801518"/>
              <a:gd name="connsiteY109" fmla="*/ 2960404 h 4179604"/>
              <a:gd name="connsiteX110" fmla="*/ 568569 w 5801518"/>
              <a:gd name="connsiteY110" fmla="*/ 3364850 h 4179604"/>
              <a:gd name="connsiteX111" fmla="*/ 926123 w 5801518"/>
              <a:gd name="connsiteY111" fmla="*/ 3663789 h 4179604"/>
              <a:gd name="connsiteX112" fmla="*/ 1002323 w 5801518"/>
              <a:gd name="connsiteY112" fmla="*/ 3728266 h 4179604"/>
              <a:gd name="connsiteX113" fmla="*/ 1301261 w 5801518"/>
              <a:gd name="connsiteY113" fmla="*/ 3892389 h 4179604"/>
              <a:gd name="connsiteX114" fmla="*/ 1447800 w 5801518"/>
              <a:gd name="connsiteY114" fmla="*/ 3927558 h 4179604"/>
              <a:gd name="connsiteX115" fmla="*/ 1488831 w 5801518"/>
              <a:gd name="connsiteY115" fmla="*/ 3939281 h 4179604"/>
              <a:gd name="connsiteX116" fmla="*/ 1688123 w 5801518"/>
              <a:gd name="connsiteY116" fmla="*/ 3945143 h 4179604"/>
              <a:gd name="connsiteX117" fmla="*/ 1811215 w 5801518"/>
              <a:gd name="connsiteY117" fmla="*/ 3974450 h 4179604"/>
              <a:gd name="connsiteX118" fmla="*/ 1852246 w 5801518"/>
              <a:gd name="connsiteY118" fmla="*/ 3992035 h 4179604"/>
              <a:gd name="connsiteX119" fmla="*/ 1875692 w 5801518"/>
              <a:gd name="connsiteY119" fmla="*/ 4003758 h 4179604"/>
              <a:gd name="connsiteX120" fmla="*/ 1963615 w 5801518"/>
              <a:gd name="connsiteY120" fmla="*/ 4021343 h 4179604"/>
              <a:gd name="connsiteX121" fmla="*/ 2057400 w 5801518"/>
              <a:gd name="connsiteY121" fmla="*/ 4050650 h 4179604"/>
              <a:gd name="connsiteX122" fmla="*/ 2104292 w 5801518"/>
              <a:gd name="connsiteY122" fmla="*/ 4056512 h 4179604"/>
              <a:gd name="connsiteX123" fmla="*/ 2303585 w 5801518"/>
              <a:gd name="connsiteY123" fmla="*/ 4097543 h 4179604"/>
              <a:gd name="connsiteX124" fmla="*/ 2368061 w 5801518"/>
              <a:gd name="connsiteY124" fmla="*/ 4109266 h 4179604"/>
              <a:gd name="connsiteX125" fmla="*/ 2584938 w 5801518"/>
              <a:gd name="connsiteY125" fmla="*/ 4162020 h 4179604"/>
              <a:gd name="connsiteX126" fmla="*/ 2702169 w 5801518"/>
              <a:gd name="connsiteY126" fmla="*/ 4179604 h 4179604"/>
              <a:gd name="connsiteX127" fmla="*/ 2795954 w 5801518"/>
              <a:gd name="connsiteY127" fmla="*/ 4138573 h 4179604"/>
              <a:gd name="connsiteX128" fmla="*/ 2854569 w 5801518"/>
              <a:gd name="connsiteY128" fmla="*/ 4109266 h 4179604"/>
              <a:gd name="connsiteX129" fmla="*/ 3217985 w 5801518"/>
              <a:gd name="connsiteY129" fmla="*/ 4144435 h 4179604"/>
              <a:gd name="connsiteX130" fmla="*/ 3259015 w 5801518"/>
              <a:gd name="connsiteY130" fmla="*/ 4120989 h 4179604"/>
              <a:gd name="connsiteX131" fmla="*/ 3282461 w 5801518"/>
              <a:gd name="connsiteY131" fmla="*/ 4079958 h 4179604"/>
              <a:gd name="connsiteX132" fmla="*/ 3317631 w 5801518"/>
              <a:gd name="connsiteY132" fmla="*/ 4056512 h 4179604"/>
              <a:gd name="connsiteX133" fmla="*/ 3329354 w 5801518"/>
              <a:gd name="connsiteY133" fmla="*/ 4033066 h 4179604"/>
              <a:gd name="connsiteX134" fmla="*/ 3346938 w 5801518"/>
              <a:gd name="connsiteY134" fmla="*/ 4009620 h 4179604"/>
              <a:gd name="connsiteX135" fmla="*/ 3358661 w 5801518"/>
              <a:gd name="connsiteY135" fmla="*/ 3962727 h 4179604"/>
              <a:gd name="connsiteX136" fmla="*/ 3364523 w 5801518"/>
              <a:gd name="connsiteY136" fmla="*/ 3933420 h 4179604"/>
              <a:gd name="connsiteX137" fmla="*/ 3387969 w 5801518"/>
              <a:gd name="connsiteY137" fmla="*/ 3898250 h 4179604"/>
              <a:gd name="connsiteX138" fmla="*/ 3376246 w 5801518"/>
              <a:gd name="connsiteY138" fmla="*/ 3880666 h 4179604"/>
              <a:gd name="connsiteX139" fmla="*/ 3399692 w 5801518"/>
              <a:gd name="connsiteY139" fmla="*/ 3763435 h 4179604"/>
              <a:gd name="connsiteX140" fmla="*/ 3387969 w 5801518"/>
              <a:gd name="connsiteY140" fmla="*/ 3734127 h 4179604"/>
              <a:gd name="connsiteX141" fmla="*/ 3423138 w 5801518"/>
              <a:gd name="connsiteY141" fmla="*/ 3657927 h 4179604"/>
              <a:gd name="connsiteX142" fmla="*/ 3464169 w 5801518"/>
              <a:gd name="connsiteY142" fmla="*/ 3622758 h 4179604"/>
              <a:gd name="connsiteX143" fmla="*/ 3487616 w 5801518"/>
              <a:gd name="connsiteY143" fmla="*/ 3593451 h 4179604"/>
              <a:gd name="connsiteX144" fmla="*/ 3405553 w 5801518"/>
              <a:gd name="connsiteY144" fmla="*/ 3429327 h 4179604"/>
              <a:gd name="connsiteX145" fmla="*/ 3364523 w 5801518"/>
              <a:gd name="connsiteY145" fmla="*/ 3341404 h 4179604"/>
              <a:gd name="connsiteX146" fmla="*/ 3276600 w 5801518"/>
              <a:gd name="connsiteY146" fmla="*/ 3294512 h 4179604"/>
              <a:gd name="connsiteX147" fmla="*/ 3264877 w 5801518"/>
              <a:gd name="connsiteY147" fmla="*/ 3271066 h 4179604"/>
              <a:gd name="connsiteX148" fmla="*/ 3229708 w 5801518"/>
              <a:gd name="connsiteY148" fmla="*/ 3212450 h 4179604"/>
              <a:gd name="connsiteX149" fmla="*/ 3212123 w 5801518"/>
              <a:gd name="connsiteY149" fmla="*/ 3142112 h 4179604"/>
              <a:gd name="connsiteX150" fmla="*/ 3229708 w 5801518"/>
              <a:gd name="connsiteY150" fmla="*/ 2966266 h 4179604"/>
              <a:gd name="connsiteX151" fmla="*/ 3253154 w 5801518"/>
              <a:gd name="connsiteY151" fmla="*/ 2919373 h 4179604"/>
              <a:gd name="connsiteX152" fmla="*/ 3264877 w 5801518"/>
              <a:gd name="connsiteY152" fmla="*/ 2872481 h 4179604"/>
              <a:gd name="connsiteX153" fmla="*/ 3305908 w 5801518"/>
              <a:gd name="connsiteY153" fmla="*/ 2761112 h 4179604"/>
              <a:gd name="connsiteX154" fmla="*/ 3323492 w 5801518"/>
              <a:gd name="connsiteY154" fmla="*/ 2720081 h 4179604"/>
              <a:gd name="connsiteX155" fmla="*/ 3364523 w 5801518"/>
              <a:gd name="connsiteY155" fmla="*/ 2620435 h 4179604"/>
              <a:gd name="connsiteX156" fmla="*/ 3382108 w 5801518"/>
              <a:gd name="connsiteY156" fmla="*/ 2579404 h 4179604"/>
              <a:gd name="connsiteX157" fmla="*/ 3417277 w 5801518"/>
              <a:gd name="connsiteY157" fmla="*/ 2538373 h 4179604"/>
              <a:gd name="connsiteX158" fmla="*/ 3440723 w 5801518"/>
              <a:gd name="connsiteY158" fmla="*/ 2520789 h 4179604"/>
              <a:gd name="connsiteX159" fmla="*/ 3458308 w 5801518"/>
              <a:gd name="connsiteY159" fmla="*/ 2497343 h 4179604"/>
              <a:gd name="connsiteX160" fmla="*/ 3470031 w 5801518"/>
              <a:gd name="connsiteY160" fmla="*/ 2473896 h 4179604"/>
              <a:gd name="connsiteX161" fmla="*/ 3487615 w 5801518"/>
              <a:gd name="connsiteY161" fmla="*/ 2468035 h 4179604"/>
              <a:gd name="connsiteX162" fmla="*/ 3663461 w 5801518"/>
              <a:gd name="connsiteY162" fmla="*/ 2491481 h 4179604"/>
              <a:gd name="connsiteX163" fmla="*/ 3722077 w 5801518"/>
              <a:gd name="connsiteY163" fmla="*/ 2509066 h 4179604"/>
              <a:gd name="connsiteX164" fmla="*/ 3804138 w 5801518"/>
              <a:gd name="connsiteY164" fmla="*/ 2514927 h 4179604"/>
              <a:gd name="connsiteX165" fmla="*/ 4366846 w 5801518"/>
              <a:gd name="connsiteY165" fmla="*/ 2532512 h 4179604"/>
              <a:gd name="connsiteX166" fmla="*/ 4472354 w 5801518"/>
              <a:gd name="connsiteY166" fmla="*/ 2514927 h 4179604"/>
              <a:gd name="connsiteX167" fmla="*/ 4495800 w 5801518"/>
              <a:gd name="connsiteY167" fmla="*/ 2491481 h 4179604"/>
              <a:gd name="connsiteX168" fmla="*/ 4513385 w 5801518"/>
              <a:gd name="connsiteY168" fmla="*/ 2485620 h 4179604"/>
              <a:gd name="connsiteX169" fmla="*/ 4536831 w 5801518"/>
              <a:gd name="connsiteY169" fmla="*/ 2462173 h 4179604"/>
              <a:gd name="connsiteX170" fmla="*/ 4554415 w 5801518"/>
              <a:gd name="connsiteY170" fmla="*/ 2456312 h 4179604"/>
              <a:gd name="connsiteX171" fmla="*/ 4577861 w 5801518"/>
              <a:gd name="connsiteY171" fmla="*/ 2444589 h 4179604"/>
              <a:gd name="connsiteX172" fmla="*/ 4601308 w 5801518"/>
              <a:gd name="connsiteY172" fmla="*/ 2427004 h 4179604"/>
              <a:gd name="connsiteX173" fmla="*/ 4618892 w 5801518"/>
              <a:gd name="connsiteY173" fmla="*/ 2421143 h 4179604"/>
              <a:gd name="connsiteX174" fmla="*/ 4648200 w 5801518"/>
              <a:gd name="connsiteY174" fmla="*/ 2403558 h 4179604"/>
              <a:gd name="connsiteX175" fmla="*/ 4624754 w 5801518"/>
              <a:gd name="connsiteY175" fmla="*/ 2385973 h 4179604"/>
              <a:gd name="connsiteX0" fmla="*/ 4624754 w 5816654"/>
              <a:gd name="connsiteY0" fmla="*/ 2385973 h 4179604"/>
              <a:gd name="connsiteX1" fmla="*/ 4700954 w 5816654"/>
              <a:gd name="connsiteY1" fmla="*/ 2362527 h 4179604"/>
              <a:gd name="connsiteX2" fmla="*/ 4706815 w 5816654"/>
              <a:gd name="connsiteY2" fmla="*/ 2303912 h 4179604"/>
              <a:gd name="connsiteX3" fmla="*/ 4712677 w 5816654"/>
              <a:gd name="connsiteY3" fmla="*/ 2286327 h 4179604"/>
              <a:gd name="connsiteX4" fmla="*/ 4741985 w 5816654"/>
              <a:gd name="connsiteY4" fmla="*/ 2262881 h 4179604"/>
              <a:gd name="connsiteX5" fmla="*/ 4771292 w 5816654"/>
              <a:gd name="connsiteY5" fmla="*/ 2239435 h 4179604"/>
              <a:gd name="connsiteX6" fmla="*/ 4806461 w 5816654"/>
              <a:gd name="connsiteY6" fmla="*/ 2210127 h 4179604"/>
              <a:gd name="connsiteX7" fmla="*/ 4818185 w 5816654"/>
              <a:gd name="connsiteY7" fmla="*/ 2198404 h 4179604"/>
              <a:gd name="connsiteX8" fmla="*/ 4870938 w 5816654"/>
              <a:gd name="connsiteY8" fmla="*/ 2180820 h 4179604"/>
              <a:gd name="connsiteX9" fmla="*/ 4888523 w 5816654"/>
              <a:gd name="connsiteY9" fmla="*/ 2169096 h 4179604"/>
              <a:gd name="connsiteX10" fmla="*/ 4923692 w 5816654"/>
              <a:gd name="connsiteY10" fmla="*/ 2163235 h 4179604"/>
              <a:gd name="connsiteX11" fmla="*/ 4947138 w 5816654"/>
              <a:gd name="connsiteY11" fmla="*/ 2157373 h 4179604"/>
              <a:gd name="connsiteX12" fmla="*/ 5124816 w 5816654"/>
              <a:gd name="connsiteY12" fmla="*/ 2167265 h 4179604"/>
              <a:gd name="connsiteX13" fmla="*/ 5134708 w 5816654"/>
              <a:gd name="connsiteY13" fmla="*/ 2151511 h 4179604"/>
              <a:gd name="connsiteX14" fmla="*/ 5224462 w 5816654"/>
              <a:gd name="connsiteY14" fmla="*/ 2183385 h 4179604"/>
              <a:gd name="connsiteX15" fmla="*/ 5269523 w 5816654"/>
              <a:gd name="connsiteY15" fmla="*/ 2069450 h 4179604"/>
              <a:gd name="connsiteX16" fmla="*/ 5277948 w 5816654"/>
              <a:gd name="connsiteY16" fmla="*/ 2063589 h 4179604"/>
              <a:gd name="connsiteX17" fmla="*/ 5228492 w 5816654"/>
              <a:gd name="connsiteY17" fmla="*/ 2057728 h 4179604"/>
              <a:gd name="connsiteX18" fmla="*/ 5372518 w 5816654"/>
              <a:gd name="connsiteY18" fmla="*/ 1753765 h 4179604"/>
              <a:gd name="connsiteX19" fmla="*/ 5455418 w 5816654"/>
              <a:gd name="connsiteY19" fmla="*/ 1489158 h 4179604"/>
              <a:gd name="connsiteX20" fmla="*/ 5451231 w 5816654"/>
              <a:gd name="connsiteY20" fmla="*/ 1407096 h 4179604"/>
              <a:gd name="connsiteX21" fmla="*/ 5474677 w 5816654"/>
              <a:gd name="connsiteY21" fmla="*/ 1371927 h 4179604"/>
              <a:gd name="connsiteX22" fmla="*/ 5492261 w 5816654"/>
              <a:gd name="connsiteY22" fmla="*/ 1348481 h 4179604"/>
              <a:gd name="connsiteX23" fmla="*/ 5503985 w 5816654"/>
              <a:gd name="connsiteY23" fmla="*/ 1319173 h 4179604"/>
              <a:gd name="connsiteX24" fmla="*/ 5533292 w 5816654"/>
              <a:gd name="connsiteY24" fmla="*/ 1266420 h 4179604"/>
              <a:gd name="connsiteX25" fmla="*/ 5556738 w 5816654"/>
              <a:gd name="connsiteY25" fmla="*/ 1219527 h 4179604"/>
              <a:gd name="connsiteX26" fmla="*/ 5603631 w 5816654"/>
              <a:gd name="connsiteY26" fmla="*/ 1155050 h 4179604"/>
              <a:gd name="connsiteX27" fmla="*/ 5668108 w 5816654"/>
              <a:gd name="connsiteY27" fmla="*/ 1020235 h 4179604"/>
              <a:gd name="connsiteX28" fmla="*/ 5709138 w 5816654"/>
              <a:gd name="connsiteY28" fmla="*/ 926450 h 4179604"/>
              <a:gd name="connsiteX29" fmla="*/ 5732585 w 5816654"/>
              <a:gd name="connsiteY29" fmla="*/ 867835 h 4179604"/>
              <a:gd name="connsiteX30" fmla="*/ 5796696 w 5816654"/>
              <a:gd name="connsiteY30" fmla="*/ 646562 h 4179604"/>
              <a:gd name="connsiteX31" fmla="*/ 5793031 w 5816654"/>
              <a:gd name="connsiteY31" fmla="*/ 542154 h 4179604"/>
              <a:gd name="connsiteX32" fmla="*/ 5761892 w 5816654"/>
              <a:gd name="connsiteY32" fmla="*/ 504420 h 4179604"/>
              <a:gd name="connsiteX33" fmla="*/ 5767754 w 5816654"/>
              <a:gd name="connsiteY33" fmla="*/ 475112 h 4179604"/>
              <a:gd name="connsiteX34" fmla="*/ 5816477 w 5816654"/>
              <a:gd name="connsiteY34" fmla="*/ 300365 h 4179604"/>
              <a:gd name="connsiteX35" fmla="*/ 5779477 w 5816654"/>
              <a:gd name="connsiteY35" fmla="*/ 369604 h 4179604"/>
              <a:gd name="connsiteX36" fmla="*/ 5767754 w 5816654"/>
              <a:gd name="connsiteY36" fmla="*/ 141004 h 4179604"/>
              <a:gd name="connsiteX37" fmla="*/ 5761892 w 5816654"/>
              <a:gd name="connsiteY37" fmla="*/ 105835 h 4179604"/>
              <a:gd name="connsiteX38" fmla="*/ 5750169 w 5816654"/>
              <a:gd name="connsiteY38" fmla="*/ 88250 h 4179604"/>
              <a:gd name="connsiteX39" fmla="*/ 5744308 w 5816654"/>
              <a:gd name="connsiteY39" fmla="*/ 64804 h 4179604"/>
              <a:gd name="connsiteX40" fmla="*/ 5691554 w 5816654"/>
              <a:gd name="connsiteY40" fmla="*/ 70666 h 4179604"/>
              <a:gd name="connsiteX41" fmla="*/ 5615354 w 5816654"/>
              <a:gd name="connsiteY41" fmla="*/ 58943 h 4179604"/>
              <a:gd name="connsiteX42" fmla="*/ 5533292 w 5816654"/>
              <a:gd name="connsiteY42" fmla="*/ 29635 h 4179604"/>
              <a:gd name="connsiteX43" fmla="*/ 5492261 w 5816654"/>
              <a:gd name="connsiteY43" fmla="*/ 12050 h 4179604"/>
              <a:gd name="connsiteX44" fmla="*/ 5427785 w 5816654"/>
              <a:gd name="connsiteY44" fmla="*/ 327 h 4179604"/>
              <a:gd name="connsiteX45" fmla="*/ 5257800 w 5816654"/>
              <a:gd name="connsiteY45" fmla="*/ 12050 h 4179604"/>
              <a:gd name="connsiteX46" fmla="*/ 5122985 w 5816654"/>
              <a:gd name="connsiteY46" fmla="*/ 41358 h 4179604"/>
              <a:gd name="connsiteX47" fmla="*/ 5058508 w 5816654"/>
              <a:gd name="connsiteY47" fmla="*/ 47220 h 4179604"/>
              <a:gd name="connsiteX48" fmla="*/ 3552092 w 5816654"/>
              <a:gd name="connsiteY48" fmla="*/ 58943 h 4179604"/>
              <a:gd name="connsiteX49" fmla="*/ 3376246 w 5816654"/>
              <a:gd name="connsiteY49" fmla="*/ 70666 h 4179604"/>
              <a:gd name="connsiteX50" fmla="*/ 3124200 w 5816654"/>
              <a:gd name="connsiteY50" fmla="*/ 76527 h 4179604"/>
              <a:gd name="connsiteX51" fmla="*/ 3053861 w 5816654"/>
              <a:gd name="connsiteY51" fmla="*/ 111696 h 4179604"/>
              <a:gd name="connsiteX52" fmla="*/ 2995246 w 5816654"/>
              <a:gd name="connsiteY52" fmla="*/ 176173 h 4179604"/>
              <a:gd name="connsiteX53" fmla="*/ 2895600 w 5816654"/>
              <a:gd name="connsiteY53" fmla="*/ 357881 h 4179604"/>
              <a:gd name="connsiteX54" fmla="*/ 2878015 w 5816654"/>
              <a:gd name="connsiteY54" fmla="*/ 510281 h 4179604"/>
              <a:gd name="connsiteX55" fmla="*/ 2883877 w 5816654"/>
              <a:gd name="connsiteY55" fmla="*/ 580620 h 4179604"/>
              <a:gd name="connsiteX56" fmla="*/ 3036277 w 5816654"/>
              <a:gd name="connsiteY56" fmla="*/ 891281 h 4179604"/>
              <a:gd name="connsiteX57" fmla="*/ 3100754 w 5816654"/>
              <a:gd name="connsiteY57" fmla="*/ 996789 h 4179604"/>
              <a:gd name="connsiteX58" fmla="*/ 3153508 w 5816654"/>
              <a:gd name="connsiteY58" fmla="*/ 1096435 h 4179604"/>
              <a:gd name="connsiteX59" fmla="*/ 3294185 w 5816654"/>
              <a:gd name="connsiteY59" fmla="*/ 1412958 h 4179604"/>
              <a:gd name="connsiteX60" fmla="*/ 3411415 w 5816654"/>
              <a:gd name="connsiteY60" fmla="*/ 1618112 h 4179604"/>
              <a:gd name="connsiteX61" fmla="*/ 3458308 w 5816654"/>
              <a:gd name="connsiteY61" fmla="*/ 1700173 h 4179604"/>
              <a:gd name="connsiteX62" fmla="*/ 3487615 w 5816654"/>
              <a:gd name="connsiteY62" fmla="*/ 1747066 h 4179604"/>
              <a:gd name="connsiteX63" fmla="*/ 3522785 w 5816654"/>
              <a:gd name="connsiteY63" fmla="*/ 1817404 h 4179604"/>
              <a:gd name="connsiteX64" fmla="*/ 3528646 w 5816654"/>
              <a:gd name="connsiteY64" fmla="*/ 1846712 h 4179604"/>
              <a:gd name="connsiteX65" fmla="*/ 3546231 w 5816654"/>
              <a:gd name="connsiteY65" fmla="*/ 1887743 h 4179604"/>
              <a:gd name="connsiteX66" fmla="*/ 3557954 w 5816654"/>
              <a:gd name="connsiteY66" fmla="*/ 1952220 h 4179604"/>
              <a:gd name="connsiteX67" fmla="*/ 3540369 w 5816654"/>
              <a:gd name="connsiteY67" fmla="*/ 2016696 h 4179604"/>
              <a:gd name="connsiteX68" fmla="*/ 3417277 w 5816654"/>
              <a:gd name="connsiteY68" fmla="*/ 2075312 h 4179604"/>
              <a:gd name="connsiteX69" fmla="*/ 3288323 w 5816654"/>
              <a:gd name="connsiteY69" fmla="*/ 1846712 h 4179604"/>
              <a:gd name="connsiteX70" fmla="*/ 3259015 w 5816654"/>
              <a:gd name="connsiteY70" fmla="*/ 1682589 h 4179604"/>
              <a:gd name="connsiteX71" fmla="*/ 3223846 w 5816654"/>
              <a:gd name="connsiteY71" fmla="*/ 1442266 h 4179604"/>
              <a:gd name="connsiteX72" fmla="*/ 3217985 w 5816654"/>
              <a:gd name="connsiteY72" fmla="*/ 1377789 h 4179604"/>
              <a:gd name="connsiteX73" fmla="*/ 3194538 w 5816654"/>
              <a:gd name="connsiteY73" fmla="*/ 1307450 h 4179604"/>
              <a:gd name="connsiteX74" fmla="*/ 3153508 w 5816654"/>
              <a:gd name="connsiteY74" fmla="*/ 1166773 h 4179604"/>
              <a:gd name="connsiteX75" fmla="*/ 3001108 w 5816654"/>
              <a:gd name="connsiteY75" fmla="*/ 867835 h 4179604"/>
              <a:gd name="connsiteX76" fmla="*/ 2965938 w 5816654"/>
              <a:gd name="connsiteY76" fmla="*/ 791635 h 4179604"/>
              <a:gd name="connsiteX77" fmla="*/ 2936631 w 5816654"/>
              <a:gd name="connsiteY77" fmla="*/ 721296 h 4179604"/>
              <a:gd name="connsiteX78" fmla="*/ 2924908 w 5816654"/>
              <a:gd name="connsiteY78" fmla="*/ 703712 h 4179604"/>
              <a:gd name="connsiteX79" fmla="*/ 2907323 w 5816654"/>
              <a:gd name="connsiteY79" fmla="*/ 633373 h 4179604"/>
              <a:gd name="connsiteX80" fmla="*/ 2889738 w 5816654"/>
              <a:gd name="connsiteY80" fmla="*/ 609927 h 4179604"/>
              <a:gd name="connsiteX81" fmla="*/ 2878015 w 5816654"/>
              <a:gd name="connsiteY81" fmla="*/ 451666 h 4179604"/>
              <a:gd name="connsiteX82" fmla="*/ 2866292 w 5816654"/>
              <a:gd name="connsiteY82" fmla="*/ 340296 h 4179604"/>
              <a:gd name="connsiteX83" fmla="*/ 2848708 w 5816654"/>
              <a:gd name="connsiteY83" fmla="*/ 240650 h 4179604"/>
              <a:gd name="connsiteX84" fmla="*/ 2784231 w 5816654"/>
              <a:gd name="connsiteY84" fmla="*/ 135143 h 4179604"/>
              <a:gd name="connsiteX85" fmla="*/ 2608385 w 5816654"/>
              <a:gd name="connsiteY85" fmla="*/ 64805 h 4179604"/>
              <a:gd name="connsiteX86" fmla="*/ 2573215 w 5816654"/>
              <a:gd name="connsiteY86" fmla="*/ 41358 h 4179604"/>
              <a:gd name="connsiteX87" fmla="*/ 2491154 w 5816654"/>
              <a:gd name="connsiteY87" fmla="*/ 327 h 4179604"/>
              <a:gd name="connsiteX88" fmla="*/ 2403231 w 5816654"/>
              <a:gd name="connsiteY88" fmla="*/ 23773 h 4179604"/>
              <a:gd name="connsiteX89" fmla="*/ 2356338 w 5816654"/>
              <a:gd name="connsiteY89" fmla="*/ 41358 h 4179604"/>
              <a:gd name="connsiteX90" fmla="*/ 2315308 w 5816654"/>
              <a:gd name="connsiteY90" fmla="*/ 47220 h 4179604"/>
              <a:gd name="connsiteX91" fmla="*/ 2268415 w 5816654"/>
              <a:gd name="connsiteY91" fmla="*/ 58943 h 4179604"/>
              <a:gd name="connsiteX92" fmla="*/ 2063261 w 5816654"/>
              <a:gd name="connsiteY92" fmla="*/ 53081 h 4179604"/>
              <a:gd name="connsiteX93" fmla="*/ 2010508 w 5816654"/>
              <a:gd name="connsiteY93" fmla="*/ 41358 h 4179604"/>
              <a:gd name="connsiteX94" fmla="*/ 1951892 w 5816654"/>
              <a:gd name="connsiteY94" fmla="*/ 29635 h 4179604"/>
              <a:gd name="connsiteX95" fmla="*/ 1471246 w 5816654"/>
              <a:gd name="connsiteY95" fmla="*/ 29635 h 4179604"/>
              <a:gd name="connsiteX96" fmla="*/ 779585 w 5816654"/>
              <a:gd name="connsiteY96" fmla="*/ 41358 h 4179604"/>
              <a:gd name="connsiteX97" fmla="*/ 726831 w 5816654"/>
              <a:gd name="connsiteY97" fmla="*/ 47220 h 4179604"/>
              <a:gd name="connsiteX98" fmla="*/ 656492 w 5816654"/>
              <a:gd name="connsiteY98" fmla="*/ 53081 h 4179604"/>
              <a:gd name="connsiteX99" fmla="*/ 621323 w 5816654"/>
              <a:gd name="connsiteY99" fmla="*/ 58943 h 4179604"/>
              <a:gd name="connsiteX100" fmla="*/ 486508 w 5816654"/>
              <a:gd name="connsiteY100" fmla="*/ 70666 h 4179604"/>
              <a:gd name="connsiteX101" fmla="*/ 357554 w 5816654"/>
              <a:gd name="connsiteY101" fmla="*/ 76527 h 4179604"/>
              <a:gd name="connsiteX102" fmla="*/ 322385 w 5816654"/>
              <a:gd name="connsiteY102" fmla="*/ 99973 h 4179604"/>
              <a:gd name="connsiteX103" fmla="*/ 193431 w 5816654"/>
              <a:gd name="connsiteY103" fmla="*/ 211343 h 4179604"/>
              <a:gd name="connsiteX104" fmla="*/ 99646 w 5816654"/>
              <a:gd name="connsiteY104" fmla="*/ 398912 h 4179604"/>
              <a:gd name="connsiteX105" fmla="*/ 0 w 5816654"/>
              <a:gd name="connsiteY105" fmla="*/ 1131604 h 4179604"/>
              <a:gd name="connsiteX106" fmla="*/ 17585 w 5816654"/>
              <a:gd name="connsiteY106" fmla="*/ 1928773 h 4179604"/>
              <a:gd name="connsiteX107" fmla="*/ 70338 w 5816654"/>
              <a:gd name="connsiteY107" fmla="*/ 2251158 h 4179604"/>
              <a:gd name="connsiteX108" fmla="*/ 123092 w 5816654"/>
              <a:gd name="connsiteY108" fmla="*/ 2473896 h 4179604"/>
              <a:gd name="connsiteX109" fmla="*/ 304800 w 5816654"/>
              <a:gd name="connsiteY109" fmla="*/ 2960404 h 4179604"/>
              <a:gd name="connsiteX110" fmla="*/ 568569 w 5816654"/>
              <a:gd name="connsiteY110" fmla="*/ 3364850 h 4179604"/>
              <a:gd name="connsiteX111" fmla="*/ 926123 w 5816654"/>
              <a:gd name="connsiteY111" fmla="*/ 3663789 h 4179604"/>
              <a:gd name="connsiteX112" fmla="*/ 1002323 w 5816654"/>
              <a:gd name="connsiteY112" fmla="*/ 3728266 h 4179604"/>
              <a:gd name="connsiteX113" fmla="*/ 1301261 w 5816654"/>
              <a:gd name="connsiteY113" fmla="*/ 3892389 h 4179604"/>
              <a:gd name="connsiteX114" fmla="*/ 1447800 w 5816654"/>
              <a:gd name="connsiteY114" fmla="*/ 3927558 h 4179604"/>
              <a:gd name="connsiteX115" fmla="*/ 1488831 w 5816654"/>
              <a:gd name="connsiteY115" fmla="*/ 3939281 h 4179604"/>
              <a:gd name="connsiteX116" fmla="*/ 1688123 w 5816654"/>
              <a:gd name="connsiteY116" fmla="*/ 3945143 h 4179604"/>
              <a:gd name="connsiteX117" fmla="*/ 1811215 w 5816654"/>
              <a:gd name="connsiteY117" fmla="*/ 3974450 h 4179604"/>
              <a:gd name="connsiteX118" fmla="*/ 1852246 w 5816654"/>
              <a:gd name="connsiteY118" fmla="*/ 3992035 h 4179604"/>
              <a:gd name="connsiteX119" fmla="*/ 1875692 w 5816654"/>
              <a:gd name="connsiteY119" fmla="*/ 4003758 h 4179604"/>
              <a:gd name="connsiteX120" fmla="*/ 1963615 w 5816654"/>
              <a:gd name="connsiteY120" fmla="*/ 4021343 h 4179604"/>
              <a:gd name="connsiteX121" fmla="*/ 2057400 w 5816654"/>
              <a:gd name="connsiteY121" fmla="*/ 4050650 h 4179604"/>
              <a:gd name="connsiteX122" fmla="*/ 2104292 w 5816654"/>
              <a:gd name="connsiteY122" fmla="*/ 4056512 h 4179604"/>
              <a:gd name="connsiteX123" fmla="*/ 2303585 w 5816654"/>
              <a:gd name="connsiteY123" fmla="*/ 4097543 h 4179604"/>
              <a:gd name="connsiteX124" fmla="*/ 2368061 w 5816654"/>
              <a:gd name="connsiteY124" fmla="*/ 4109266 h 4179604"/>
              <a:gd name="connsiteX125" fmla="*/ 2584938 w 5816654"/>
              <a:gd name="connsiteY125" fmla="*/ 4162020 h 4179604"/>
              <a:gd name="connsiteX126" fmla="*/ 2702169 w 5816654"/>
              <a:gd name="connsiteY126" fmla="*/ 4179604 h 4179604"/>
              <a:gd name="connsiteX127" fmla="*/ 2795954 w 5816654"/>
              <a:gd name="connsiteY127" fmla="*/ 4138573 h 4179604"/>
              <a:gd name="connsiteX128" fmla="*/ 2854569 w 5816654"/>
              <a:gd name="connsiteY128" fmla="*/ 4109266 h 4179604"/>
              <a:gd name="connsiteX129" fmla="*/ 3217985 w 5816654"/>
              <a:gd name="connsiteY129" fmla="*/ 4144435 h 4179604"/>
              <a:gd name="connsiteX130" fmla="*/ 3259015 w 5816654"/>
              <a:gd name="connsiteY130" fmla="*/ 4120989 h 4179604"/>
              <a:gd name="connsiteX131" fmla="*/ 3282461 w 5816654"/>
              <a:gd name="connsiteY131" fmla="*/ 4079958 h 4179604"/>
              <a:gd name="connsiteX132" fmla="*/ 3317631 w 5816654"/>
              <a:gd name="connsiteY132" fmla="*/ 4056512 h 4179604"/>
              <a:gd name="connsiteX133" fmla="*/ 3329354 w 5816654"/>
              <a:gd name="connsiteY133" fmla="*/ 4033066 h 4179604"/>
              <a:gd name="connsiteX134" fmla="*/ 3346938 w 5816654"/>
              <a:gd name="connsiteY134" fmla="*/ 4009620 h 4179604"/>
              <a:gd name="connsiteX135" fmla="*/ 3358661 w 5816654"/>
              <a:gd name="connsiteY135" fmla="*/ 3962727 h 4179604"/>
              <a:gd name="connsiteX136" fmla="*/ 3364523 w 5816654"/>
              <a:gd name="connsiteY136" fmla="*/ 3933420 h 4179604"/>
              <a:gd name="connsiteX137" fmla="*/ 3387969 w 5816654"/>
              <a:gd name="connsiteY137" fmla="*/ 3898250 h 4179604"/>
              <a:gd name="connsiteX138" fmla="*/ 3376246 w 5816654"/>
              <a:gd name="connsiteY138" fmla="*/ 3880666 h 4179604"/>
              <a:gd name="connsiteX139" fmla="*/ 3399692 w 5816654"/>
              <a:gd name="connsiteY139" fmla="*/ 3763435 h 4179604"/>
              <a:gd name="connsiteX140" fmla="*/ 3387969 w 5816654"/>
              <a:gd name="connsiteY140" fmla="*/ 3734127 h 4179604"/>
              <a:gd name="connsiteX141" fmla="*/ 3423138 w 5816654"/>
              <a:gd name="connsiteY141" fmla="*/ 3657927 h 4179604"/>
              <a:gd name="connsiteX142" fmla="*/ 3464169 w 5816654"/>
              <a:gd name="connsiteY142" fmla="*/ 3622758 h 4179604"/>
              <a:gd name="connsiteX143" fmla="*/ 3487616 w 5816654"/>
              <a:gd name="connsiteY143" fmla="*/ 3593451 h 4179604"/>
              <a:gd name="connsiteX144" fmla="*/ 3405553 w 5816654"/>
              <a:gd name="connsiteY144" fmla="*/ 3429327 h 4179604"/>
              <a:gd name="connsiteX145" fmla="*/ 3364523 w 5816654"/>
              <a:gd name="connsiteY145" fmla="*/ 3341404 h 4179604"/>
              <a:gd name="connsiteX146" fmla="*/ 3276600 w 5816654"/>
              <a:gd name="connsiteY146" fmla="*/ 3294512 h 4179604"/>
              <a:gd name="connsiteX147" fmla="*/ 3264877 w 5816654"/>
              <a:gd name="connsiteY147" fmla="*/ 3271066 h 4179604"/>
              <a:gd name="connsiteX148" fmla="*/ 3229708 w 5816654"/>
              <a:gd name="connsiteY148" fmla="*/ 3212450 h 4179604"/>
              <a:gd name="connsiteX149" fmla="*/ 3212123 w 5816654"/>
              <a:gd name="connsiteY149" fmla="*/ 3142112 h 4179604"/>
              <a:gd name="connsiteX150" fmla="*/ 3229708 w 5816654"/>
              <a:gd name="connsiteY150" fmla="*/ 2966266 h 4179604"/>
              <a:gd name="connsiteX151" fmla="*/ 3253154 w 5816654"/>
              <a:gd name="connsiteY151" fmla="*/ 2919373 h 4179604"/>
              <a:gd name="connsiteX152" fmla="*/ 3264877 w 5816654"/>
              <a:gd name="connsiteY152" fmla="*/ 2872481 h 4179604"/>
              <a:gd name="connsiteX153" fmla="*/ 3305908 w 5816654"/>
              <a:gd name="connsiteY153" fmla="*/ 2761112 h 4179604"/>
              <a:gd name="connsiteX154" fmla="*/ 3323492 w 5816654"/>
              <a:gd name="connsiteY154" fmla="*/ 2720081 h 4179604"/>
              <a:gd name="connsiteX155" fmla="*/ 3364523 w 5816654"/>
              <a:gd name="connsiteY155" fmla="*/ 2620435 h 4179604"/>
              <a:gd name="connsiteX156" fmla="*/ 3382108 w 5816654"/>
              <a:gd name="connsiteY156" fmla="*/ 2579404 h 4179604"/>
              <a:gd name="connsiteX157" fmla="*/ 3417277 w 5816654"/>
              <a:gd name="connsiteY157" fmla="*/ 2538373 h 4179604"/>
              <a:gd name="connsiteX158" fmla="*/ 3440723 w 5816654"/>
              <a:gd name="connsiteY158" fmla="*/ 2520789 h 4179604"/>
              <a:gd name="connsiteX159" fmla="*/ 3458308 w 5816654"/>
              <a:gd name="connsiteY159" fmla="*/ 2497343 h 4179604"/>
              <a:gd name="connsiteX160" fmla="*/ 3470031 w 5816654"/>
              <a:gd name="connsiteY160" fmla="*/ 2473896 h 4179604"/>
              <a:gd name="connsiteX161" fmla="*/ 3487615 w 5816654"/>
              <a:gd name="connsiteY161" fmla="*/ 2468035 h 4179604"/>
              <a:gd name="connsiteX162" fmla="*/ 3663461 w 5816654"/>
              <a:gd name="connsiteY162" fmla="*/ 2491481 h 4179604"/>
              <a:gd name="connsiteX163" fmla="*/ 3722077 w 5816654"/>
              <a:gd name="connsiteY163" fmla="*/ 2509066 h 4179604"/>
              <a:gd name="connsiteX164" fmla="*/ 3804138 w 5816654"/>
              <a:gd name="connsiteY164" fmla="*/ 2514927 h 4179604"/>
              <a:gd name="connsiteX165" fmla="*/ 4366846 w 5816654"/>
              <a:gd name="connsiteY165" fmla="*/ 2532512 h 4179604"/>
              <a:gd name="connsiteX166" fmla="*/ 4472354 w 5816654"/>
              <a:gd name="connsiteY166" fmla="*/ 2514927 h 4179604"/>
              <a:gd name="connsiteX167" fmla="*/ 4495800 w 5816654"/>
              <a:gd name="connsiteY167" fmla="*/ 2491481 h 4179604"/>
              <a:gd name="connsiteX168" fmla="*/ 4513385 w 5816654"/>
              <a:gd name="connsiteY168" fmla="*/ 2485620 h 4179604"/>
              <a:gd name="connsiteX169" fmla="*/ 4536831 w 5816654"/>
              <a:gd name="connsiteY169" fmla="*/ 2462173 h 4179604"/>
              <a:gd name="connsiteX170" fmla="*/ 4554415 w 5816654"/>
              <a:gd name="connsiteY170" fmla="*/ 2456312 h 4179604"/>
              <a:gd name="connsiteX171" fmla="*/ 4577861 w 5816654"/>
              <a:gd name="connsiteY171" fmla="*/ 2444589 h 4179604"/>
              <a:gd name="connsiteX172" fmla="*/ 4601308 w 5816654"/>
              <a:gd name="connsiteY172" fmla="*/ 2427004 h 4179604"/>
              <a:gd name="connsiteX173" fmla="*/ 4618892 w 5816654"/>
              <a:gd name="connsiteY173" fmla="*/ 2421143 h 4179604"/>
              <a:gd name="connsiteX174" fmla="*/ 4648200 w 5816654"/>
              <a:gd name="connsiteY174" fmla="*/ 2403558 h 4179604"/>
              <a:gd name="connsiteX175" fmla="*/ 4624754 w 5816654"/>
              <a:gd name="connsiteY175" fmla="*/ 2385973 h 4179604"/>
              <a:gd name="connsiteX0" fmla="*/ 4624754 w 5817959"/>
              <a:gd name="connsiteY0" fmla="*/ 2385973 h 4179604"/>
              <a:gd name="connsiteX1" fmla="*/ 4700954 w 5817959"/>
              <a:gd name="connsiteY1" fmla="*/ 2362527 h 4179604"/>
              <a:gd name="connsiteX2" fmla="*/ 4706815 w 5817959"/>
              <a:gd name="connsiteY2" fmla="*/ 2303912 h 4179604"/>
              <a:gd name="connsiteX3" fmla="*/ 4712677 w 5817959"/>
              <a:gd name="connsiteY3" fmla="*/ 2286327 h 4179604"/>
              <a:gd name="connsiteX4" fmla="*/ 4741985 w 5817959"/>
              <a:gd name="connsiteY4" fmla="*/ 2262881 h 4179604"/>
              <a:gd name="connsiteX5" fmla="*/ 4771292 w 5817959"/>
              <a:gd name="connsiteY5" fmla="*/ 2239435 h 4179604"/>
              <a:gd name="connsiteX6" fmla="*/ 4806461 w 5817959"/>
              <a:gd name="connsiteY6" fmla="*/ 2210127 h 4179604"/>
              <a:gd name="connsiteX7" fmla="*/ 4818185 w 5817959"/>
              <a:gd name="connsiteY7" fmla="*/ 2198404 h 4179604"/>
              <a:gd name="connsiteX8" fmla="*/ 4870938 w 5817959"/>
              <a:gd name="connsiteY8" fmla="*/ 2180820 h 4179604"/>
              <a:gd name="connsiteX9" fmla="*/ 4888523 w 5817959"/>
              <a:gd name="connsiteY9" fmla="*/ 2169096 h 4179604"/>
              <a:gd name="connsiteX10" fmla="*/ 4923692 w 5817959"/>
              <a:gd name="connsiteY10" fmla="*/ 2163235 h 4179604"/>
              <a:gd name="connsiteX11" fmla="*/ 4947138 w 5817959"/>
              <a:gd name="connsiteY11" fmla="*/ 2157373 h 4179604"/>
              <a:gd name="connsiteX12" fmla="*/ 5124816 w 5817959"/>
              <a:gd name="connsiteY12" fmla="*/ 2167265 h 4179604"/>
              <a:gd name="connsiteX13" fmla="*/ 5134708 w 5817959"/>
              <a:gd name="connsiteY13" fmla="*/ 2151511 h 4179604"/>
              <a:gd name="connsiteX14" fmla="*/ 5224462 w 5817959"/>
              <a:gd name="connsiteY14" fmla="*/ 2183385 h 4179604"/>
              <a:gd name="connsiteX15" fmla="*/ 5269523 w 5817959"/>
              <a:gd name="connsiteY15" fmla="*/ 2069450 h 4179604"/>
              <a:gd name="connsiteX16" fmla="*/ 5277948 w 5817959"/>
              <a:gd name="connsiteY16" fmla="*/ 2063589 h 4179604"/>
              <a:gd name="connsiteX17" fmla="*/ 5228492 w 5817959"/>
              <a:gd name="connsiteY17" fmla="*/ 2057728 h 4179604"/>
              <a:gd name="connsiteX18" fmla="*/ 5372518 w 5817959"/>
              <a:gd name="connsiteY18" fmla="*/ 1753765 h 4179604"/>
              <a:gd name="connsiteX19" fmla="*/ 5455418 w 5817959"/>
              <a:gd name="connsiteY19" fmla="*/ 1489158 h 4179604"/>
              <a:gd name="connsiteX20" fmla="*/ 5451231 w 5817959"/>
              <a:gd name="connsiteY20" fmla="*/ 1407096 h 4179604"/>
              <a:gd name="connsiteX21" fmla="*/ 5474677 w 5817959"/>
              <a:gd name="connsiteY21" fmla="*/ 1371927 h 4179604"/>
              <a:gd name="connsiteX22" fmla="*/ 5492261 w 5817959"/>
              <a:gd name="connsiteY22" fmla="*/ 1348481 h 4179604"/>
              <a:gd name="connsiteX23" fmla="*/ 5503985 w 5817959"/>
              <a:gd name="connsiteY23" fmla="*/ 1319173 h 4179604"/>
              <a:gd name="connsiteX24" fmla="*/ 5533292 w 5817959"/>
              <a:gd name="connsiteY24" fmla="*/ 1266420 h 4179604"/>
              <a:gd name="connsiteX25" fmla="*/ 5556738 w 5817959"/>
              <a:gd name="connsiteY25" fmla="*/ 1219527 h 4179604"/>
              <a:gd name="connsiteX26" fmla="*/ 5603631 w 5817959"/>
              <a:gd name="connsiteY26" fmla="*/ 1155050 h 4179604"/>
              <a:gd name="connsiteX27" fmla="*/ 5668108 w 5817959"/>
              <a:gd name="connsiteY27" fmla="*/ 1020235 h 4179604"/>
              <a:gd name="connsiteX28" fmla="*/ 5709138 w 5817959"/>
              <a:gd name="connsiteY28" fmla="*/ 926450 h 4179604"/>
              <a:gd name="connsiteX29" fmla="*/ 5732585 w 5817959"/>
              <a:gd name="connsiteY29" fmla="*/ 867835 h 4179604"/>
              <a:gd name="connsiteX30" fmla="*/ 5796696 w 5817959"/>
              <a:gd name="connsiteY30" fmla="*/ 646562 h 4179604"/>
              <a:gd name="connsiteX31" fmla="*/ 5793031 w 5817959"/>
              <a:gd name="connsiteY31" fmla="*/ 542154 h 4179604"/>
              <a:gd name="connsiteX32" fmla="*/ 5761892 w 5817959"/>
              <a:gd name="connsiteY32" fmla="*/ 504420 h 4179604"/>
              <a:gd name="connsiteX33" fmla="*/ 5805854 w 5817959"/>
              <a:gd name="connsiteY33" fmla="*/ 565600 h 4179604"/>
              <a:gd name="connsiteX34" fmla="*/ 5816477 w 5817959"/>
              <a:gd name="connsiteY34" fmla="*/ 300365 h 4179604"/>
              <a:gd name="connsiteX35" fmla="*/ 5779477 w 5817959"/>
              <a:gd name="connsiteY35" fmla="*/ 369604 h 4179604"/>
              <a:gd name="connsiteX36" fmla="*/ 5767754 w 5817959"/>
              <a:gd name="connsiteY36" fmla="*/ 141004 h 4179604"/>
              <a:gd name="connsiteX37" fmla="*/ 5761892 w 5817959"/>
              <a:gd name="connsiteY37" fmla="*/ 105835 h 4179604"/>
              <a:gd name="connsiteX38" fmla="*/ 5750169 w 5817959"/>
              <a:gd name="connsiteY38" fmla="*/ 88250 h 4179604"/>
              <a:gd name="connsiteX39" fmla="*/ 5744308 w 5817959"/>
              <a:gd name="connsiteY39" fmla="*/ 64804 h 4179604"/>
              <a:gd name="connsiteX40" fmla="*/ 5691554 w 5817959"/>
              <a:gd name="connsiteY40" fmla="*/ 70666 h 4179604"/>
              <a:gd name="connsiteX41" fmla="*/ 5615354 w 5817959"/>
              <a:gd name="connsiteY41" fmla="*/ 58943 h 4179604"/>
              <a:gd name="connsiteX42" fmla="*/ 5533292 w 5817959"/>
              <a:gd name="connsiteY42" fmla="*/ 29635 h 4179604"/>
              <a:gd name="connsiteX43" fmla="*/ 5492261 w 5817959"/>
              <a:gd name="connsiteY43" fmla="*/ 12050 h 4179604"/>
              <a:gd name="connsiteX44" fmla="*/ 5427785 w 5817959"/>
              <a:gd name="connsiteY44" fmla="*/ 327 h 4179604"/>
              <a:gd name="connsiteX45" fmla="*/ 5257800 w 5817959"/>
              <a:gd name="connsiteY45" fmla="*/ 12050 h 4179604"/>
              <a:gd name="connsiteX46" fmla="*/ 5122985 w 5817959"/>
              <a:gd name="connsiteY46" fmla="*/ 41358 h 4179604"/>
              <a:gd name="connsiteX47" fmla="*/ 5058508 w 5817959"/>
              <a:gd name="connsiteY47" fmla="*/ 47220 h 4179604"/>
              <a:gd name="connsiteX48" fmla="*/ 3552092 w 5817959"/>
              <a:gd name="connsiteY48" fmla="*/ 58943 h 4179604"/>
              <a:gd name="connsiteX49" fmla="*/ 3376246 w 5817959"/>
              <a:gd name="connsiteY49" fmla="*/ 70666 h 4179604"/>
              <a:gd name="connsiteX50" fmla="*/ 3124200 w 5817959"/>
              <a:gd name="connsiteY50" fmla="*/ 76527 h 4179604"/>
              <a:gd name="connsiteX51" fmla="*/ 3053861 w 5817959"/>
              <a:gd name="connsiteY51" fmla="*/ 111696 h 4179604"/>
              <a:gd name="connsiteX52" fmla="*/ 2995246 w 5817959"/>
              <a:gd name="connsiteY52" fmla="*/ 176173 h 4179604"/>
              <a:gd name="connsiteX53" fmla="*/ 2895600 w 5817959"/>
              <a:gd name="connsiteY53" fmla="*/ 357881 h 4179604"/>
              <a:gd name="connsiteX54" fmla="*/ 2878015 w 5817959"/>
              <a:gd name="connsiteY54" fmla="*/ 510281 h 4179604"/>
              <a:gd name="connsiteX55" fmla="*/ 2883877 w 5817959"/>
              <a:gd name="connsiteY55" fmla="*/ 580620 h 4179604"/>
              <a:gd name="connsiteX56" fmla="*/ 3036277 w 5817959"/>
              <a:gd name="connsiteY56" fmla="*/ 891281 h 4179604"/>
              <a:gd name="connsiteX57" fmla="*/ 3100754 w 5817959"/>
              <a:gd name="connsiteY57" fmla="*/ 996789 h 4179604"/>
              <a:gd name="connsiteX58" fmla="*/ 3153508 w 5817959"/>
              <a:gd name="connsiteY58" fmla="*/ 1096435 h 4179604"/>
              <a:gd name="connsiteX59" fmla="*/ 3294185 w 5817959"/>
              <a:gd name="connsiteY59" fmla="*/ 1412958 h 4179604"/>
              <a:gd name="connsiteX60" fmla="*/ 3411415 w 5817959"/>
              <a:gd name="connsiteY60" fmla="*/ 1618112 h 4179604"/>
              <a:gd name="connsiteX61" fmla="*/ 3458308 w 5817959"/>
              <a:gd name="connsiteY61" fmla="*/ 1700173 h 4179604"/>
              <a:gd name="connsiteX62" fmla="*/ 3487615 w 5817959"/>
              <a:gd name="connsiteY62" fmla="*/ 1747066 h 4179604"/>
              <a:gd name="connsiteX63" fmla="*/ 3522785 w 5817959"/>
              <a:gd name="connsiteY63" fmla="*/ 1817404 h 4179604"/>
              <a:gd name="connsiteX64" fmla="*/ 3528646 w 5817959"/>
              <a:gd name="connsiteY64" fmla="*/ 1846712 h 4179604"/>
              <a:gd name="connsiteX65" fmla="*/ 3546231 w 5817959"/>
              <a:gd name="connsiteY65" fmla="*/ 1887743 h 4179604"/>
              <a:gd name="connsiteX66" fmla="*/ 3557954 w 5817959"/>
              <a:gd name="connsiteY66" fmla="*/ 1952220 h 4179604"/>
              <a:gd name="connsiteX67" fmla="*/ 3540369 w 5817959"/>
              <a:gd name="connsiteY67" fmla="*/ 2016696 h 4179604"/>
              <a:gd name="connsiteX68" fmla="*/ 3417277 w 5817959"/>
              <a:gd name="connsiteY68" fmla="*/ 2075312 h 4179604"/>
              <a:gd name="connsiteX69" fmla="*/ 3288323 w 5817959"/>
              <a:gd name="connsiteY69" fmla="*/ 1846712 h 4179604"/>
              <a:gd name="connsiteX70" fmla="*/ 3259015 w 5817959"/>
              <a:gd name="connsiteY70" fmla="*/ 1682589 h 4179604"/>
              <a:gd name="connsiteX71" fmla="*/ 3223846 w 5817959"/>
              <a:gd name="connsiteY71" fmla="*/ 1442266 h 4179604"/>
              <a:gd name="connsiteX72" fmla="*/ 3217985 w 5817959"/>
              <a:gd name="connsiteY72" fmla="*/ 1377789 h 4179604"/>
              <a:gd name="connsiteX73" fmla="*/ 3194538 w 5817959"/>
              <a:gd name="connsiteY73" fmla="*/ 1307450 h 4179604"/>
              <a:gd name="connsiteX74" fmla="*/ 3153508 w 5817959"/>
              <a:gd name="connsiteY74" fmla="*/ 1166773 h 4179604"/>
              <a:gd name="connsiteX75" fmla="*/ 3001108 w 5817959"/>
              <a:gd name="connsiteY75" fmla="*/ 867835 h 4179604"/>
              <a:gd name="connsiteX76" fmla="*/ 2965938 w 5817959"/>
              <a:gd name="connsiteY76" fmla="*/ 791635 h 4179604"/>
              <a:gd name="connsiteX77" fmla="*/ 2936631 w 5817959"/>
              <a:gd name="connsiteY77" fmla="*/ 721296 h 4179604"/>
              <a:gd name="connsiteX78" fmla="*/ 2924908 w 5817959"/>
              <a:gd name="connsiteY78" fmla="*/ 703712 h 4179604"/>
              <a:gd name="connsiteX79" fmla="*/ 2907323 w 5817959"/>
              <a:gd name="connsiteY79" fmla="*/ 633373 h 4179604"/>
              <a:gd name="connsiteX80" fmla="*/ 2889738 w 5817959"/>
              <a:gd name="connsiteY80" fmla="*/ 609927 h 4179604"/>
              <a:gd name="connsiteX81" fmla="*/ 2878015 w 5817959"/>
              <a:gd name="connsiteY81" fmla="*/ 451666 h 4179604"/>
              <a:gd name="connsiteX82" fmla="*/ 2866292 w 5817959"/>
              <a:gd name="connsiteY82" fmla="*/ 340296 h 4179604"/>
              <a:gd name="connsiteX83" fmla="*/ 2848708 w 5817959"/>
              <a:gd name="connsiteY83" fmla="*/ 240650 h 4179604"/>
              <a:gd name="connsiteX84" fmla="*/ 2784231 w 5817959"/>
              <a:gd name="connsiteY84" fmla="*/ 135143 h 4179604"/>
              <a:gd name="connsiteX85" fmla="*/ 2608385 w 5817959"/>
              <a:gd name="connsiteY85" fmla="*/ 64805 h 4179604"/>
              <a:gd name="connsiteX86" fmla="*/ 2573215 w 5817959"/>
              <a:gd name="connsiteY86" fmla="*/ 41358 h 4179604"/>
              <a:gd name="connsiteX87" fmla="*/ 2491154 w 5817959"/>
              <a:gd name="connsiteY87" fmla="*/ 327 h 4179604"/>
              <a:gd name="connsiteX88" fmla="*/ 2403231 w 5817959"/>
              <a:gd name="connsiteY88" fmla="*/ 23773 h 4179604"/>
              <a:gd name="connsiteX89" fmla="*/ 2356338 w 5817959"/>
              <a:gd name="connsiteY89" fmla="*/ 41358 h 4179604"/>
              <a:gd name="connsiteX90" fmla="*/ 2315308 w 5817959"/>
              <a:gd name="connsiteY90" fmla="*/ 47220 h 4179604"/>
              <a:gd name="connsiteX91" fmla="*/ 2268415 w 5817959"/>
              <a:gd name="connsiteY91" fmla="*/ 58943 h 4179604"/>
              <a:gd name="connsiteX92" fmla="*/ 2063261 w 5817959"/>
              <a:gd name="connsiteY92" fmla="*/ 53081 h 4179604"/>
              <a:gd name="connsiteX93" fmla="*/ 2010508 w 5817959"/>
              <a:gd name="connsiteY93" fmla="*/ 41358 h 4179604"/>
              <a:gd name="connsiteX94" fmla="*/ 1951892 w 5817959"/>
              <a:gd name="connsiteY94" fmla="*/ 29635 h 4179604"/>
              <a:gd name="connsiteX95" fmla="*/ 1471246 w 5817959"/>
              <a:gd name="connsiteY95" fmla="*/ 29635 h 4179604"/>
              <a:gd name="connsiteX96" fmla="*/ 779585 w 5817959"/>
              <a:gd name="connsiteY96" fmla="*/ 41358 h 4179604"/>
              <a:gd name="connsiteX97" fmla="*/ 726831 w 5817959"/>
              <a:gd name="connsiteY97" fmla="*/ 47220 h 4179604"/>
              <a:gd name="connsiteX98" fmla="*/ 656492 w 5817959"/>
              <a:gd name="connsiteY98" fmla="*/ 53081 h 4179604"/>
              <a:gd name="connsiteX99" fmla="*/ 621323 w 5817959"/>
              <a:gd name="connsiteY99" fmla="*/ 58943 h 4179604"/>
              <a:gd name="connsiteX100" fmla="*/ 486508 w 5817959"/>
              <a:gd name="connsiteY100" fmla="*/ 70666 h 4179604"/>
              <a:gd name="connsiteX101" fmla="*/ 357554 w 5817959"/>
              <a:gd name="connsiteY101" fmla="*/ 76527 h 4179604"/>
              <a:gd name="connsiteX102" fmla="*/ 322385 w 5817959"/>
              <a:gd name="connsiteY102" fmla="*/ 99973 h 4179604"/>
              <a:gd name="connsiteX103" fmla="*/ 193431 w 5817959"/>
              <a:gd name="connsiteY103" fmla="*/ 211343 h 4179604"/>
              <a:gd name="connsiteX104" fmla="*/ 99646 w 5817959"/>
              <a:gd name="connsiteY104" fmla="*/ 398912 h 4179604"/>
              <a:gd name="connsiteX105" fmla="*/ 0 w 5817959"/>
              <a:gd name="connsiteY105" fmla="*/ 1131604 h 4179604"/>
              <a:gd name="connsiteX106" fmla="*/ 17585 w 5817959"/>
              <a:gd name="connsiteY106" fmla="*/ 1928773 h 4179604"/>
              <a:gd name="connsiteX107" fmla="*/ 70338 w 5817959"/>
              <a:gd name="connsiteY107" fmla="*/ 2251158 h 4179604"/>
              <a:gd name="connsiteX108" fmla="*/ 123092 w 5817959"/>
              <a:gd name="connsiteY108" fmla="*/ 2473896 h 4179604"/>
              <a:gd name="connsiteX109" fmla="*/ 304800 w 5817959"/>
              <a:gd name="connsiteY109" fmla="*/ 2960404 h 4179604"/>
              <a:gd name="connsiteX110" fmla="*/ 568569 w 5817959"/>
              <a:gd name="connsiteY110" fmla="*/ 3364850 h 4179604"/>
              <a:gd name="connsiteX111" fmla="*/ 926123 w 5817959"/>
              <a:gd name="connsiteY111" fmla="*/ 3663789 h 4179604"/>
              <a:gd name="connsiteX112" fmla="*/ 1002323 w 5817959"/>
              <a:gd name="connsiteY112" fmla="*/ 3728266 h 4179604"/>
              <a:gd name="connsiteX113" fmla="*/ 1301261 w 5817959"/>
              <a:gd name="connsiteY113" fmla="*/ 3892389 h 4179604"/>
              <a:gd name="connsiteX114" fmla="*/ 1447800 w 5817959"/>
              <a:gd name="connsiteY114" fmla="*/ 3927558 h 4179604"/>
              <a:gd name="connsiteX115" fmla="*/ 1488831 w 5817959"/>
              <a:gd name="connsiteY115" fmla="*/ 3939281 h 4179604"/>
              <a:gd name="connsiteX116" fmla="*/ 1688123 w 5817959"/>
              <a:gd name="connsiteY116" fmla="*/ 3945143 h 4179604"/>
              <a:gd name="connsiteX117" fmla="*/ 1811215 w 5817959"/>
              <a:gd name="connsiteY117" fmla="*/ 3974450 h 4179604"/>
              <a:gd name="connsiteX118" fmla="*/ 1852246 w 5817959"/>
              <a:gd name="connsiteY118" fmla="*/ 3992035 h 4179604"/>
              <a:gd name="connsiteX119" fmla="*/ 1875692 w 5817959"/>
              <a:gd name="connsiteY119" fmla="*/ 4003758 h 4179604"/>
              <a:gd name="connsiteX120" fmla="*/ 1963615 w 5817959"/>
              <a:gd name="connsiteY120" fmla="*/ 4021343 h 4179604"/>
              <a:gd name="connsiteX121" fmla="*/ 2057400 w 5817959"/>
              <a:gd name="connsiteY121" fmla="*/ 4050650 h 4179604"/>
              <a:gd name="connsiteX122" fmla="*/ 2104292 w 5817959"/>
              <a:gd name="connsiteY122" fmla="*/ 4056512 h 4179604"/>
              <a:gd name="connsiteX123" fmla="*/ 2303585 w 5817959"/>
              <a:gd name="connsiteY123" fmla="*/ 4097543 h 4179604"/>
              <a:gd name="connsiteX124" fmla="*/ 2368061 w 5817959"/>
              <a:gd name="connsiteY124" fmla="*/ 4109266 h 4179604"/>
              <a:gd name="connsiteX125" fmla="*/ 2584938 w 5817959"/>
              <a:gd name="connsiteY125" fmla="*/ 4162020 h 4179604"/>
              <a:gd name="connsiteX126" fmla="*/ 2702169 w 5817959"/>
              <a:gd name="connsiteY126" fmla="*/ 4179604 h 4179604"/>
              <a:gd name="connsiteX127" fmla="*/ 2795954 w 5817959"/>
              <a:gd name="connsiteY127" fmla="*/ 4138573 h 4179604"/>
              <a:gd name="connsiteX128" fmla="*/ 2854569 w 5817959"/>
              <a:gd name="connsiteY128" fmla="*/ 4109266 h 4179604"/>
              <a:gd name="connsiteX129" fmla="*/ 3217985 w 5817959"/>
              <a:gd name="connsiteY129" fmla="*/ 4144435 h 4179604"/>
              <a:gd name="connsiteX130" fmla="*/ 3259015 w 5817959"/>
              <a:gd name="connsiteY130" fmla="*/ 4120989 h 4179604"/>
              <a:gd name="connsiteX131" fmla="*/ 3282461 w 5817959"/>
              <a:gd name="connsiteY131" fmla="*/ 4079958 h 4179604"/>
              <a:gd name="connsiteX132" fmla="*/ 3317631 w 5817959"/>
              <a:gd name="connsiteY132" fmla="*/ 4056512 h 4179604"/>
              <a:gd name="connsiteX133" fmla="*/ 3329354 w 5817959"/>
              <a:gd name="connsiteY133" fmla="*/ 4033066 h 4179604"/>
              <a:gd name="connsiteX134" fmla="*/ 3346938 w 5817959"/>
              <a:gd name="connsiteY134" fmla="*/ 4009620 h 4179604"/>
              <a:gd name="connsiteX135" fmla="*/ 3358661 w 5817959"/>
              <a:gd name="connsiteY135" fmla="*/ 3962727 h 4179604"/>
              <a:gd name="connsiteX136" fmla="*/ 3364523 w 5817959"/>
              <a:gd name="connsiteY136" fmla="*/ 3933420 h 4179604"/>
              <a:gd name="connsiteX137" fmla="*/ 3387969 w 5817959"/>
              <a:gd name="connsiteY137" fmla="*/ 3898250 h 4179604"/>
              <a:gd name="connsiteX138" fmla="*/ 3376246 w 5817959"/>
              <a:gd name="connsiteY138" fmla="*/ 3880666 h 4179604"/>
              <a:gd name="connsiteX139" fmla="*/ 3399692 w 5817959"/>
              <a:gd name="connsiteY139" fmla="*/ 3763435 h 4179604"/>
              <a:gd name="connsiteX140" fmla="*/ 3387969 w 5817959"/>
              <a:gd name="connsiteY140" fmla="*/ 3734127 h 4179604"/>
              <a:gd name="connsiteX141" fmla="*/ 3423138 w 5817959"/>
              <a:gd name="connsiteY141" fmla="*/ 3657927 h 4179604"/>
              <a:gd name="connsiteX142" fmla="*/ 3464169 w 5817959"/>
              <a:gd name="connsiteY142" fmla="*/ 3622758 h 4179604"/>
              <a:gd name="connsiteX143" fmla="*/ 3487616 w 5817959"/>
              <a:gd name="connsiteY143" fmla="*/ 3593451 h 4179604"/>
              <a:gd name="connsiteX144" fmla="*/ 3405553 w 5817959"/>
              <a:gd name="connsiteY144" fmla="*/ 3429327 h 4179604"/>
              <a:gd name="connsiteX145" fmla="*/ 3364523 w 5817959"/>
              <a:gd name="connsiteY145" fmla="*/ 3341404 h 4179604"/>
              <a:gd name="connsiteX146" fmla="*/ 3276600 w 5817959"/>
              <a:gd name="connsiteY146" fmla="*/ 3294512 h 4179604"/>
              <a:gd name="connsiteX147" fmla="*/ 3264877 w 5817959"/>
              <a:gd name="connsiteY147" fmla="*/ 3271066 h 4179604"/>
              <a:gd name="connsiteX148" fmla="*/ 3229708 w 5817959"/>
              <a:gd name="connsiteY148" fmla="*/ 3212450 h 4179604"/>
              <a:gd name="connsiteX149" fmla="*/ 3212123 w 5817959"/>
              <a:gd name="connsiteY149" fmla="*/ 3142112 h 4179604"/>
              <a:gd name="connsiteX150" fmla="*/ 3229708 w 5817959"/>
              <a:gd name="connsiteY150" fmla="*/ 2966266 h 4179604"/>
              <a:gd name="connsiteX151" fmla="*/ 3253154 w 5817959"/>
              <a:gd name="connsiteY151" fmla="*/ 2919373 h 4179604"/>
              <a:gd name="connsiteX152" fmla="*/ 3264877 w 5817959"/>
              <a:gd name="connsiteY152" fmla="*/ 2872481 h 4179604"/>
              <a:gd name="connsiteX153" fmla="*/ 3305908 w 5817959"/>
              <a:gd name="connsiteY153" fmla="*/ 2761112 h 4179604"/>
              <a:gd name="connsiteX154" fmla="*/ 3323492 w 5817959"/>
              <a:gd name="connsiteY154" fmla="*/ 2720081 h 4179604"/>
              <a:gd name="connsiteX155" fmla="*/ 3364523 w 5817959"/>
              <a:gd name="connsiteY155" fmla="*/ 2620435 h 4179604"/>
              <a:gd name="connsiteX156" fmla="*/ 3382108 w 5817959"/>
              <a:gd name="connsiteY156" fmla="*/ 2579404 h 4179604"/>
              <a:gd name="connsiteX157" fmla="*/ 3417277 w 5817959"/>
              <a:gd name="connsiteY157" fmla="*/ 2538373 h 4179604"/>
              <a:gd name="connsiteX158" fmla="*/ 3440723 w 5817959"/>
              <a:gd name="connsiteY158" fmla="*/ 2520789 h 4179604"/>
              <a:gd name="connsiteX159" fmla="*/ 3458308 w 5817959"/>
              <a:gd name="connsiteY159" fmla="*/ 2497343 h 4179604"/>
              <a:gd name="connsiteX160" fmla="*/ 3470031 w 5817959"/>
              <a:gd name="connsiteY160" fmla="*/ 2473896 h 4179604"/>
              <a:gd name="connsiteX161" fmla="*/ 3487615 w 5817959"/>
              <a:gd name="connsiteY161" fmla="*/ 2468035 h 4179604"/>
              <a:gd name="connsiteX162" fmla="*/ 3663461 w 5817959"/>
              <a:gd name="connsiteY162" fmla="*/ 2491481 h 4179604"/>
              <a:gd name="connsiteX163" fmla="*/ 3722077 w 5817959"/>
              <a:gd name="connsiteY163" fmla="*/ 2509066 h 4179604"/>
              <a:gd name="connsiteX164" fmla="*/ 3804138 w 5817959"/>
              <a:gd name="connsiteY164" fmla="*/ 2514927 h 4179604"/>
              <a:gd name="connsiteX165" fmla="*/ 4366846 w 5817959"/>
              <a:gd name="connsiteY165" fmla="*/ 2532512 h 4179604"/>
              <a:gd name="connsiteX166" fmla="*/ 4472354 w 5817959"/>
              <a:gd name="connsiteY166" fmla="*/ 2514927 h 4179604"/>
              <a:gd name="connsiteX167" fmla="*/ 4495800 w 5817959"/>
              <a:gd name="connsiteY167" fmla="*/ 2491481 h 4179604"/>
              <a:gd name="connsiteX168" fmla="*/ 4513385 w 5817959"/>
              <a:gd name="connsiteY168" fmla="*/ 2485620 h 4179604"/>
              <a:gd name="connsiteX169" fmla="*/ 4536831 w 5817959"/>
              <a:gd name="connsiteY169" fmla="*/ 2462173 h 4179604"/>
              <a:gd name="connsiteX170" fmla="*/ 4554415 w 5817959"/>
              <a:gd name="connsiteY170" fmla="*/ 2456312 h 4179604"/>
              <a:gd name="connsiteX171" fmla="*/ 4577861 w 5817959"/>
              <a:gd name="connsiteY171" fmla="*/ 2444589 h 4179604"/>
              <a:gd name="connsiteX172" fmla="*/ 4601308 w 5817959"/>
              <a:gd name="connsiteY172" fmla="*/ 2427004 h 4179604"/>
              <a:gd name="connsiteX173" fmla="*/ 4618892 w 5817959"/>
              <a:gd name="connsiteY173" fmla="*/ 2421143 h 4179604"/>
              <a:gd name="connsiteX174" fmla="*/ 4648200 w 5817959"/>
              <a:gd name="connsiteY174" fmla="*/ 2403558 h 4179604"/>
              <a:gd name="connsiteX175" fmla="*/ 4624754 w 5817959"/>
              <a:gd name="connsiteY175" fmla="*/ 2385973 h 4179604"/>
              <a:gd name="connsiteX0" fmla="*/ 4624754 w 5817335"/>
              <a:gd name="connsiteY0" fmla="*/ 2385973 h 4179604"/>
              <a:gd name="connsiteX1" fmla="*/ 4700954 w 5817335"/>
              <a:gd name="connsiteY1" fmla="*/ 2362527 h 4179604"/>
              <a:gd name="connsiteX2" fmla="*/ 4706815 w 5817335"/>
              <a:gd name="connsiteY2" fmla="*/ 2303912 h 4179604"/>
              <a:gd name="connsiteX3" fmla="*/ 4712677 w 5817335"/>
              <a:gd name="connsiteY3" fmla="*/ 2286327 h 4179604"/>
              <a:gd name="connsiteX4" fmla="*/ 4741985 w 5817335"/>
              <a:gd name="connsiteY4" fmla="*/ 2262881 h 4179604"/>
              <a:gd name="connsiteX5" fmla="*/ 4771292 w 5817335"/>
              <a:gd name="connsiteY5" fmla="*/ 2239435 h 4179604"/>
              <a:gd name="connsiteX6" fmla="*/ 4806461 w 5817335"/>
              <a:gd name="connsiteY6" fmla="*/ 2210127 h 4179604"/>
              <a:gd name="connsiteX7" fmla="*/ 4818185 w 5817335"/>
              <a:gd name="connsiteY7" fmla="*/ 2198404 h 4179604"/>
              <a:gd name="connsiteX8" fmla="*/ 4870938 w 5817335"/>
              <a:gd name="connsiteY8" fmla="*/ 2180820 h 4179604"/>
              <a:gd name="connsiteX9" fmla="*/ 4888523 w 5817335"/>
              <a:gd name="connsiteY9" fmla="*/ 2169096 h 4179604"/>
              <a:gd name="connsiteX10" fmla="*/ 4923692 w 5817335"/>
              <a:gd name="connsiteY10" fmla="*/ 2163235 h 4179604"/>
              <a:gd name="connsiteX11" fmla="*/ 4947138 w 5817335"/>
              <a:gd name="connsiteY11" fmla="*/ 2157373 h 4179604"/>
              <a:gd name="connsiteX12" fmla="*/ 5124816 w 5817335"/>
              <a:gd name="connsiteY12" fmla="*/ 2167265 h 4179604"/>
              <a:gd name="connsiteX13" fmla="*/ 5134708 w 5817335"/>
              <a:gd name="connsiteY13" fmla="*/ 2151511 h 4179604"/>
              <a:gd name="connsiteX14" fmla="*/ 5224462 w 5817335"/>
              <a:gd name="connsiteY14" fmla="*/ 2183385 h 4179604"/>
              <a:gd name="connsiteX15" fmla="*/ 5269523 w 5817335"/>
              <a:gd name="connsiteY15" fmla="*/ 2069450 h 4179604"/>
              <a:gd name="connsiteX16" fmla="*/ 5277948 w 5817335"/>
              <a:gd name="connsiteY16" fmla="*/ 2063589 h 4179604"/>
              <a:gd name="connsiteX17" fmla="*/ 5228492 w 5817335"/>
              <a:gd name="connsiteY17" fmla="*/ 2057728 h 4179604"/>
              <a:gd name="connsiteX18" fmla="*/ 5372518 w 5817335"/>
              <a:gd name="connsiteY18" fmla="*/ 1753765 h 4179604"/>
              <a:gd name="connsiteX19" fmla="*/ 5455418 w 5817335"/>
              <a:gd name="connsiteY19" fmla="*/ 1489158 h 4179604"/>
              <a:gd name="connsiteX20" fmla="*/ 5451231 w 5817335"/>
              <a:gd name="connsiteY20" fmla="*/ 1407096 h 4179604"/>
              <a:gd name="connsiteX21" fmla="*/ 5474677 w 5817335"/>
              <a:gd name="connsiteY21" fmla="*/ 1371927 h 4179604"/>
              <a:gd name="connsiteX22" fmla="*/ 5492261 w 5817335"/>
              <a:gd name="connsiteY22" fmla="*/ 1348481 h 4179604"/>
              <a:gd name="connsiteX23" fmla="*/ 5503985 w 5817335"/>
              <a:gd name="connsiteY23" fmla="*/ 1319173 h 4179604"/>
              <a:gd name="connsiteX24" fmla="*/ 5533292 w 5817335"/>
              <a:gd name="connsiteY24" fmla="*/ 1266420 h 4179604"/>
              <a:gd name="connsiteX25" fmla="*/ 5556738 w 5817335"/>
              <a:gd name="connsiteY25" fmla="*/ 1219527 h 4179604"/>
              <a:gd name="connsiteX26" fmla="*/ 5603631 w 5817335"/>
              <a:gd name="connsiteY26" fmla="*/ 1155050 h 4179604"/>
              <a:gd name="connsiteX27" fmla="*/ 5668108 w 5817335"/>
              <a:gd name="connsiteY27" fmla="*/ 1020235 h 4179604"/>
              <a:gd name="connsiteX28" fmla="*/ 5709138 w 5817335"/>
              <a:gd name="connsiteY28" fmla="*/ 926450 h 4179604"/>
              <a:gd name="connsiteX29" fmla="*/ 5732585 w 5817335"/>
              <a:gd name="connsiteY29" fmla="*/ 867835 h 4179604"/>
              <a:gd name="connsiteX30" fmla="*/ 5796696 w 5817335"/>
              <a:gd name="connsiteY30" fmla="*/ 646562 h 4179604"/>
              <a:gd name="connsiteX31" fmla="*/ 5793031 w 5817335"/>
              <a:gd name="connsiteY31" fmla="*/ 542154 h 4179604"/>
              <a:gd name="connsiteX32" fmla="*/ 5809517 w 5817335"/>
              <a:gd name="connsiteY32" fmla="*/ 523470 h 4179604"/>
              <a:gd name="connsiteX33" fmla="*/ 5805854 w 5817335"/>
              <a:gd name="connsiteY33" fmla="*/ 565600 h 4179604"/>
              <a:gd name="connsiteX34" fmla="*/ 5816477 w 5817335"/>
              <a:gd name="connsiteY34" fmla="*/ 300365 h 4179604"/>
              <a:gd name="connsiteX35" fmla="*/ 5779477 w 5817335"/>
              <a:gd name="connsiteY35" fmla="*/ 369604 h 4179604"/>
              <a:gd name="connsiteX36" fmla="*/ 5767754 w 5817335"/>
              <a:gd name="connsiteY36" fmla="*/ 141004 h 4179604"/>
              <a:gd name="connsiteX37" fmla="*/ 5761892 w 5817335"/>
              <a:gd name="connsiteY37" fmla="*/ 105835 h 4179604"/>
              <a:gd name="connsiteX38" fmla="*/ 5750169 w 5817335"/>
              <a:gd name="connsiteY38" fmla="*/ 88250 h 4179604"/>
              <a:gd name="connsiteX39" fmla="*/ 5744308 w 5817335"/>
              <a:gd name="connsiteY39" fmla="*/ 64804 h 4179604"/>
              <a:gd name="connsiteX40" fmla="*/ 5691554 w 5817335"/>
              <a:gd name="connsiteY40" fmla="*/ 70666 h 4179604"/>
              <a:gd name="connsiteX41" fmla="*/ 5615354 w 5817335"/>
              <a:gd name="connsiteY41" fmla="*/ 58943 h 4179604"/>
              <a:gd name="connsiteX42" fmla="*/ 5533292 w 5817335"/>
              <a:gd name="connsiteY42" fmla="*/ 29635 h 4179604"/>
              <a:gd name="connsiteX43" fmla="*/ 5492261 w 5817335"/>
              <a:gd name="connsiteY43" fmla="*/ 12050 h 4179604"/>
              <a:gd name="connsiteX44" fmla="*/ 5427785 w 5817335"/>
              <a:gd name="connsiteY44" fmla="*/ 327 h 4179604"/>
              <a:gd name="connsiteX45" fmla="*/ 5257800 w 5817335"/>
              <a:gd name="connsiteY45" fmla="*/ 12050 h 4179604"/>
              <a:gd name="connsiteX46" fmla="*/ 5122985 w 5817335"/>
              <a:gd name="connsiteY46" fmla="*/ 41358 h 4179604"/>
              <a:gd name="connsiteX47" fmla="*/ 5058508 w 5817335"/>
              <a:gd name="connsiteY47" fmla="*/ 47220 h 4179604"/>
              <a:gd name="connsiteX48" fmla="*/ 3552092 w 5817335"/>
              <a:gd name="connsiteY48" fmla="*/ 58943 h 4179604"/>
              <a:gd name="connsiteX49" fmla="*/ 3376246 w 5817335"/>
              <a:gd name="connsiteY49" fmla="*/ 70666 h 4179604"/>
              <a:gd name="connsiteX50" fmla="*/ 3124200 w 5817335"/>
              <a:gd name="connsiteY50" fmla="*/ 76527 h 4179604"/>
              <a:gd name="connsiteX51" fmla="*/ 3053861 w 5817335"/>
              <a:gd name="connsiteY51" fmla="*/ 111696 h 4179604"/>
              <a:gd name="connsiteX52" fmla="*/ 2995246 w 5817335"/>
              <a:gd name="connsiteY52" fmla="*/ 176173 h 4179604"/>
              <a:gd name="connsiteX53" fmla="*/ 2895600 w 5817335"/>
              <a:gd name="connsiteY53" fmla="*/ 357881 h 4179604"/>
              <a:gd name="connsiteX54" fmla="*/ 2878015 w 5817335"/>
              <a:gd name="connsiteY54" fmla="*/ 510281 h 4179604"/>
              <a:gd name="connsiteX55" fmla="*/ 2883877 w 5817335"/>
              <a:gd name="connsiteY55" fmla="*/ 580620 h 4179604"/>
              <a:gd name="connsiteX56" fmla="*/ 3036277 w 5817335"/>
              <a:gd name="connsiteY56" fmla="*/ 891281 h 4179604"/>
              <a:gd name="connsiteX57" fmla="*/ 3100754 w 5817335"/>
              <a:gd name="connsiteY57" fmla="*/ 996789 h 4179604"/>
              <a:gd name="connsiteX58" fmla="*/ 3153508 w 5817335"/>
              <a:gd name="connsiteY58" fmla="*/ 1096435 h 4179604"/>
              <a:gd name="connsiteX59" fmla="*/ 3294185 w 5817335"/>
              <a:gd name="connsiteY59" fmla="*/ 1412958 h 4179604"/>
              <a:gd name="connsiteX60" fmla="*/ 3411415 w 5817335"/>
              <a:gd name="connsiteY60" fmla="*/ 1618112 h 4179604"/>
              <a:gd name="connsiteX61" fmla="*/ 3458308 w 5817335"/>
              <a:gd name="connsiteY61" fmla="*/ 1700173 h 4179604"/>
              <a:gd name="connsiteX62" fmla="*/ 3487615 w 5817335"/>
              <a:gd name="connsiteY62" fmla="*/ 1747066 h 4179604"/>
              <a:gd name="connsiteX63" fmla="*/ 3522785 w 5817335"/>
              <a:gd name="connsiteY63" fmla="*/ 1817404 h 4179604"/>
              <a:gd name="connsiteX64" fmla="*/ 3528646 w 5817335"/>
              <a:gd name="connsiteY64" fmla="*/ 1846712 h 4179604"/>
              <a:gd name="connsiteX65" fmla="*/ 3546231 w 5817335"/>
              <a:gd name="connsiteY65" fmla="*/ 1887743 h 4179604"/>
              <a:gd name="connsiteX66" fmla="*/ 3557954 w 5817335"/>
              <a:gd name="connsiteY66" fmla="*/ 1952220 h 4179604"/>
              <a:gd name="connsiteX67" fmla="*/ 3540369 w 5817335"/>
              <a:gd name="connsiteY67" fmla="*/ 2016696 h 4179604"/>
              <a:gd name="connsiteX68" fmla="*/ 3417277 w 5817335"/>
              <a:gd name="connsiteY68" fmla="*/ 2075312 h 4179604"/>
              <a:gd name="connsiteX69" fmla="*/ 3288323 w 5817335"/>
              <a:gd name="connsiteY69" fmla="*/ 1846712 h 4179604"/>
              <a:gd name="connsiteX70" fmla="*/ 3259015 w 5817335"/>
              <a:gd name="connsiteY70" fmla="*/ 1682589 h 4179604"/>
              <a:gd name="connsiteX71" fmla="*/ 3223846 w 5817335"/>
              <a:gd name="connsiteY71" fmla="*/ 1442266 h 4179604"/>
              <a:gd name="connsiteX72" fmla="*/ 3217985 w 5817335"/>
              <a:gd name="connsiteY72" fmla="*/ 1377789 h 4179604"/>
              <a:gd name="connsiteX73" fmla="*/ 3194538 w 5817335"/>
              <a:gd name="connsiteY73" fmla="*/ 1307450 h 4179604"/>
              <a:gd name="connsiteX74" fmla="*/ 3153508 w 5817335"/>
              <a:gd name="connsiteY74" fmla="*/ 1166773 h 4179604"/>
              <a:gd name="connsiteX75" fmla="*/ 3001108 w 5817335"/>
              <a:gd name="connsiteY75" fmla="*/ 867835 h 4179604"/>
              <a:gd name="connsiteX76" fmla="*/ 2965938 w 5817335"/>
              <a:gd name="connsiteY76" fmla="*/ 791635 h 4179604"/>
              <a:gd name="connsiteX77" fmla="*/ 2936631 w 5817335"/>
              <a:gd name="connsiteY77" fmla="*/ 721296 h 4179604"/>
              <a:gd name="connsiteX78" fmla="*/ 2924908 w 5817335"/>
              <a:gd name="connsiteY78" fmla="*/ 703712 h 4179604"/>
              <a:gd name="connsiteX79" fmla="*/ 2907323 w 5817335"/>
              <a:gd name="connsiteY79" fmla="*/ 633373 h 4179604"/>
              <a:gd name="connsiteX80" fmla="*/ 2889738 w 5817335"/>
              <a:gd name="connsiteY80" fmla="*/ 609927 h 4179604"/>
              <a:gd name="connsiteX81" fmla="*/ 2878015 w 5817335"/>
              <a:gd name="connsiteY81" fmla="*/ 451666 h 4179604"/>
              <a:gd name="connsiteX82" fmla="*/ 2866292 w 5817335"/>
              <a:gd name="connsiteY82" fmla="*/ 340296 h 4179604"/>
              <a:gd name="connsiteX83" fmla="*/ 2848708 w 5817335"/>
              <a:gd name="connsiteY83" fmla="*/ 240650 h 4179604"/>
              <a:gd name="connsiteX84" fmla="*/ 2784231 w 5817335"/>
              <a:gd name="connsiteY84" fmla="*/ 135143 h 4179604"/>
              <a:gd name="connsiteX85" fmla="*/ 2608385 w 5817335"/>
              <a:gd name="connsiteY85" fmla="*/ 64805 h 4179604"/>
              <a:gd name="connsiteX86" fmla="*/ 2573215 w 5817335"/>
              <a:gd name="connsiteY86" fmla="*/ 41358 h 4179604"/>
              <a:gd name="connsiteX87" fmla="*/ 2491154 w 5817335"/>
              <a:gd name="connsiteY87" fmla="*/ 327 h 4179604"/>
              <a:gd name="connsiteX88" fmla="*/ 2403231 w 5817335"/>
              <a:gd name="connsiteY88" fmla="*/ 23773 h 4179604"/>
              <a:gd name="connsiteX89" fmla="*/ 2356338 w 5817335"/>
              <a:gd name="connsiteY89" fmla="*/ 41358 h 4179604"/>
              <a:gd name="connsiteX90" fmla="*/ 2315308 w 5817335"/>
              <a:gd name="connsiteY90" fmla="*/ 47220 h 4179604"/>
              <a:gd name="connsiteX91" fmla="*/ 2268415 w 5817335"/>
              <a:gd name="connsiteY91" fmla="*/ 58943 h 4179604"/>
              <a:gd name="connsiteX92" fmla="*/ 2063261 w 5817335"/>
              <a:gd name="connsiteY92" fmla="*/ 53081 h 4179604"/>
              <a:gd name="connsiteX93" fmla="*/ 2010508 w 5817335"/>
              <a:gd name="connsiteY93" fmla="*/ 41358 h 4179604"/>
              <a:gd name="connsiteX94" fmla="*/ 1951892 w 5817335"/>
              <a:gd name="connsiteY94" fmla="*/ 29635 h 4179604"/>
              <a:gd name="connsiteX95" fmla="*/ 1471246 w 5817335"/>
              <a:gd name="connsiteY95" fmla="*/ 29635 h 4179604"/>
              <a:gd name="connsiteX96" fmla="*/ 779585 w 5817335"/>
              <a:gd name="connsiteY96" fmla="*/ 41358 h 4179604"/>
              <a:gd name="connsiteX97" fmla="*/ 726831 w 5817335"/>
              <a:gd name="connsiteY97" fmla="*/ 47220 h 4179604"/>
              <a:gd name="connsiteX98" fmla="*/ 656492 w 5817335"/>
              <a:gd name="connsiteY98" fmla="*/ 53081 h 4179604"/>
              <a:gd name="connsiteX99" fmla="*/ 621323 w 5817335"/>
              <a:gd name="connsiteY99" fmla="*/ 58943 h 4179604"/>
              <a:gd name="connsiteX100" fmla="*/ 486508 w 5817335"/>
              <a:gd name="connsiteY100" fmla="*/ 70666 h 4179604"/>
              <a:gd name="connsiteX101" fmla="*/ 357554 w 5817335"/>
              <a:gd name="connsiteY101" fmla="*/ 76527 h 4179604"/>
              <a:gd name="connsiteX102" fmla="*/ 322385 w 5817335"/>
              <a:gd name="connsiteY102" fmla="*/ 99973 h 4179604"/>
              <a:gd name="connsiteX103" fmla="*/ 193431 w 5817335"/>
              <a:gd name="connsiteY103" fmla="*/ 211343 h 4179604"/>
              <a:gd name="connsiteX104" fmla="*/ 99646 w 5817335"/>
              <a:gd name="connsiteY104" fmla="*/ 398912 h 4179604"/>
              <a:gd name="connsiteX105" fmla="*/ 0 w 5817335"/>
              <a:gd name="connsiteY105" fmla="*/ 1131604 h 4179604"/>
              <a:gd name="connsiteX106" fmla="*/ 17585 w 5817335"/>
              <a:gd name="connsiteY106" fmla="*/ 1928773 h 4179604"/>
              <a:gd name="connsiteX107" fmla="*/ 70338 w 5817335"/>
              <a:gd name="connsiteY107" fmla="*/ 2251158 h 4179604"/>
              <a:gd name="connsiteX108" fmla="*/ 123092 w 5817335"/>
              <a:gd name="connsiteY108" fmla="*/ 2473896 h 4179604"/>
              <a:gd name="connsiteX109" fmla="*/ 304800 w 5817335"/>
              <a:gd name="connsiteY109" fmla="*/ 2960404 h 4179604"/>
              <a:gd name="connsiteX110" fmla="*/ 568569 w 5817335"/>
              <a:gd name="connsiteY110" fmla="*/ 3364850 h 4179604"/>
              <a:gd name="connsiteX111" fmla="*/ 926123 w 5817335"/>
              <a:gd name="connsiteY111" fmla="*/ 3663789 h 4179604"/>
              <a:gd name="connsiteX112" fmla="*/ 1002323 w 5817335"/>
              <a:gd name="connsiteY112" fmla="*/ 3728266 h 4179604"/>
              <a:gd name="connsiteX113" fmla="*/ 1301261 w 5817335"/>
              <a:gd name="connsiteY113" fmla="*/ 3892389 h 4179604"/>
              <a:gd name="connsiteX114" fmla="*/ 1447800 w 5817335"/>
              <a:gd name="connsiteY114" fmla="*/ 3927558 h 4179604"/>
              <a:gd name="connsiteX115" fmla="*/ 1488831 w 5817335"/>
              <a:gd name="connsiteY115" fmla="*/ 3939281 h 4179604"/>
              <a:gd name="connsiteX116" fmla="*/ 1688123 w 5817335"/>
              <a:gd name="connsiteY116" fmla="*/ 3945143 h 4179604"/>
              <a:gd name="connsiteX117" fmla="*/ 1811215 w 5817335"/>
              <a:gd name="connsiteY117" fmla="*/ 3974450 h 4179604"/>
              <a:gd name="connsiteX118" fmla="*/ 1852246 w 5817335"/>
              <a:gd name="connsiteY118" fmla="*/ 3992035 h 4179604"/>
              <a:gd name="connsiteX119" fmla="*/ 1875692 w 5817335"/>
              <a:gd name="connsiteY119" fmla="*/ 4003758 h 4179604"/>
              <a:gd name="connsiteX120" fmla="*/ 1963615 w 5817335"/>
              <a:gd name="connsiteY120" fmla="*/ 4021343 h 4179604"/>
              <a:gd name="connsiteX121" fmla="*/ 2057400 w 5817335"/>
              <a:gd name="connsiteY121" fmla="*/ 4050650 h 4179604"/>
              <a:gd name="connsiteX122" fmla="*/ 2104292 w 5817335"/>
              <a:gd name="connsiteY122" fmla="*/ 4056512 h 4179604"/>
              <a:gd name="connsiteX123" fmla="*/ 2303585 w 5817335"/>
              <a:gd name="connsiteY123" fmla="*/ 4097543 h 4179604"/>
              <a:gd name="connsiteX124" fmla="*/ 2368061 w 5817335"/>
              <a:gd name="connsiteY124" fmla="*/ 4109266 h 4179604"/>
              <a:gd name="connsiteX125" fmla="*/ 2584938 w 5817335"/>
              <a:gd name="connsiteY125" fmla="*/ 4162020 h 4179604"/>
              <a:gd name="connsiteX126" fmla="*/ 2702169 w 5817335"/>
              <a:gd name="connsiteY126" fmla="*/ 4179604 h 4179604"/>
              <a:gd name="connsiteX127" fmla="*/ 2795954 w 5817335"/>
              <a:gd name="connsiteY127" fmla="*/ 4138573 h 4179604"/>
              <a:gd name="connsiteX128" fmla="*/ 2854569 w 5817335"/>
              <a:gd name="connsiteY128" fmla="*/ 4109266 h 4179604"/>
              <a:gd name="connsiteX129" fmla="*/ 3217985 w 5817335"/>
              <a:gd name="connsiteY129" fmla="*/ 4144435 h 4179604"/>
              <a:gd name="connsiteX130" fmla="*/ 3259015 w 5817335"/>
              <a:gd name="connsiteY130" fmla="*/ 4120989 h 4179604"/>
              <a:gd name="connsiteX131" fmla="*/ 3282461 w 5817335"/>
              <a:gd name="connsiteY131" fmla="*/ 4079958 h 4179604"/>
              <a:gd name="connsiteX132" fmla="*/ 3317631 w 5817335"/>
              <a:gd name="connsiteY132" fmla="*/ 4056512 h 4179604"/>
              <a:gd name="connsiteX133" fmla="*/ 3329354 w 5817335"/>
              <a:gd name="connsiteY133" fmla="*/ 4033066 h 4179604"/>
              <a:gd name="connsiteX134" fmla="*/ 3346938 w 5817335"/>
              <a:gd name="connsiteY134" fmla="*/ 4009620 h 4179604"/>
              <a:gd name="connsiteX135" fmla="*/ 3358661 w 5817335"/>
              <a:gd name="connsiteY135" fmla="*/ 3962727 h 4179604"/>
              <a:gd name="connsiteX136" fmla="*/ 3364523 w 5817335"/>
              <a:gd name="connsiteY136" fmla="*/ 3933420 h 4179604"/>
              <a:gd name="connsiteX137" fmla="*/ 3387969 w 5817335"/>
              <a:gd name="connsiteY137" fmla="*/ 3898250 h 4179604"/>
              <a:gd name="connsiteX138" fmla="*/ 3376246 w 5817335"/>
              <a:gd name="connsiteY138" fmla="*/ 3880666 h 4179604"/>
              <a:gd name="connsiteX139" fmla="*/ 3399692 w 5817335"/>
              <a:gd name="connsiteY139" fmla="*/ 3763435 h 4179604"/>
              <a:gd name="connsiteX140" fmla="*/ 3387969 w 5817335"/>
              <a:gd name="connsiteY140" fmla="*/ 3734127 h 4179604"/>
              <a:gd name="connsiteX141" fmla="*/ 3423138 w 5817335"/>
              <a:gd name="connsiteY141" fmla="*/ 3657927 h 4179604"/>
              <a:gd name="connsiteX142" fmla="*/ 3464169 w 5817335"/>
              <a:gd name="connsiteY142" fmla="*/ 3622758 h 4179604"/>
              <a:gd name="connsiteX143" fmla="*/ 3487616 w 5817335"/>
              <a:gd name="connsiteY143" fmla="*/ 3593451 h 4179604"/>
              <a:gd name="connsiteX144" fmla="*/ 3405553 w 5817335"/>
              <a:gd name="connsiteY144" fmla="*/ 3429327 h 4179604"/>
              <a:gd name="connsiteX145" fmla="*/ 3364523 w 5817335"/>
              <a:gd name="connsiteY145" fmla="*/ 3341404 h 4179604"/>
              <a:gd name="connsiteX146" fmla="*/ 3276600 w 5817335"/>
              <a:gd name="connsiteY146" fmla="*/ 3294512 h 4179604"/>
              <a:gd name="connsiteX147" fmla="*/ 3264877 w 5817335"/>
              <a:gd name="connsiteY147" fmla="*/ 3271066 h 4179604"/>
              <a:gd name="connsiteX148" fmla="*/ 3229708 w 5817335"/>
              <a:gd name="connsiteY148" fmla="*/ 3212450 h 4179604"/>
              <a:gd name="connsiteX149" fmla="*/ 3212123 w 5817335"/>
              <a:gd name="connsiteY149" fmla="*/ 3142112 h 4179604"/>
              <a:gd name="connsiteX150" fmla="*/ 3229708 w 5817335"/>
              <a:gd name="connsiteY150" fmla="*/ 2966266 h 4179604"/>
              <a:gd name="connsiteX151" fmla="*/ 3253154 w 5817335"/>
              <a:gd name="connsiteY151" fmla="*/ 2919373 h 4179604"/>
              <a:gd name="connsiteX152" fmla="*/ 3264877 w 5817335"/>
              <a:gd name="connsiteY152" fmla="*/ 2872481 h 4179604"/>
              <a:gd name="connsiteX153" fmla="*/ 3305908 w 5817335"/>
              <a:gd name="connsiteY153" fmla="*/ 2761112 h 4179604"/>
              <a:gd name="connsiteX154" fmla="*/ 3323492 w 5817335"/>
              <a:gd name="connsiteY154" fmla="*/ 2720081 h 4179604"/>
              <a:gd name="connsiteX155" fmla="*/ 3364523 w 5817335"/>
              <a:gd name="connsiteY155" fmla="*/ 2620435 h 4179604"/>
              <a:gd name="connsiteX156" fmla="*/ 3382108 w 5817335"/>
              <a:gd name="connsiteY156" fmla="*/ 2579404 h 4179604"/>
              <a:gd name="connsiteX157" fmla="*/ 3417277 w 5817335"/>
              <a:gd name="connsiteY157" fmla="*/ 2538373 h 4179604"/>
              <a:gd name="connsiteX158" fmla="*/ 3440723 w 5817335"/>
              <a:gd name="connsiteY158" fmla="*/ 2520789 h 4179604"/>
              <a:gd name="connsiteX159" fmla="*/ 3458308 w 5817335"/>
              <a:gd name="connsiteY159" fmla="*/ 2497343 h 4179604"/>
              <a:gd name="connsiteX160" fmla="*/ 3470031 w 5817335"/>
              <a:gd name="connsiteY160" fmla="*/ 2473896 h 4179604"/>
              <a:gd name="connsiteX161" fmla="*/ 3487615 w 5817335"/>
              <a:gd name="connsiteY161" fmla="*/ 2468035 h 4179604"/>
              <a:gd name="connsiteX162" fmla="*/ 3663461 w 5817335"/>
              <a:gd name="connsiteY162" fmla="*/ 2491481 h 4179604"/>
              <a:gd name="connsiteX163" fmla="*/ 3722077 w 5817335"/>
              <a:gd name="connsiteY163" fmla="*/ 2509066 h 4179604"/>
              <a:gd name="connsiteX164" fmla="*/ 3804138 w 5817335"/>
              <a:gd name="connsiteY164" fmla="*/ 2514927 h 4179604"/>
              <a:gd name="connsiteX165" fmla="*/ 4366846 w 5817335"/>
              <a:gd name="connsiteY165" fmla="*/ 2532512 h 4179604"/>
              <a:gd name="connsiteX166" fmla="*/ 4472354 w 5817335"/>
              <a:gd name="connsiteY166" fmla="*/ 2514927 h 4179604"/>
              <a:gd name="connsiteX167" fmla="*/ 4495800 w 5817335"/>
              <a:gd name="connsiteY167" fmla="*/ 2491481 h 4179604"/>
              <a:gd name="connsiteX168" fmla="*/ 4513385 w 5817335"/>
              <a:gd name="connsiteY168" fmla="*/ 2485620 h 4179604"/>
              <a:gd name="connsiteX169" fmla="*/ 4536831 w 5817335"/>
              <a:gd name="connsiteY169" fmla="*/ 2462173 h 4179604"/>
              <a:gd name="connsiteX170" fmla="*/ 4554415 w 5817335"/>
              <a:gd name="connsiteY170" fmla="*/ 2456312 h 4179604"/>
              <a:gd name="connsiteX171" fmla="*/ 4577861 w 5817335"/>
              <a:gd name="connsiteY171" fmla="*/ 2444589 h 4179604"/>
              <a:gd name="connsiteX172" fmla="*/ 4601308 w 5817335"/>
              <a:gd name="connsiteY172" fmla="*/ 2427004 h 4179604"/>
              <a:gd name="connsiteX173" fmla="*/ 4618892 w 5817335"/>
              <a:gd name="connsiteY173" fmla="*/ 2421143 h 4179604"/>
              <a:gd name="connsiteX174" fmla="*/ 4648200 w 5817335"/>
              <a:gd name="connsiteY174" fmla="*/ 2403558 h 4179604"/>
              <a:gd name="connsiteX175" fmla="*/ 4624754 w 5817335"/>
              <a:gd name="connsiteY175" fmla="*/ 2385973 h 4179604"/>
              <a:gd name="connsiteX0" fmla="*/ 4624754 w 5817335"/>
              <a:gd name="connsiteY0" fmla="*/ 2385973 h 4179604"/>
              <a:gd name="connsiteX1" fmla="*/ 4700954 w 5817335"/>
              <a:gd name="connsiteY1" fmla="*/ 2362527 h 4179604"/>
              <a:gd name="connsiteX2" fmla="*/ 4706815 w 5817335"/>
              <a:gd name="connsiteY2" fmla="*/ 2303912 h 4179604"/>
              <a:gd name="connsiteX3" fmla="*/ 4712677 w 5817335"/>
              <a:gd name="connsiteY3" fmla="*/ 2286327 h 4179604"/>
              <a:gd name="connsiteX4" fmla="*/ 4741985 w 5817335"/>
              <a:gd name="connsiteY4" fmla="*/ 2262881 h 4179604"/>
              <a:gd name="connsiteX5" fmla="*/ 4771292 w 5817335"/>
              <a:gd name="connsiteY5" fmla="*/ 2239435 h 4179604"/>
              <a:gd name="connsiteX6" fmla="*/ 4806461 w 5817335"/>
              <a:gd name="connsiteY6" fmla="*/ 2210127 h 4179604"/>
              <a:gd name="connsiteX7" fmla="*/ 4818185 w 5817335"/>
              <a:gd name="connsiteY7" fmla="*/ 2198404 h 4179604"/>
              <a:gd name="connsiteX8" fmla="*/ 4870938 w 5817335"/>
              <a:gd name="connsiteY8" fmla="*/ 2180820 h 4179604"/>
              <a:gd name="connsiteX9" fmla="*/ 4888523 w 5817335"/>
              <a:gd name="connsiteY9" fmla="*/ 2169096 h 4179604"/>
              <a:gd name="connsiteX10" fmla="*/ 4923692 w 5817335"/>
              <a:gd name="connsiteY10" fmla="*/ 2163235 h 4179604"/>
              <a:gd name="connsiteX11" fmla="*/ 4947138 w 5817335"/>
              <a:gd name="connsiteY11" fmla="*/ 2157373 h 4179604"/>
              <a:gd name="connsiteX12" fmla="*/ 5124816 w 5817335"/>
              <a:gd name="connsiteY12" fmla="*/ 2167265 h 4179604"/>
              <a:gd name="connsiteX13" fmla="*/ 5134708 w 5817335"/>
              <a:gd name="connsiteY13" fmla="*/ 2151511 h 4179604"/>
              <a:gd name="connsiteX14" fmla="*/ 5224462 w 5817335"/>
              <a:gd name="connsiteY14" fmla="*/ 2183385 h 4179604"/>
              <a:gd name="connsiteX15" fmla="*/ 5269523 w 5817335"/>
              <a:gd name="connsiteY15" fmla="*/ 2069450 h 4179604"/>
              <a:gd name="connsiteX16" fmla="*/ 5277948 w 5817335"/>
              <a:gd name="connsiteY16" fmla="*/ 2063589 h 4179604"/>
              <a:gd name="connsiteX17" fmla="*/ 5228492 w 5817335"/>
              <a:gd name="connsiteY17" fmla="*/ 2057728 h 4179604"/>
              <a:gd name="connsiteX18" fmla="*/ 5372518 w 5817335"/>
              <a:gd name="connsiteY18" fmla="*/ 1753765 h 4179604"/>
              <a:gd name="connsiteX19" fmla="*/ 5455418 w 5817335"/>
              <a:gd name="connsiteY19" fmla="*/ 1489158 h 4179604"/>
              <a:gd name="connsiteX20" fmla="*/ 5451231 w 5817335"/>
              <a:gd name="connsiteY20" fmla="*/ 1407096 h 4179604"/>
              <a:gd name="connsiteX21" fmla="*/ 5474677 w 5817335"/>
              <a:gd name="connsiteY21" fmla="*/ 1371927 h 4179604"/>
              <a:gd name="connsiteX22" fmla="*/ 5492261 w 5817335"/>
              <a:gd name="connsiteY22" fmla="*/ 1348481 h 4179604"/>
              <a:gd name="connsiteX23" fmla="*/ 5503985 w 5817335"/>
              <a:gd name="connsiteY23" fmla="*/ 1319173 h 4179604"/>
              <a:gd name="connsiteX24" fmla="*/ 5533292 w 5817335"/>
              <a:gd name="connsiteY24" fmla="*/ 1266420 h 4179604"/>
              <a:gd name="connsiteX25" fmla="*/ 5556738 w 5817335"/>
              <a:gd name="connsiteY25" fmla="*/ 1219527 h 4179604"/>
              <a:gd name="connsiteX26" fmla="*/ 5603631 w 5817335"/>
              <a:gd name="connsiteY26" fmla="*/ 1155050 h 4179604"/>
              <a:gd name="connsiteX27" fmla="*/ 5668108 w 5817335"/>
              <a:gd name="connsiteY27" fmla="*/ 1020235 h 4179604"/>
              <a:gd name="connsiteX28" fmla="*/ 5709138 w 5817335"/>
              <a:gd name="connsiteY28" fmla="*/ 926450 h 4179604"/>
              <a:gd name="connsiteX29" fmla="*/ 5732585 w 5817335"/>
              <a:gd name="connsiteY29" fmla="*/ 867835 h 4179604"/>
              <a:gd name="connsiteX30" fmla="*/ 5796696 w 5817335"/>
              <a:gd name="connsiteY30" fmla="*/ 646562 h 4179604"/>
              <a:gd name="connsiteX31" fmla="*/ 5793031 w 5817335"/>
              <a:gd name="connsiteY31" fmla="*/ 542154 h 4179604"/>
              <a:gd name="connsiteX32" fmla="*/ 5809517 w 5817335"/>
              <a:gd name="connsiteY32" fmla="*/ 523470 h 4179604"/>
              <a:gd name="connsiteX33" fmla="*/ 5805854 w 5817335"/>
              <a:gd name="connsiteY33" fmla="*/ 565600 h 4179604"/>
              <a:gd name="connsiteX34" fmla="*/ 5816477 w 5817335"/>
              <a:gd name="connsiteY34" fmla="*/ 300365 h 4179604"/>
              <a:gd name="connsiteX35" fmla="*/ 5779477 w 5817335"/>
              <a:gd name="connsiteY35" fmla="*/ 369604 h 4179604"/>
              <a:gd name="connsiteX36" fmla="*/ 5767754 w 5817335"/>
              <a:gd name="connsiteY36" fmla="*/ 141004 h 4179604"/>
              <a:gd name="connsiteX37" fmla="*/ 5761892 w 5817335"/>
              <a:gd name="connsiteY37" fmla="*/ 105835 h 4179604"/>
              <a:gd name="connsiteX38" fmla="*/ 5750169 w 5817335"/>
              <a:gd name="connsiteY38" fmla="*/ 88250 h 4179604"/>
              <a:gd name="connsiteX39" fmla="*/ 5744308 w 5817335"/>
              <a:gd name="connsiteY39" fmla="*/ 64804 h 4179604"/>
              <a:gd name="connsiteX40" fmla="*/ 5691554 w 5817335"/>
              <a:gd name="connsiteY40" fmla="*/ 70666 h 4179604"/>
              <a:gd name="connsiteX41" fmla="*/ 5615354 w 5817335"/>
              <a:gd name="connsiteY41" fmla="*/ 58943 h 4179604"/>
              <a:gd name="connsiteX42" fmla="*/ 5533292 w 5817335"/>
              <a:gd name="connsiteY42" fmla="*/ 29635 h 4179604"/>
              <a:gd name="connsiteX43" fmla="*/ 5492261 w 5817335"/>
              <a:gd name="connsiteY43" fmla="*/ 12050 h 4179604"/>
              <a:gd name="connsiteX44" fmla="*/ 5427785 w 5817335"/>
              <a:gd name="connsiteY44" fmla="*/ 327 h 4179604"/>
              <a:gd name="connsiteX45" fmla="*/ 5257800 w 5817335"/>
              <a:gd name="connsiteY45" fmla="*/ 12050 h 4179604"/>
              <a:gd name="connsiteX46" fmla="*/ 5122985 w 5817335"/>
              <a:gd name="connsiteY46" fmla="*/ 41358 h 4179604"/>
              <a:gd name="connsiteX47" fmla="*/ 5058508 w 5817335"/>
              <a:gd name="connsiteY47" fmla="*/ 47220 h 4179604"/>
              <a:gd name="connsiteX48" fmla="*/ 3552092 w 5817335"/>
              <a:gd name="connsiteY48" fmla="*/ 58943 h 4179604"/>
              <a:gd name="connsiteX49" fmla="*/ 3376246 w 5817335"/>
              <a:gd name="connsiteY49" fmla="*/ 70666 h 4179604"/>
              <a:gd name="connsiteX50" fmla="*/ 3124200 w 5817335"/>
              <a:gd name="connsiteY50" fmla="*/ 76527 h 4179604"/>
              <a:gd name="connsiteX51" fmla="*/ 3053861 w 5817335"/>
              <a:gd name="connsiteY51" fmla="*/ 111696 h 4179604"/>
              <a:gd name="connsiteX52" fmla="*/ 2995246 w 5817335"/>
              <a:gd name="connsiteY52" fmla="*/ 176173 h 4179604"/>
              <a:gd name="connsiteX53" fmla="*/ 2895600 w 5817335"/>
              <a:gd name="connsiteY53" fmla="*/ 357881 h 4179604"/>
              <a:gd name="connsiteX54" fmla="*/ 2878015 w 5817335"/>
              <a:gd name="connsiteY54" fmla="*/ 510281 h 4179604"/>
              <a:gd name="connsiteX55" fmla="*/ 2883877 w 5817335"/>
              <a:gd name="connsiteY55" fmla="*/ 580620 h 4179604"/>
              <a:gd name="connsiteX56" fmla="*/ 3036277 w 5817335"/>
              <a:gd name="connsiteY56" fmla="*/ 891281 h 4179604"/>
              <a:gd name="connsiteX57" fmla="*/ 3100754 w 5817335"/>
              <a:gd name="connsiteY57" fmla="*/ 996789 h 4179604"/>
              <a:gd name="connsiteX58" fmla="*/ 3153508 w 5817335"/>
              <a:gd name="connsiteY58" fmla="*/ 1096435 h 4179604"/>
              <a:gd name="connsiteX59" fmla="*/ 3294185 w 5817335"/>
              <a:gd name="connsiteY59" fmla="*/ 1412958 h 4179604"/>
              <a:gd name="connsiteX60" fmla="*/ 3411415 w 5817335"/>
              <a:gd name="connsiteY60" fmla="*/ 1618112 h 4179604"/>
              <a:gd name="connsiteX61" fmla="*/ 3458308 w 5817335"/>
              <a:gd name="connsiteY61" fmla="*/ 1700173 h 4179604"/>
              <a:gd name="connsiteX62" fmla="*/ 3487615 w 5817335"/>
              <a:gd name="connsiteY62" fmla="*/ 1747066 h 4179604"/>
              <a:gd name="connsiteX63" fmla="*/ 3522785 w 5817335"/>
              <a:gd name="connsiteY63" fmla="*/ 1817404 h 4179604"/>
              <a:gd name="connsiteX64" fmla="*/ 3528646 w 5817335"/>
              <a:gd name="connsiteY64" fmla="*/ 1846712 h 4179604"/>
              <a:gd name="connsiteX65" fmla="*/ 3546231 w 5817335"/>
              <a:gd name="connsiteY65" fmla="*/ 1887743 h 4179604"/>
              <a:gd name="connsiteX66" fmla="*/ 3557954 w 5817335"/>
              <a:gd name="connsiteY66" fmla="*/ 1952220 h 4179604"/>
              <a:gd name="connsiteX67" fmla="*/ 3540369 w 5817335"/>
              <a:gd name="connsiteY67" fmla="*/ 2016696 h 4179604"/>
              <a:gd name="connsiteX68" fmla="*/ 3417277 w 5817335"/>
              <a:gd name="connsiteY68" fmla="*/ 2075312 h 4179604"/>
              <a:gd name="connsiteX69" fmla="*/ 3288323 w 5817335"/>
              <a:gd name="connsiteY69" fmla="*/ 1846712 h 4179604"/>
              <a:gd name="connsiteX70" fmla="*/ 3259015 w 5817335"/>
              <a:gd name="connsiteY70" fmla="*/ 1682589 h 4179604"/>
              <a:gd name="connsiteX71" fmla="*/ 3223846 w 5817335"/>
              <a:gd name="connsiteY71" fmla="*/ 1442266 h 4179604"/>
              <a:gd name="connsiteX72" fmla="*/ 3217985 w 5817335"/>
              <a:gd name="connsiteY72" fmla="*/ 1377789 h 4179604"/>
              <a:gd name="connsiteX73" fmla="*/ 3194538 w 5817335"/>
              <a:gd name="connsiteY73" fmla="*/ 1307450 h 4179604"/>
              <a:gd name="connsiteX74" fmla="*/ 3153508 w 5817335"/>
              <a:gd name="connsiteY74" fmla="*/ 1166773 h 4179604"/>
              <a:gd name="connsiteX75" fmla="*/ 3001108 w 5817335"/>
              <a:gd name="connsiteY75" fmla="*/ 867835 h 4179604"/>
              <a:gd name="connsiteX76" fmla="*/ 2965938 w 5817335"/>
              <a:gd name="connsiteY76" fmla="*/ 791635 h 4179604"/>
              <a:gd name="connsiteX77" fmla="*/ 2936631 w 5817335"/>
              <a:gd name="connsiteY77" fmla="*/ 721296 h 4179604"/>
              <a:gd name="connsiteX78" fmla="*/ 2924908 w 5817335"/>
              <a:gd name="connsiteY78" fmla="*/ 703712 h 4179604"/>
              <a:gd name="connsiteX79" fmla="*/ 2907323 w 5817335"/>
              <a:gd name="connsiteY79" fmla="*/ 633373 h 4179604"/>
              <a:gd name="connsiteX80" fmla="*/ 2889738 w 5817335"/>
              <a:gd name="connsiteY80" fmla="*/ 609927 h 4179604"/>
              <a:gd name="connsiteX81" fmla="*/ 2878015 w 5817335"/>
              <a:gd name="connsiteY81" fmla="*/ 451666 h 4179604"/>
              <a:gd name="connsiteX82" fmla="*/ 2866292 w 5817335"/>
              <a:gd name="connsiteY82" fmla="*/ 340296 h 4179604"/>
              <a:gd name="connsiteX83" fmla="*/ 2848708 w 5817335"/>
              <a:gd name="connsiteY83" fmla="*/ 240650 h 4179604"/>
              <a:gd name="connsiteX84" fmla="*/ 2784231 w 5817335"/>
              <a:gd name="connsiteY84" fmla="*/ 135143 h 4179604"/>
              <a:gd name="connsiteX85" fmla="*/ 2608385 w 5817335"/>
              <a:gd name="connsiteY85" fmla="*/ 64805 h 4179604"/>
              <a:gd name="connsiteX86" fmla="*/ 2573215 w 5817335"/>
              <a:gd name="connsiteY86" fmla="*/ 41358 h 4179604"/>
              <a:gd name="connsiteX87" fmla="*/ 2491154 w 5817335"/>
              <a:gd name="connsiteY87" fmla="*/ 327 h 4179604"/>
              <a:gd name="connsiteX88" fmla="*/ 2403231 w 5817335"/>
              <a:gd name="connsiteY88" fmla="*/ 23773 h 4179604"/>
              <a:gd name="connsiteX89" fmla="*/ 2356338 w 5817335"/>
              <a:gd name="connsiteY89" fmla="*/ 41358 h 4179604"/>
              <a:gd name="connsiteX90" fmla="*/ 2315308 w 5817335"/>
              <a:gd name="connsiteY90" fmla="*/ 47220 h 4179604"/>
              <a:gd name="connsiteX91" fmla="*/ 2268415 w 5817335"/>
              <a:gd name="connsiteY91" fmla="*/ 58943 h 4179604"/>
              <a:gd name="connsiteX92" fmla="*/ 2063261 w 5817335"/>
              <a:gd name="connsiteY92" fmla="*/ 53081 h 4179604"/>
              <a:gd name="connsiteX93" fmla="*/ 2010508 w 5817335"/>
              <a:gd name="connsiteY93" fmla="*/ 41358 h 4179604"/>
              <a:gd name="connsiteX94" fmla="*/ 1951892 w 5817335"/>
              <a:gd name="connsiteY94" fmla="*/ 29635 h 4179604"/>
              <a:gd name="connsiteX95" fmla="*/ 1471246 w 5817335"/>
              <a:gd name="connsiteY95" fmla="*/ 29635 h 4179604"/>
              <a:gd name="connsiteX96" fmla="*/ 779585 w 5817335"/>
              <a:gd name="connsiteY96" fmla="*/ 41358 h 4179604"/>
              <a:gd name="connsiteX97" fmla="*/ 726831 w 5817335"/>
              <a:gd name="connsiteY97" fmla="*/ 47220 h 4179604"/>
              <a:gd name="connsiteX98" fmla="*/ 656492 w 5817335"/>
              <a:gd name="connsiteY98" fmla="*/ 53081 h 4179604"/>
              <a:gd name="connsiteX99" fmla="*/ 621323 w 5817335"/>
              <a:gd name="connsiteY99" fmla="*/ 58943 h 4179604"/>
              <a:gd name="connsiteX100" fmla="*/ 486508 w 5817335"/>
              <a:gd name="connsiteY100" fmla="*/ 70666 h 4179604"/>
              <a:gd name="connsiteX101" fmla="*/ 357554 w 5817335"/>
              <a:gd name="connsiteY101" fmla="*/ 76527 h 4179604"/>
              <a:gd name="connsiteX102" fmla="*/ 322385 w 5817335"/>
              <a:gd name="connsiteY102" fmla="*/ 99973 h 4179604"/>
              <a:gd name="connsiteX103" fmla="*/ 193431 w 5817335"/>
              <a:gd name="connsiteY103" fmla="*/ 211343 h 4179604"/>
              <a:gd name="connsiteX104" fmla="*/ 99646 w 5817335"/>
              <a:gd name="connsiteY104" fmla="*/ 398912 h 4179604"/>
              <a:gd name="connsiteX105" fmla="*/ 0 w 5817335"/>
              <a:gd name="connsiteY105" fmla="*/ 1131604 h 4179604"/>
              <a:gd name="connsiteX106" fmla="*/ 17585 w 5817335"/>
              <a:gd name="connsiteY106" fmla="*/ 1928773 h 4179604"/>
              <a:gd name="connsiteX107" fmla="*/ 70338 w 5817335"/>
              <a:gd name="connsiteY107" fmla="*/ 2251158 h 4179604"/>
              <a:gd name="connsiteX108" fmla="*/ 123092 w 5817335"/>
              <a:gd name="connsiteY108" fmla="*/ 2473896 h 4179604"/>
              <a:gd name="connsiteX109" fmla="*/ 304800 w 5817335"/>
              <a:gd name="connsiteY109" fmla="*/ 2960404 h 4179604"/>
              <a:gd name="connsiteX110" fmla="*/ 568569 w 5817335"/>
              <a:gd name="connsiteY110" fmla="*/ 3364850 h 4179604"/>
              <a:gd name="connsiteX111" fmla="*/ 926123 w 5817335"/>
              <a:gd name="connsiteY111" fmla="*/ 3663789 h 4179604"/>
              <a:gd name="connsiteX112" fmla="*/ 1002323 w 5817335"/>
              <a:gd name="connsiteY112" fmla="*/ 3728266 h 4179604"/>
              <a:gd name="connsiteX113" fmla="*/ 1301261 w 5817335"/>
              <a:gd name="connsiteY113" fmla="*/ 3892389 h 4179604"/>
              <a:gd name="connsiteX114" fmla="*/ 1447800 w 5817335"/>
              <a:gd name="connsiteY114" fmla="*/ 3927558 h 4179604"/>
              <a:gd name="connsiteX115" fmla="*/ 1488831 w 5817335"/>
              <a:gd name="connsiteY115" fmla="*/ 3939281 h 4179604"/>
              <a:gd name="connsiteX116" fmla="*/ 1688123 w 5817335"/>
              <a:gd name="connsiteY116" fmla="*/ 3945143 h 4179604"/>
              <a:gd name="connsiteX117" fmla="*/ 1811215 w 5817335"/>
              <a:gd name="connsiteY117" fmla="*/ 3974450 h 4179604"/>
              <a:gd name="connsiteX118" fmla="*/ 1852246 w 5817335"/>
              <a:gd name="connsiteY118" fmla="*/ 3992035 h 4179604"/>
              <a:gd name="connsiteX119" fmla="*/ 1875692 w 5817335"/>
              <a:gd name="connsiteY119" fmla="*/ 4003758 h 4179604"/>
              <a:gd name="connsiteX120" fmla="*/ 1963615 w 5817335"/>
              <a:gd name="connsiteY120" fmla="*/ 4021343 h 4179604"/>
              <a:gd name="connsiteX121" fmla="*/ 2057400 w 5817335"/>
              <a:gd name="connsiteY121" fmla="*/ 4050650 h 4179604"/>
              <a:gd name="connsiteX122" fmla="*/ 2104292 w 5817335"/>
              <a:gd name="connsiteY122" fmla="*/ 4056512 h 4179604"/>
              <a:gd name="connsiteX123" fmla="*/ 2303585 w 5817335"/>
              <a:gd name="connsiteY123" fmla="*/ 4097543 h 4179604"/>
              <a:gd name="connsiteX124" fmla="*/ 2368061 w 5817335"/>
              <a:gd name="connsiteY124" fmla="*/ 4109266 h 4179604"/>
              <a:gd name="connsiteX125" fmla="*/ 2584938 w 5817335"/>
              <a:gd name="connsiteY125" fmla="*/ 4162020 h 4179604"/>
              <a:gd name="connsiteX126" fmla="*/ 2702169 w 5817335"/>
              <a:gd name="connsiteY126" fmla="*/ 4179604 h 4179604"/>
              <a:gd name="connsiteX127" fmla="*/ 2795954 w 5817335"/>
              <a:gd name="connsiteY127" fmla="*/ 4138573 h 4179604"/>
              <a:gd name="connsiteX128" fmla="*/ 2854569 w 5817335"/>
              <a:gd name="connsiteY128" fmla="*/ 4109266 h 4179604"/>
              <a:gd name="connsiteX129" fmla="*/ 3217985 w 5817335"/>
              <a:gd name="connsiteY129" fmla="*/ 4144435 h 4179604"/>
              <a:gd name="connsiteX130" fmla="*/ 3259015 w 5817335"/>
              <a:gd name="connsiteY130" fmla="*/ 4120989 h 4179604"/>
              <a:gd name="connsiteX131" fmla="*/ 3282461 w 5817335"/>
              <a:gd name="connsiteY131" fmla="*/ 4079958 h 4179604"/>
              <a:gd name="connsiteX132" fmla="*/ 3317631 w 5817335"/>
              <a:gd name="connsiteY132" fmla="*/ 4056512 h 4179604"/>
              <a:gd name="connsiteX133" fmla="*/ 3329354 w 5817335"/>
              <a:gd name="connsiteY133" fmla="*/ 4033066 h 4179604"/>
              <a:gd name="connsiteX134" fmla="*/ 3346938 w 5817335"/>
              <a:gd name="connsiteY134" fmla="*/ 4009620 h 4179604"/>
              <a:gd name="connsiteX135" fmla="*/ 3358661 w 5817335"/>
              <a:gd name="connsiteY135" fmla="*/ 3962727 h 4179604"/>
              <a:gd name="connsiteX136" fmla="*/ 3364523 w 5817335"/>
              <a:gd name="connsiteY136" fmla="*/ 3933420 h 4179604"/>
              <a:gd name="connsiteX137" fmla="*/ 3387969 w 5817335"/>
              <a:gd name="connsiteY137" fmla="*/ 3898250 h 4179604"/>
              <a:gd name="connsiteX138" fmla="*/ 3371484 w 5817335"/>
              <a:gd name="connsiteY138" fmla="*/ 4028303 h 4179604"/>
              <a:gd name="connsiteX139" fmla="*/ 3399692 w 5817335"/>
              <a:gd name="connsiteY139" fmla="*/ 3763435 h 4179604"/>
              <a:gd name="connsiteX140" fmla="*/ 3387969 w 5817335"/>
              <a:gd name="connsiteY140" fmla="*/ 3734127 h 4179604"/>
              <a:gd name="connsiteX141" fmla="*/ 3423138 w 5817335"/>
              <a:gd name="connsiteY141" fmla="*/ 3657927 h 4179604"/>
              <a:gd name="connsiteX142" fmla="*/ 3464169 w 5817335"/>
              <a:gd name="connsiteY142" fmla="*/ 3622758 h 4179604"/>
              <a:gd name="connsiteX143" fmla="*/ 3487616 w 5817335"/>
              <a:gd name="connsiteY143" fmla="*/ 3593451 h 4179604"/>
              <a:gd name="connsiteX144" fmla="*/ 3405553 w 5817335"/>
              <a:gd name="connsiteY144" fmla="*/ 3429327 h 4179604"/>
              <a:gd name="connsiteX145" fmla="*/ 3364523 w 5817335"/>
              <a:gd name="connsiteY145" fmla="*/ 3341404 h 4179604"/>
              <a:gd name="connsiteX146" fmla="*/ 3276600 w 5817335"/>
              <a:gd name="connsiteY146" fmla="*/ 3294512 h 4179604"/>
              <a:gd name="connsiteX147" fmla="*/ 3264877 w 5817335"/>
              <a:gd name="connsiteY147" fmla="*/ 3271066 h 4179604"/>
              <a:gd name="connsiteX148" fmla="*/ 3229708 w 5817335"/>
              <a:gd name="connsiteY148" fmla="*/ 3212450 h 4179604"/>
              <a:gd name="connsiteX149" fmla="*/ 3212123 w 5817335"/>
              <a:gd name="connsiteY149" fmla="*/ 3142112 h 4179604"/>
              <a:gd name="connsiteX150" fmla="*/ 3229708 w 5817335"/>
              <a:gd name="connsiteY150" fmla="*/ 2966266 h 4179604"/>
              <a:gd name="connsiteX151" fmla="*/ 3253154 w 5817335"/>
              <a:gd name="connsiteY151" fmla="*/ 2919373 h 4179604"/>
              <a:gd name="connsiteX152" fmla="*/ 3264877 w 5817335"/>
              <a:gd name="connsiteY152" fmla="*/ 2872481 h 4179604"/>
              <a:gd name="connsiteX153" fmla="*/ 3305908 w 5817335"/>
              <a:gd name="connsiteY153" fmla="*/ 2761112 h 4179604"/>
              <a:gd name="connsiteX154" fmla="*/ 3323492 w 5817335"/>
              <a:gd name="connsiteY154" fmla="*/ 2720081 h 4179604"/>
              <a:gd name="connsiteX155" fmla="*/ 3364523 w 5817335"/>
              <a:gd name="connsiteY155" fmla="*/ 2620435 h 4179604"/>
              <a:gd name="connsiteX156" fmla="*/ 3382108 w 5817335"/>
              <a:gd name="connsiteY156" fmla="*/ 2579404 h 4179604"/>
              <a:gd name="connsiteX157" fmla="*/ 3417277 w 5817335"/>
              <a:gd name="connsiteY157" fmla="*/ 2538373 h 4179604"/>
              <a:gd name="connsiteX158" fmla="*/ 3440723 w 5817335"/>
              <a:gd name="connsiteY158" fmla="*/ 2520789 h 4179604"/>
              <a:gd name="connsiteX159" fmla="*/ 3458308 w 5817335"/>
              <a:gd name="connsiteY159" fmla="*/ 2497343 h 4179604"/>
              <a:gd name="connsiteX160" fmla="*/ 3470031 w 5817335"/>
              <a:gd name="connsiteY160" fmla="*/ 2473896 h 4179604"/>
              <a:gd name="connsiteX161" fmla="*/ 3487615 w 5817335"/>
              <a:gd name="connsiteY161" fmla="*/ 2468035 h 4179604"/>
              <a:gd name="connsiteX162" fmla="*/ 3663461 w 5817335"/>
              <a:gd name="connsiteY162" fmla="*/ 2491481 h 4179604"/>
              <a:gd name="connsiteX163" fmla="*/ 3722077 w 5817335"/>
              <a:gd name="connsiteY163" fmla="*/ 2509066 h 4179604"/>
              <a:gd name="connsiteX164" fmla="*/ 3804138 w 5817335"/>
              <a:gd name="connsiteY164" fmla="*/ 2514927 h 4179604"/>
              <a:gd name="connsiteX165" fmla="*/ 4366846 w 5817335"/>
              <a:gd name="connsiteY165" fmla="*/ 2532512 h 4179604"/>
              <a:gd name="connsiteX166" fmla="*/ 4472354 w 5817335"/>
              <a:gd name="connsiteY166" fmla="*/ 2514927 h 4179604"/>
              <a:gd name="connsiteX167" fmla="*/ 4495800 w 5817335"/>
              <a:gd name="connsiteY167" fmla="*/ 2491481 h 4179604"/>
              <a:gd name="connsiteX168" fmla="*/ 4513385 w 5817335"/>
              <a:gd name="connsiteY168" fmla="*/ 2485620 h 4179604"/>
              <a:gd name="connsiteX169" fmla="*/ 4536831 w 5817335"/>
              <a:gd name="connsiteY169" fmla="*/ 2462173 h 4179604"/>
              <a:gd name="connsiteX170" fmla="*/ 4554415 w 5817335"/>
              <a:gd name="connsiteY170" fmla="*/ 2456312 h 4179604"/>
              <a:gd name="connsiteX171" fmla="*/ 4577861 w 5817335"/>
              <a:gd name="connsiteY171" fmla="*/ 2444589 h 4179604"/>
              <a:gd name="connsiteX172" fmla="*/ 4601308 w 5817335"/>
              <a:gd name="connsiteY172" fmla="*/ 2427004 h 4179604"/>
              <a:gd name="connsiteX173" fmla="*/ 4618892 w 5817335"/>
              <a:gd name="connsiteY173" fmla="*/ 2421143 h 4179604"/>
              <a:gd name="connsiteX174" fmla="*/ 4648200 w 5817335"/>
              <a:gd name="connsiteY174" fmla="*/ 2403558 h 4179604"/>
              <a:gd name="connsiteX175" fmla="*/ 4624754 w 5817335"/>
              <a:gd name="connsiteY175" fmla="*/ 2385973 h 4179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5817335" h="4179604">
                <a:moveTo>
                  <a:pt x="4624754" y="2385973"/>
                </a:moveTo>
                <a:lnTo>
                  <a:pt x="4700954" y="2362527"/>
                </a:lnTo>
                <a:cubicBezTo>
                  <a:pt x="4702908" y="2342989"/>
                  <a:pt x="4703829" y="2323319"/>
                  <a:pt x="4706815" y="2303912"/>
                </a:cubicBezTo>
                <a:cubicBezTo>
                  <a:pt x="4707755" y="2297805"/>
                  <a:pt x="4708656" y="2291018"/>
                  <a:pt x="4712677" y="2286327"/>
                </a:cubicBezTo>
                <a:cubicBezTo>
                  <a:pt x="4720819" y="2276828"/>
                  <a:pt x="4733139" y="2271727"/>
                  <a:pt x="4741985" y="2262881"/>
                </a:cubicBezTo>
                <a:cubicBezTo>
                  <a:pt x="4768498" y="2236368"/>
                  <a:pt x="4737059" y="2250845"/>
                  <a:pt x="4771292" y="2239435"/>
                </a:cubicBezTo>
                <a:cubicBezTo>
                  <a:pt x="4813058" y="2197669"/>
                  <a:pt x="4765664" y="2242764"/>
                  <a:pt x="4806461" y="2210127"/>
                </a:cubicBezTo>
                <a:cubicBezTo>
                  <a:pt x="4810777" y="2206675"/>
                  <a:pt x="4813387" y="2201146"/>
                  <a:pt x="4818185" y="2198404"/>
                </a:cubicBezTo>
                <a:cubicBezTo>
                  <a:pt x="4835355" y="2188593"/>
                  <a:pt x="4852304" y="2185478"/>
                  <a:pt x="4870938" y="2180820"/>
                </a:cubicBezTo>
                <a:cubicBezTo>
                  <a:pt x="4876800" y="2176912"/>
                  <a:pt x="4881840" y="2171324"/>
                  <a:pt x="4888523" y="2169096"/>
                </a:cubicBezTo>
                <a:cubicBezTo>
                  <a:pt x="4899798" y="2165338"/>
                  <a:pt x="4912038" y="2165566"/>
                  <a:pt x="4923692" y="2163235"/>
                </a:cubicBezTo>
                <a:cubicBezTo>
                  <a:pt x="4931591" y="2161655"/>
                  <a:pt x="4939323" y="2159327"/>
                  <a:pt x="4947138" y="2157373"/>
                </a:cubicBezTo>
                <a:cubicBezTo>
                  <a:pt x="4997938" y="2159327"/>
                  <a:pt x="5093554" y="2168242"/>
                  <a:pt x="5124816" y="2167265"/>
                </a:cubicBezTo>
                <a:cubicBezTo>
                  <a:pt x="5156078" y="2166288"/>
                  <a:pt x="5121342" y="2147055"/>
                  <a:pt x="5134708" y="2151511"/>
                </a:cubicBezTo>
                <a:lnTo>
                  <a:pt x="5224462" y="2183385"/>
                </a:lnTo>
                <a:cubicBezTo>
                  <a:pt x="5239061" y="2182655"/>
                  <a:pt x="5260609" y="2089416"/>
                  <a:pt x="5269523" y="2069450"/>
                </a:cubicBezTo>
                <a:cubicBezTo>
                  <a:pt x="5278437" y="2049484"/>
                  <a:pt x="5284787" y="2065543"/>
                  <a:pt x="5277948" y="2063589"/>
                </a:cubicBezTo>
                <a:cubicBezTo>
                  <a:pt x="5271109" y="2061635"/>
                  <a:pt x="5222630" y="2063589"/>
                  <a:pt x="5228492" y="2057728"/>
                </a:cubicBezTo>
                <a:cubicBezTo>
                  <a:pt x="5276841" y="1840156"/>
                  <a:pt x="5346297" y="2337182"/>
                  <a:pt x="5372518" y="1753765"/>
                </a:cubicBezTo>
                <a:cubicBezTo>
                  <a:pt x="5373268" y="1737088"/>
                  <a:pt x="5442299" y="1546936"/>
                  <a:pt x="5455418" y="1489158"/>
                </a:cubicBezTo>
                <a:cubicBezTo>
                  <a:pt x="5468537" y="1431380"/>
                  <a:pt x="5448021" y="1426634"/>
                  <a:pt x="5451231" y="1407096"/>
                </a:cubicBezTo>
                <a:cubicBezTo>
                  <a:pt x="5454441" y="1387558"/>
                  <a:pt x="5466224" y="1383199"/>
                  <a:pt x="5474677" y="1371927"/>
                </a:cubicBezTo>
                <a:cubicBezTo>
                  <a:pt x="5480538" y="1364112"/>
                  <a:pt x="5487517" y="1357021"/>
                  <a:pt x="5492261" y="1348481"/>
                </a:cubicBezTo>
                <a:cubicBezTo>
                  <a:pt x="5497371" y="1339283"/>
                  <a:pt x="5499279" y="1328584"/>
                  <a:pt x="5503985" y="1319173"/>
                </a:cubicBezTo>
                <a:cubicBezTo>
                  <a:pt x="5512981" y="1301181"/>
                  <a:pt x="5523880" y="1284198"/>
                  <a:pt x="5533292" y="1266420"/>
                </a:cubicBezTo>
                <a:cubicBezTo>
                  <a:pt x="5541469" y="1250975"/>
                  <a:pt x="5547406" y="1234303"/>
                  <a:pt x="5556738" y="1219527"/>
                </a:cubicBezTo>
                <a:cubicBezTo>
                  <a:pt x="5570929" y="1197058"/>
                  <a:pt x="5590083" y="1177912"/>
                  <a:pt x="5603631" y="1155050"/>
                </a:cubicBezTo>
                <a:cubicBezTo>
                  <a:pt x="5651230" y="1074728"/>
                  <a:pt x="5639287" y="1081994"/>
                  <a:pt x="5668108" y="1020235"/>
                </a:cubicBezTo>
                <a:cubicBezTo>
                  <a:pt x="5765654" y="811210"/>
                  <a:pt x="5621765" y="1130322"/>
                  <a:pt x="5709138" y="926450"/>
                </a:cubicBezTo>
                <a:cubicBezTo>
                  <a:pt x="5734565" y="867119"/>
                  <a:pt x="5720938" y="914419"/>
                  <a:pt x="5732585" y="867835"/>
                </a:cubicBezTo>
                <a:cubicBezTo>
                  <a:pt x="5736493" y="762327"/>
                  <a:pt x="5786622" y="700842"/>
                  <a:pt x="5796696" y="646562"/>
                </a:cubicBezTo>
                <a:cubicBezTo>
                  <a:pt x="5806770" y="592282"/>
                  <a:pt x="5790894" y="562669"/>
                  <a:pt x="5793031" y="542154"/>
                </a:cubicBezTo>
                <a:cubicBezTo>
                  <a:pt x="5795168" y="521639"/>
                  <a:pt x="5805609" y="531285"/>
                  <a:pt x="5809517" y="523470"/>
                </a:cubicBezTo>
                <a:cubicBezTo>
                  <a:pt x="5811471" y="513701"/>
                  <a:pt x="5804694" y="602784"/>
                  <a:pt x="5805854" y="565600"/>
                </a:cubicBezTo>
                <a:cubicBezTo>
                  <a:pt x="5807014" y="528416"/>
                  <a:pt x="5820873" y="333031"/>
                  <a:pt x="5816477" y="300365"/>
                </a:cubicBezTo>
                <a:cubicBezTo>
                  <a:pt x="5812081" y="267699"/>
                  <a:pt x="5777523" y="398912"/>
                  <a:pt x="5779477" y="369604"/>
                </a:cubicBezTo>
                <a:cubicBezTo>
                  <a:pt x="5775569" y="293404"/>
                  <a:pt x="5772830" y="217135"/>
                  <a:pt x="5767754" y="141004"/>
                </a:cubicBezTo>
                <a:cubicBezTo>
                  <a:pt x="5766963" y="129146"/>
                  <a:pt x="5765650" y="117110"/>
                  <a:pt x="5761892" y="105835"/>
                </a:cubicBezTo>
                <a:cubicBezTo>
                  <a:pt x="5759664" y="99152"/>
                  <a:pt x="5754077" y="94112"/>
                  <a:pt x="5750169" y="88250"/>
                </a:cubicBezTo>
                <a:cubicBezTo>
                  <a:pt x="5748215" y="80435"/>
                  <a:pt x="5752024" y="67119"/>
                  <a:pt x="5744308" y="64804"/>
                </a:cubicBezTo>
                <a:cubicBezTo>
                  <a:pt x="5727361" y="59720"/>
                  <a:pt x="5709229" y="71469"/>
                  <a:pt x="5691554" y="70666"/>
                </a:cubicBezTo>
                <a:cubicBezTo>
                  <a:pt x="5665882" y="69499"/>
                  <a:pt x="5640754" y="62851"/>
                  <a:pt x="5615354" y="58943"/>
                </a:cubicBezTo>
                <a:cubicBezTo>
                  <a:pt x="5503359" y="10944"/>
                  <a:pt x="5643969" y="69163"/>
                  <a:pt x="5533292" y="29635"/>
                </a:cubicBezTo>
                <a:cubicBezTo>
                  <a:pt x="5519279" y="24630"/>
                  <a:pt x="5506598" y="16033"/>
                  <a:pt x="5492261" y="12050"/>
                </a:cubicBezTo>
                <a:cubicBezTo>
                  <a:pt x="5471214" y="6203"/>
                  <a:pt x="5449277" y="4235"/>
                  <a:pt x="5427785" y="327"/>
                </a:cubicBezTo>
                <a:cubicBezTo>
                  <a:pt x="5371123" y="4235"/>
                  <a:pt x="5314314" y="6399"/>
                  <a:pt x="5257800" y="12050"/>
                </a:cubicBezTo>
                <a:cubicBezTo>
                  <a:pt x="5182071" y="19623"/>
                  <a:pt x="5200658" y="27849"/>
                  <a:pt x="5122985" y="41358"/>
                </a:cubicBezTo>
                <a:cubicBezTo>
                  <a:pt x="5101723" y="45056"/>
                  <a:pt x="5080088" y="46978"/>
                  <a:pt x="5058508" y="47220"/>
                </a:cubicBezTo>
                <a:lnTo>
                  <a:pt x="3552092" y="58943"/>
                </a:lnTo>
                <a:lnTo>
                  <a:pt x="3376246" y="70666"/>
                </a:lnTo>
                <a:cubicBezTo>
                  <a:pt x="3292256" y="73513"/>
                  <a:pt x="3208215" y="74573"/>
                  <a:pt x="3124200" y="76527"/>
                </a:cubicBezTo>
                <a:cubicBezTo>
                  <a:pt x="3100754" y="88250"/>
                  <a:pt x="3074604" y="95668"/>
                  <a:pt x="3053861" y="111696"/>
                </a:cubicBezTo>
                <a:cubicBezTo>
                  <a:pt x="3030877" y="129456"/>
                  <a:pt x="3012821" y="153048"/>
                  <a:pt x="2995246" y="176173"/>
                </a:cubicBezTo>
                <a:cubicBezTo>
                  <a:pt x="2944153" y="243401"/>
                  <a:pt x="2932054" y="280416"/>
                  <a:pt x="2895600" y="357881"/>
                </a:cubicBezTo>
                <a:cubicBezTo>
                  <a:pt x="2884063" y="421335"/>
                  <a:pt x="2878015" y="440796"/>
                  <a:pt x="2878015" y="510281"/>
                </a:cubicBezTo>
                <a:cubicBezTo>
                  <a:pt x="2878015" y="533809"/>
                  <a:pt x="2878356" y="557749"/>
                  <a:pt x="2883877" y="580620"/>
                </a:cubicBezTo>
                <a:cubicBezTo>
                  <a:pt x="2910616" y="691395"/>
                  <a:pt x="2982374" y="797385"/>
                  <a:pt x="3036277" y="891281"/>
                </a:cubicBezTo>
                <a:cubicBezTo>
                  <a:pt x="3056797" y="927026"/>
                  <a:pt x="3081469" y="960362"/>
                  <a:pt x="3100754" y="996789"/>
                </a:cubicBezTo>
                <a:cubicBezTo>
                  <a:pt x="3118339" y="1030004"/>
                  <a:pt x="3138085" y="1062162"/>
                  <a:pt x="3153508" y="1096435"/>
                </a:cubicBezTo>
                <a:cubicBezTo>
                  <a:pt x="3265319" y="1344906"/>
                  <a:pt x="3137082" y="1116706"/>
                  <a:pt x="3294185" y="1412958"/>
                </a:cubicBezTo>
                <a:cubicBezTo>
                  <a:pt x="3331085" y="1482541"/>
                  <a:pt x="3372338" y="1549727"/>
                  <a:pt x="3411415" y="1618112"/>
                </a:cubicBezTo>
                <a:cubicBezTo>
                  <a:pt x="3427046" y="1645466"/>
                  <a:pt x="3442281" y="1673050"/>
                  <a:pt x="3458308" y="1700173"/>
                </a:cubicBezTo>
                <a:cubicBezTo>
                  <a:pt x="3467685" y="1716042"/>
                  <a:pt x="3479371" y="1730579"/>
                  <a:pt x="3487615" y="1747066"/>
                </a:cubicBezTo>
                <a:lnTo>
                  <a:pt x="3522785" y="1817404"/>
                </a:lnTo>
                <a:cubicBezTo>
                  <a:pt x="3524739" y="1827173"/>
                  <a:pt x="3525496" y="1837260"/>
                  <a:pt x="3528646" y="1846712"/>
                </a:cubicBezTo>
                <a:cubicBezTo>
                  <a:pt x="3533351" y="1860829"/>
                  <a:pt x="3542248" y="1873406"/>
                  <a:pt x="3546231" y="1887743"/>
                </a:cubicBezTo>
                <a:cubicBezTo>
                  <a:pt x="3552078" y="1908791"/>
                  <a:pt x="3554046" y="1930728"/>
                  <a:pt x="3557954" y="1952220"/>
                </a:cubicBezTo>
                <a:cubicBezTo>
                  <a:pt x="3552092" y="1973712"/>
                  <a:pt x="3554718" y="1999656"/>
                  <a:pt x="3540369" y="2016696"/>
                </a:cubicBezTo>
                <a:cubicBezTo>
                  <a:pt x="3505321" y="2058315"/>
                  <a:pt x="3463459" y="2063767"/>
                  <a:pt x="3417277" y="2075312"/>
                </a:cubicBezTo>
                <a:cubicBezTo>
                  <a:pt x="3356046" y="1987840"/>
                  <a:pt x="3316629" y="1949048"/>
                  <a:pt x="3288323" y="1846712"/>
                </a:cubicBezTo>
                <a:cubicBezTo>
                  <a:pt x="3273508" y="1793150"/>
                  <a:pt x="3268151" y="1737406"/>
                  <a:pt x="3259015" y="1682589"/>
                </a:cubicBezTo>
                <a:cubicBezTo>
                  <a:pt x="3250395" y="1630872"/>
                  <a:pt x="3231246" y="1506406"/>
                  <a:pt x="3223846" y="1442266"/>
                </a:cubicBezTo>
                <a:cubicBezTo>
                  <a:pt x="3221372" y="1420827"/>
                  <a:pt x="3222569" y="1398877"/>
                  <a:pt x="3217985" y="1377789"/>
                </a:cubicBezTo>
                <a:cubicBezTo>
                  <a:pt x="3212735" y="1353638"/>
                  <a:pt x="3201458" y="1331176"/>
                  <a:pt x="3194538" y="1307450"/>
                </a:cubicBezTo>
                <a:cubicBezTo>
                  <a:pt x="3172818" y="1232983"/>
                  <a:pt x="3182696" y="1239742"/>
                  <a:pt x="3153508" y="1166773"/>
                </a:cubicBezTo>
                <a:cubicBezTo>
                  <a:pt x="3121758" y="1087398"/>
                  <a:pt x="3015659" y="896378"/>
                  <a:pt x="3001108" y="867835"/>
                </a:cubicBezTo>
                <a:cubicBezTo>
                  <a:pt x="2988402" y="842912"/>
                  <a:pt x="2975760" y="817829"/>
                  <a:pt x="2965938" y="791635"/>
                </a:cubicBezTo>
                <a:cubicBezTo>
                  <a:pt x="2955285" y="763227"/>
                  <a:pt x="2950585" y="745716"/>
                  <a:pt x="2936631" y="721296"/>
                </a:cubicBezTo>
                <a:cubicBezTo>
                  <a:pt x="2933136" y="715180"/>
                  <a:pt x="2928816" y="709573"/>
                  <a:pt x="2924908" y="703712"/>
                </a:cubicBezTo>
                <a:cubicBezTo>
                  <a:pt x="2920959" y="683969"/>
                  <a:pt x="2915068" y="650413"/>
                  <a:pt x="2907323" y="633373"/>
                </a:cubicBezTo>
                <a:cubicBezTo>
                  <a:pt x="2903280" y="624479"/>
                  <a:pt x="2895600" y="617742"/>
                  <a:pt x="2889738" y="609927"/>
                </a:cubicBezTo>
                <a:cubicBezTo>
                  <a:pt x="2885830" y="557173"/>
                  <a:pt x="2882178" y="504400"/>
                  <a:pt x="2878015" y="451666"/>
                </a:cubicBezTo>
                <a:cubicBezTo>
                  <a:pt x="2875809" y="423724"/>
                  <a:pt x="2871122" y="370484"/>
                  <a:pt x="2866292" y="340296"/>
                </a:cubicBezTo>
                <a:cubicBezTo>
                  <a:pt x="2860963" y="306991"/>
                  <a:pt x="2861234" y="271966"/>
                  <a:pt x="2848708" y="240650"/>
                </a:cubicBezTo>
                <a:cubicBezTo>
                  <a:pt x="2833401" y="202382"/>
                  <a:pt x="2824285" y="164450"/>
                  <a:pt x="2784231" y="135143"/>
                </a:cubicBezTo>
                <a:cubicBezTo>
                  <a:pt x="2744177" y="105836"/>
                  <a:pt x="2685636" y="122742"/>
                  <a:pt x="2608385" y="64805"/>
                </a:cubicBezTo>
                <a:cubicBezTo>
                  <a:pt x="2600570" y="68713"/>
                  <a:pt x="2592753" y="52104"/>
                  <a:pt x="2573215" y="41358"/>
                </a:cubicBezTo>
                <a:cubicBezTo>
                  <a:pt x="2553677" y="30612"/>
                  <a:pt x="2519485" y="3258"/>
                  <a:pt x="2491154" y="327"/>
                </a:cubicBezTo>
                <a:cubicBezTo>
                  <a:pt x="2462823" y="-2604"/>
                  <a:pt x="2432249" y="14942"/>
                  <a:pt x="2403231" y="23773"/>
                </a:cubicBezTo>
                <a:cubicBezTo>
                  <a:pt x="2387260" y="28634"/>
                  <a:pt x="2372468" y="37056"/>
                  <a:pt x="2356338" y="41358"/>
                </a:cubicBezTo>
                <a:cubicBezTo>
                  <a:pt x="2342989" y="44918"/>
                  <a:pt x="2328855" y="44510"/>
                  <a:pt x="2315308" y="47220"/>
                </a:cubicBezTo>
                <a:cubicBezTo>
                  <a:pt x="2299509" y="50380"/>
                  <a:pt x="2284046" y="55035"/>
                  <a:pt x="2268415" y="58943"/>
                </a:cubicBezTo>
                <a:cubicBezTo>
                  <a:pt x="2200030" y="56989"/>
                  <a:pt x="2131515" y="57735"/>
                  <a:pt x="2063261" y="53081"/>
                </a:cubicBezTo>
                <a:cubicBezTo>
                  <a:pt x="2045289" y="51856"/>
                  <a:pt x="2028135" y="45069"/>
                  <a:pt x="2010508" y="41358"/>
                </a:cubicBezTo>
                <a:cubicBezTo>
                  <a:pt x="1991010" y="37253"/>
                  <a:pt x="1971431" y="33543"/>
                  <a:pt x="1951892" y="29635"/>
                </a:cubicBezTo>
                <a:cubicBezTo>
                  <a:pt x="1482580" y="45277"/>
                  <a:pt x="2167193" y="25541"/>
                  <a:pt x="1471246" y="29635"/>
                </a:cubicBezTo>
                <a:cubicBezTo>
                  <a:pt x="1240663" y="30991"/>
                  <a:pt x="1010139" y="37450"/>
                  <a:pt x="779585" y="41358"/>
                </a:cubicBezTo>
                <a:lnTo>
                  <a:pt x="726831" y="47220"/>
                </a:lnTo>
                <a:cubicBezTo>
                  <a:pt x="703409" y="49451"/>
                  <a:pt x="679876" y="50483"/>
                  <a:pt x="656492" y="53081"/>
                </a:cubicBezTo>
                <a:cubicBezTo>
                  <a:pt x="644680" y="54393"/>
                  <a:pt x="633145" y="57720"/>
                  <a:pt x="621323" y="58943"/>
                </a:cubicBezTo>
                <a:cubicBezTo>
                  <a:pt x="576455" y="63585"/>
                  <a:pt x="531516" y="67666"/>
                  <a:pt x="486508" y="70666"/>
                </a:cubicBezTo>
                <a:cubicBezTo>
                  <a:pt x="443574" y="73528"/>
                  <a:pt x="400539" y="74573"/>
                  <a:pt x="357554" y="76527"/>
                </a:cubicBezTo>
                <a:cubicBezTo>
                  <a:pt x="345831" y="84342"/>
                  <a:pt x="333577" y="91414"/>
                  <a:pt x="322385" y="99973"/>
                </a:cubicBezTo>
                <a:cubicBezTo>
                  <a:pt x="267633" y="141843"/>
                  <a:pt x="244770" y="164671"/>
                  <a:pt x="193431" y="211343"/>
                </a:cubicBezTo>
                <a:cubicBezTo>
                  <a:pt x="162169" y="273866"/>
                  <a:pt x="120661" y="332243"/>
                  <a:pt x="99646" y="398912"/>
                </a:cubicBezTo>
                <a:cubicBezTo>
                  <a:pt x="7883" y="690021"/>
                  <a:pt x="18741" y="827057"/>
                  <a:pt x="0" y="1131604"/>
                </a:cubicBezTo>
                <a:cubicBezTo>
                  <a:pt x="5862" y="1397327"/>
                  <a:pt x="919" y="1663508"/>
                  <a:pt x="17585" y="1928773"/>
                </a:cubicBezTo>
                <a:cubicBezTo>
                  <a:pt x="24413" y="2037450"/>
                  <a:pt x="49646" y="2144251"/>
                  <a:pt x="70338" y="2251158"/>
                </a:cubicBezTo>
                <a:cubicBezTo>
                  <a:pt x="84837" y="2326068"/>
                  <a:pt x="103016" y="2400285"/>
                  <a:pt x="123092" y="2473896"/>
                </a:cubicBezTo>
                <a:cubicBezTo>
                  <a:pt x="172437" y="2654828"/>
                  <a:pt x="218829" y="2790416"/>
                  <a:pt x="304800" y="2960404"/>
                </a:cubicBezTo>
                <a:cubicBezTo>
                  <a:pt x="367548" y="3084475"/>
                  <a:pt x="468587" y="3256359"/>
                  <a:pt x="568569" y="3364850"/>
                </a:cubicBezTo>
                <a:cubicBezTo>
                  <a:pt x="687500" y="3493903"/>
                  <a:pt x="786847" y="3554146"/>
                  <a:pt x="926123" y="3663789"/>
                </a:cubicBezTo>
                <a:cubicBezTo>
                  <a:pt x="952267" y="3684370"/>
                  <a:pt x="976236" y="3707613"/>
                  <a:pt x="1002323" y="3728266"/>
                </a:cubicBezTo>
                <a:cubicBezTo>
                  <a:pt x="1084675" y="3793461"/>
                  <a:pt x="1216606" y="3872072"/>
                  <a:pt x="1301261" y="3892389"/>
                </a:cubicBezTo>
                <a:lnTo>
                  <a:pt x="1447800" y="3927558"/>
                </a:lnTo>
                <a:cubicBezTo>
                  <a:pt x="1461600" y="3931008"/>
                  <a:pt x="1474645" y="3938243"/>
                  <a:pt x="1488831" y="3939281"/>
                </a:cubicBezTo>
                <a:cubicBezTo>
                  <a:pt x="1555113" y="3944131"/>
                  <a:pt x="1621692" y="3943189"/>
                  <a:pt x="1688123" y="3945143"/>
                </a:cubicBezTo>
                <a:cubicBezTo>
                  <a:pt x="1729154" y="3954912"/>
                  <a:pt x="1770660" y="3962863"/>
                  <a:pt x="1811215" y="3974450"/>
                </a:cubicBezTo>
                <a:cubicBezTo>
                  <a:pt x="1825523" y="3978538"/>
                  <a:pt x="1838700" y="3985877"/>
                  <a:pt x="1852246" y="3992035"/>
                </a:cubicBezTo>
                <a:cubicBezTo>
                  <a:pt x="1860201" y="3995651"/>
                  <a:pt x="1867242" y="4001534"/>
                  <a:pt x="1875692" y="4003758"/>
                </a:cubicBezTo>
                <a:cubicBezTo>
                  <a:pt x="1904596" y="4011364"/>
                  <a:pt x="1934675" y="4013875"/>
                  <a:pt x="1963615" y="4021343"/>
                </a:cubicBezTo>
                <a:cubicBezTo>
                  <a:pt x="1995329" y="4029527"/>
                  <a:pt x="2025625" y="4042706"/>
                  <a:pt x="2057400" y="4050650"/>
                </a:cubicBezTo>
                <a:cubicBezTo>
                  <a:pt x="2072682" y="4054470"/>
                  <a:pt x="2088818" y="4053565"/>
                  <a:pt x="2104292" y="4056512"/>
                </a:cubicBezTo>
                <a:cubicBezTo>
                  <a:pt x="2170918" y="4069203"/>
                  <a:pt x="2237078" y="4084242"/>
                  <a:pt x="2303585" y="4097543"/>
                </a:cubicBezTo>
                <a:cubicBezTo>
                  <a:pt x="2325005" y="4101827"/>
                  <a:pt x="2347338" y="4102358"/>
                  <a:pt x="2368061" y="4109266"/>
                </a:cubicBezTo>
                <a:cubicBezTo>
                  <a:pt x="2446192" y="4135309"/>
                  <a:pt x="2471305" y="4144976"/>
                  <a:pt x="2584938" y="4162020"/>
                </a:cubicBezTo>
                <a:lnTo>
                  <a:pt x="2702169" y="4179604"/>
                </a:lnTo>
                <a:cubicBezTo>
                  <a:pt x="2845173" y="4122403"/>
                  <a:pt x="2696983" y="4183561"/>
                  <a:pt x="2795954" y="4138573"/>
                </a:cubicBezTo>
                <a:cubicBezTo>
                  <a:pt x="2850801" y="4113642"/>
                  <a:pt x="2800038" y="4141983"/>
                  <a:pt x="2854569" y="4109266"/>
                </a:cubicBezTo>
                <a:cubicBezTo>
                  <a:pt x="2980488" y="4130699"/>
                  <a:pt x="3094455" y="4178125"/>
                  <a:pt x="3217985" y="4144435"/>
                </a:cubicBezTo>
                <a:cubicBezTo>
                  <a:pt x="3233182" y="4140290"/>
                  <a:pt x="3245338" y="4128804"/>
                  <a:pt x="3259015" y="4120989"/>
                </a:cubicBezTo>
                <a:cubicBezTo>
                  <a:pt x="3262470" y="4114079"/>
                  <a:pt x="3275097" y="4086401"/>
                  <a:pt x="3282461" y="4079958"/>
                </a:cubicBezTo>
                <a:cubicBezTo>
                  <a:pt x="3293065" y="4070680"/>
                  <a:pt x="3317631" y="4056512"/>
                  <a:pt x="3317631" y="4056512"/>
                </a:cubicBezTo>
                <a:cubicBezTo>
                  <a:pt x="3321539" y="4048697"/>
                  <a:pt x="3324723" y="4040476"/>
                  <a:pt x="3329354" y="4033066"/>
                </a:cubicBezTo>
                <a:cubicBezTo>
                  <a:pt x="3334532" y="4024782"/>
                  <a:pt x="3343181" y="4018638"/>
                  <a:pt x="3346938" y="4009620"/>
                </a:cubicBezTo>
                <a:cubicBezTo>
                  <a:pt x="3353135" y="3994747"/>
                  <a:pt x="3355038" y="3978426"/>
                  <a:pt x="3358661" y="3962727"/>
                </a:cubicBezTo>
                <a:cubicBezTo>
                  <a:pt x="3360901" y="3953020"/>
                  <a:pt x="3360400" y="3942490"/>
                  <a:pt x="3364523" y="3933420"/>
                </a:cubicBezTo>
                <a:cubicBezTo>
                  <a:pt x="3370353" y="3920593"/>
                  <a:pt x="3386809" y="3882436"/>
                  <a:pt x="3387969" y="3898250"/>
                </a:cubicBezTo>
                <a:cubicBezTo>
                  <a:pt x="3389129" y="3914064"/>
                  <a:pt x="3370621" y="4038228"/>
                  <a:pt x="3371484" y="4028303"/>
                </a:cubicBezTo>
                <a:cubicBezTo>
                  <a:pt x="3374535" y="3993212"/>
                  <a:pt x="3396945" y="3812464"/>
                  <a:pt x="3399692" y="3763435"/>
                </a:cubicBezTo>
                <a:cubicBezTo>
                  <a:pt x="3402440" y="3714406"/>
                  <a:pt x="3382107" y="3743896"/>
                  <a:pt x="3387969" y="3734127"/>
                </a:cubicBezTo>
                <a:cubicBezTo>
                  <a:pt x="3389923" y="3708727"/>
                  <a:pt x="3410438" y="3676489"/>
                  <a:pt x="3423138" y="3657927"/>
                </a:cubicBezTo>
                <a:cubicBezTo>
                  <a:pt x="3435838" y="3639366"/>
                  <a:pt x="3453423" y="3633504"/>
                  <a:pt x="3464169" y="3622758"/>
                </a:cubicBezTo>
                <a:cubicBezTo>
                  <a:pt x="3474915" y="3612012"/>
                  <a:pt x="3481754" y="3601266"/>
                  <a:pt x="3487616" y="3593451"/>
                </a:cubicBezTo>
                <a:cubicBezTo>
                  <a:pt x="3508130" y="3511394"/>
                  <a:pt x="3426068" y="3471335"/>
                  <a:pt x="3405553" y="3429327"/>
                </a:cubicBezTo>
                <a:cubicBezTo>
                  <a:pt x="3385038" y="3387319"/>
                  <a:pt x="3393831" y="3343358"/>
                  <a:pt x="3364523" y="3341404"/>
                </a:cubicBezTo>
                <a:cubicBezTo>
                  <a:pt x="3324823" y="3328171"/>
                  <a:pt x="3313094" y="3327688"/>
                  <a:pt x="3276600" y="3294512"/>
                </a:cubicBezTo>
                <a:cubicBezTo>
                  <a:pt x="3270135" y="3288634"/>
                  <a:pt x="3269212" y="3278653"/>
                  <a:pt x="3264877" y="3271066"/>
                </a:cubicBezTo>
                <a:cubicBezTo>
                  <a:pt x="3253572" y="3251282"/>
                  <a:pt x="3229708" y="3212450"/>
                  <a:pt x="3229708" y="3212450"/>
                </a:cubicBezTo>
                <a:cubicBezTo>
                  <a:pt x="3223846" y="3189004"/>
                  <a:pt x="3213542" y="3166238"/>
                  <a:pt x="3212123" y="3142112"/>
                </a:cubicBezTo>
                <a:cubicBezTo>
                  <a:pt x="3209654" y="3100135"/>
                  <a:pt x="3210942" y="3016308"/>
                  <a:pt x="3229708" y="2966266"/>
                </a:cubicBezTo>
                <a:cubicBezTo>
                  <a:pt x="3235844" y="2949903"/>
                  <a:pt x="3247018" y="2935736"/>
                  <a:pt x="3253154" y="2919373"/>
                </a:cubicBezTo>
                <a:cubicBezTo>
                  <a:pt x="3258811" y="2904287"/>
                  <a:pt x="3259782" y="2887766"/>
                  <a:pt x="3264877" y="2872481"/>
                </a:cubicBezTo>
                <a:cubicBezTo>
                  <a:pt x="3277388" y="2834949"/>
                  <a:pt x="3290324" y="2797476"/>
                  <a:pt x="3305908" y="2761112"/>
                </a:cubicBezTo>
                <a:cubicBezTo>
                  <a:pt x="3311769" y="2747435"/>
                  <a:pt x="3318267" y="2734014"/>
                  <a:pt x="3323492" y="2720081"/>
                </a:cubicBezTo>
                <a:cubicBezTo>
                  <a:pt x="3370484" y="2594767"/>
                  <a:pt x="3310273" y="2736685"/>
                  <a:pt x="3364523" y="2620435"/>
                </a:cubicBezTo>
                <a:cubicBezTo>
                  <a:pt x="3370816" y="2606951"/>
                  <a:pt x="3374983" y="2592467"/>
                  <a:pt x="3382108" y="2579404"/>
                </a:cubicBezTo>
                <a:cubicBezTo>
                  <a:pt x="3388888" y="2566973"/>
                  <a:pt x="3406172" y="2547891"/>
                  <a:pt x="3417277" y="2538373"/>
                </a:cubicBezTo>
                <a:cubicBezTo>
                  <a:pt x="3424694" y="2532015"/>
                  <a:pt x="3433815" y="2527697"/>
                  <a:pt x="3440723" y="2520789"/>
                </a:cubicBezTo>
                <a:cubicBezTo>
                  <a:pt x="3447631" y="2513881"/>
                  <a:pt x="3453130" y="2505627"/>
                  <a:pt x="3458308" y="2497343"/>
                </a:cubicBezTo>
                <a:cubicBezTo>
                  <a:pt x="3462939" y="2489933"/>
                  <a:pt x="3463852" y="2480075"/>
                  <a:pt x="3470031" y="2473896"/>
                </a:cubicBezTo>
                <a:cubicBezTo>
                  <a:pt x="3474400" y="2469527"/>
                  <a:pt x="3481754" y="2469989"/>
                  <a:pt x="3487615" y="2468035"/>
                </a:cubicBezTo>
                <a:cubicBezTo>
                  <a:pt x="3567782" y="2474201"/>
                  <a:pt x="3578001" y="2472489"/>
                  <a:pt x="3663461" y="2491481"/>
                </a:cubicBezTo>
                <a:cubicBezTo>
                  <a:pt x="3683374" y="2495906"/>
                  <a:pt x="3701956" y="2505712"/>
                  <a:pt x="3722077" y="2509066"/>
                </a:cubicBezTo>
                <a:cubicBezTo>
                  <a:pt x="3749127" y="2513574"/>
                  <a:pt x="3776733" y="2513930"/>
                  <a:pt x="3804138" y="2514927"/>
                </a:cubicBezTo>
                <a:lnTo>
                  <a:pt x="4366846" y="2532512"/>
                </a:lnTo>
                <a:cubicBezTo>
                  <a:pt x="4402015" y="2526650"/>
                  <a:pt x="4438378" y="2525738"/>
                  <a:pt x="4472354" y="2514927"/>
                </a:cubicBezTo>
                <a:cubicBezTo>
                  <a:pt x="4482886" y="2511576"/>
                  <a:pt x="4486806" y="2497905"/>
                  <a:pt x="4495800" y="2491481"/>
                </a:cubicBezTo>
                <a:cubicBezTo>
                  <a:pt x="4500828" y="2487890"/>
                  <a:pt x="4507523" y="2487574"/>
                  <a:pt x="4513385" y="2485620"/>
                </a:cubicBezTo>
                <a:cubicBezTo>
                  <a:pt x="4521200" y="2477804"/>
                  <a:pt x="4527837" y="2468597"/>
                  <a:pt x="4536831" y="2462173"/>
                </a:cubicBezTo>
                <a:cubicBezTo>
                  <a:pt x="4541858" y="2458582"/>
                  <a:pt x="4548736" y="2458746"/>
                  <a:pt x="4554415" y="2456312"/>
                </a:cubicBezTo>
                <a:cubicBezTo>
                  <a:pt x="4562446" y="2452870"/>
                  <a:pt x="4570451" y="2449220"/>
                  <a:pt x="4577861" y="2444589"/>
                </a:cubicBezTo>
                <a:cubicBezTo>
                  <a:pt x="4586146" y="2439411"/>
                  <a:pt x="4592826" y="2431851"/>
                  <a:pt x="4601308" y="2427004"/>
                </a:cubicBezTo>
                <a:cubicBezTo>
                  <a:pt x="4606672" y="2423939"/>
                  <a:pt x="4613366" y="2423906"/>
                  <a:pt x="4618892" y="2421143"/>
                </a:cubicBezTo>
                <a:cubicBezTo>
                  <a:pt x="4629082" y="2416048"/>
                  <a:pt x="4638431" y="2409420"/>
                  <a:pt x="4648200" y="2403558"/>
                </a:cubicBezTo>
                <a:cubicBezTo>
                  <a:pt x="4668256" y="2363446"/>
                  <a:pt x="4615962" y="2392811"/>
                  <a:pt x="4624754" y="2385973"/>
                </a:cubicBezTo>
                <a:close/>
              </a:path>
            </a:pathLst>
          </a:custGeom>
          <a:solidFill>
            <a:srgbClr val="13132D">
              <a:alpha val="56863"/>
            </a:srgbClr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dirty="0" err="1"/>
          </a:p>
        </p:txBody>
      </p:sp>
      <p:pic>
        <p:nvPicPr>
          <p:cNvPr id="5144" name="Picture 5143">
            <a:extLst>
              <a:ext uri="{FF2B5EF4-FFF2-40B4-BE49-F238E27FC236}">
                <a16:creationId xmlns:a16="http://schemas.microsoft.com/office/drawing/2014/main" id="{E7A56CA0-5A9F-F590-8A09-D0D7FC485B7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973836" y="269499"/>
            <a:ext cx="746655" cy="746655"/>
          </a:xfrm>
          <a:prstGeom prst="rect">
            <a:avLst/>
          </a:prstGeom>
          <a:effectLst>
            <a:glow rad="76200">
              <a:schemeClr val="bg1"/>
            </a:glow>
          </a:effectLst>
        </p:spPr>
      </p:pic>
    </p:spTree>
    <p:extLst>
      <p:ext uri="{BB962C8B-B14F-4D97-AF65-F5344CB8AC3E}">
        <p14:creationId xmlns:p14="http://schemas.microsoft.com/office/powerpoint/2010/main" val="3036355279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5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5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5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5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5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5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5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5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5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5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36" grpId="0" animBg="1"/>
      <p:bldP spid="5136" grpId="1" animBg="1"/>
      <p:bldP spid="5137" grpId="0" animBg="1"/>
      <p:bldP spid="5137" grpId="1" animBg="1"/>
      <p:bldP spid="5138" grpId="0" animBg="1"/>
      <p:bldP spid="5138" grpId="1" animBg="1"/>
      <p:bldP spid="5139" grpId="0" animBg="1"/>
      <p:bldP spid="5139" grpId="1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31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5" name="Parallelogram 7194">
            <a:extLst>
              <a:ext uri="{FF2B5EF4-FFF2-40B4-BE49-F238E27FC236}">
                <a16:creationId xmlns:a16="http://schemas.microsoft.com/office/drawing/2014/main" id="{7BB6E3AA-EFF6-A2D0-DA3D-CA03DF372898}"/>
              </a:ext>
            </a:extLst>
          </p:cNvPr>
          <p:cNvSpPr/>
          <p:nvPr/>
        </p:nvSpPr>
        <p:spPr bwMode="auto">
          <a:xfrm>
            <a:off x="5815982" y="3024129"/>
            <a:ext cx="1972077" cy="618736"/>
          </a:xfrm>
          <a:prstGeom prst="parallelogram">
            <a:avLst/>
          </a:prstGeom>
          <a:solidFill>
            <a:srgbClr val="BDE3ED"/>
          </a:solidFill>
          <a:ln w="38100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462F0D-0667-0641-986B-9ACDAE579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462F0D-0667-0641-986B-9ACDAE579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8F92D29D-B629-4D8F-A5E6-F51B9BFDAA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bg1"/>
                </a:solidFill>
              </a:rPr>
              <a:t>Classification: PUBLIC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9F11A7-3B14-466B-ABB0-9AE773AC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ja-JP" dirty="0">
                <a:solidFill>
                  <a:schemeClr val="bg1"/>
                </a:solidFill>
              </a:rPr>
              <a:t>(near)Future plans: bringing together predictions and reaction data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A9BA59CD-38E2-4A16-AF15-58BC88EBAB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de-DE" smtClean="0">
                <a:solidFill>
                  <a:schemeClr val="bg1"/>
                </a:solidFill>
              </a:rPr>
              <a:pPr/>
              <a:t>15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122" name="Graphic 5121">
            <a:extLst>
              <a:ext uri="{FF2B5EF4-FFF2-40B4-BE49-F238E27FC236}">
                <a16:creationId xmlns:a16="http://schemas.microsoft.com/office/drawing/2014/main" id="{9CEF06BE-2A0B-55A3-F9E4-2EE7B98C0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8215" y="6432615"/>
            <a:ext cx="1109670" cy="366259"/>
          </a:xfrm>
          <a:prstGeom prst="rect">
            <a:avLst/>
          </a:prstGeom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3BF9D66-2F11-2CB4-CE44-C092DA0912AA}"/>
              </a:ext>
            </a:extLst>
          </p:cNvPr>
          <p:cNvSpPr txBox="1"/>
          <p:nvPr/>
        </p:nvSpPr>
        <p:spPr bwMode="auto">
          <a:xfrm>
            <a:off x="1004798" y="3787666"/>
            <a:ext cx="268316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effectLst/>
              </a:rPr>
              <a:t>Schwaller</a:t>
            </a:r>
            <a:r>
              <a:rPr lang="en-US" dirty="0">
                <a:solidFill>
                  <a:schemeClr val="bg1"/>
                </a:solidFill>
                <a:effectLst/>
              </a:rPr>
              <a:t>, P.; </a:t>
            </a:r>
            <a:r>
              <a:rPr lang="en-US" dirty="0" err="1">
                <a:solidFill>
                  <a:schemeClr val="bg1"/>
                </a:solidFill>
                <a:effectLst/>
              </a:rPr>
              <a:t>Laino</a:t>
            </a:r>
            <a:r>
              <a:rPr lang="en-US" dirty="0">
                <a:solidFill>
                  <a:schemeClr val="bg1"/>
                </a:solidFill>
                <a:effectLst/>
              </a:rPr>
              <a:t>, T.; Gaudin, T.; </a:t>
            </a:r>
            <a:r>
              <a:rPr lang="en-US" dirty="0" err="1">
                <a:solidFill>
                  <a:schemeClr val="bg1"/>
                </a:solidFill>
                <a:effectLst/>
              </a:rPr>
              <a:t>Bolgar</a:t>
            </a:r>
            <a:r>
              <a:rPr lang="en-US" dirty="0">
                <a:solidFill>
                  <a:schemeClr val="bg1"/>
                </a:solidFill>
                <a:effectLst/>
              </a:rPr>
              <a:t>, P.; Hunter, C. A.; Bekas, C.; Lee, A. A. </a:t>
            </a:r>
            <a:r>
              <a:rPr lang="en-US" i="1" dirty="0">
                <a:solidFill>
                  <a:schemeClr val="bg1"/>
                </a:solidFill>
                <a:effectLst/>
              </a:rPr>
              <a:t>ACS Cent. Sci.</a:t>
            </a:r>
            <a:r>
              <a:rPr lang="en-US" dirty="0">
                <a:solidFill>
                  <a:schemeClr val="bg1"/>
                </a:solidFill>
                <a:effectLst/>
              </a:rPr>
              <a:t> </a:t>
            </a:r>
            <a:r>
              <a:rPr lang="en-US" b="1" dirty="0">
                <a:solidFill>
                  <a:schemeClr val="bg1"/>
                </a:solidFill>
                <a:effectLst/>
              </a:rPr>
              <a:t>2019</a:t>
            </a:r>
            <a:r>
              <a:rPr lang="en-US" dirty="0">
                <a:solidFill>
                  <a:schemeClr val="bg1"/>
                </a:solidFill>
                <a:effectLst/>
              </a:rPr>
              <a:t>, </a:t>
            </a:r>
            <a:r>
              <a:rPr lang="en-US" i="1" dirty="0">
                <a:solidFill>
                  <a:schemeClr val="bg1"/>
                </a:solidFill>
                <a:effectLst/>
              </a:rPr>
              <a:t>5</a:t>
            </a:r>
            <a:r>
              <a:rPr lang="en-US" dirty="0">
                <a:solidFill>
                  <a:schemeClr val="bg1"/>
                </a:solidFill>
                <a:effectLst/>
              </a:rPr>
              <a:t> (9), 1572–1583.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テキスト ボックス 12">
            <a:extLst>
              <a:ext uri="{FF2B5EF4-FFF2-40B4-BE49-F238E27FC236}">
                <a16:creationId xmlns:a16="http://schemas.microsoft.com/office/drawing/2014/main" id="{CEC1D1F8-DC91-5D8C-33EF-518728AEEF64}"/>
              </a:ext>
            </a:extLst>
          </p:cNvPr>
          <p:cNvSpPr txBox="1"/>
          <p:nvPr/>
        </p:nvSpPr>
        <p:spPr bwMode="auto">
          <a:xfrm>
            <a:off x="396131" y="1547648"/>
            <a:ext cx="3777936" cy="310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External innovation &amp; collaborations</a:t>
            </a:r>
          </a:p>
        </p:txBody>
      </p:sp>
      <p:sp>
        <p:nvSpPr>
          <p:cNvPr id="16" name="テキスト ボックス 16">
            <a:extLst>
              <a:ext uri="{FF2B5EF4-FFF2-40B4-BE49-F238E27FC236}">
                <a16:creationId xmlns:a16="http://schemas.microsoft.com/office/drawing/2014/main" id="{98CD65E0-5581-90F0-6971-2435CF764C18}"/>
              </a:ext>
            </a:extLst>
          </p:cNvPr>
          <p:cNvSpPr txBox="1"/>
          <p:nvPr/>
        </p:nvSpPr>
        <p:spPr bwMode="auto">
          <a:xfrm>
            <a:off x="1041999" y="3104236"/>
            <a:ext cx="280044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dirty="0" err="1">
                <a:solidFill>
                  <a:schemeClr val="bg1"/>
                </a:solidFill>
                <a:effectLst/>
              </a:rPr>
              <a:t>Genheden</a:t>
            </a:r>
            <a:r>
              <a:rPr lang="en-US" dirty="0">
                <a:solidFill>
                  <a:schemeClr val="bg1"/>
                </a:solidFill>
                <a:effectLst/>
              </a:rPr>
              <a:t>, S.; Thakkar, A.; </a:t>
            </a:r>
            <a:r>
              <a:rPr lang="en-US" dirty="0" err="1">
                <a:solidFill>
                  <a:schemeClr val="bg1"/>
                </a:solidFill>
                <a:effectLst/>
              </a:rPr>
              <a:t>Chadimová</a:t>
            </a:r>
            <a:r>
              <a:rPr lang="en-US" dirty="0">
                <a:solidFill>
                  <a:schemeClr val="bg1"/>
                </a:solidFill>
                <a:effectLst/>
              </a:rPr>
              <a:t>, V.; Reymond, J. L.; </a:t>
            </a:r>
            <a:r>
              <a:rPr lang="en-US" dirty="0" err="1">
                <a:solidFill>
                  <a:schemeClr val="bg1"/>
                </a:solidFill>
                <a:effectLst/>
              </a:rPr>
              <a:t>Engkvist</a:t>
            </a:r>
            <a:r>
              <a:rPr lang="en-US" dirty="0">
                <a:solidFill>
                  <a:schemeClr val="bg1"/>
                </a:solidFill>
                <a:effectLst/>
              </a:rPr>
              <a:t>, O.; Bjerrum, E.. </a:t>
            </a:r>
            <a:r>
              <a:rPr lang="en-US" i="1" dirty="0">
                <a:solidFill>
                  <a:schemeClr val="bg1"/>
                </a:solidFill>
                <a:effectLst/>
              </a:rPr>
              <a:t>J. </a:t>
            </a:r>
            <a:r>
              <a:rPr lang="en-US" i="1" dirty="0" err="1">
                <a:solidFill>
                  <a:schemeClr val="bg1"/>
                </a:solidFill>
                <a:effectLst/>
              </a:rPr>
              <a:t>Cheminform</a:t>
            </a:r>
            <a:r>
              <a:rPr lang="en-US" i="1" dirty="0">
                <a:solidFill>
                  <a:schemeClr val="bg1"/>
                </a:solidFill>
                <a:effectLst/>
              </a:rPr>
              <a:t>.</a:t>
            </a:r>
            <a:r>
              <a:rPr lang="en-US" dirty="0">
                <a:solidFill>
                  <a:schemeClr val="bg1"/>
                </a:solidFill>
                <a:effectLst/>
              </a:rPr>
              <a:t> </a:t>
            </a:r>
            <a:r>
              <a:rPr lang="en-US" b="1" dirty="0">
                <a:solidFill>
                  <a:schemeClr val="bg1"/>
                </a:solidFill>
                <a:effectLst/>
              </a:rPr>
              <a:t>2020</a:t>
            </a:r>
            <a:r>
              <a:rPr lang="en-US" dirty="0">
                <a:solidFill>
                  <a:schemeClr val="bg1"/>
                </a:solidFill>
                <a:effectLst/>
              </a:rPr>
              <a:t>, </a:t>
            </a:r>
            <a:r>
              <a:rPr lang="en-US" i="1" dirty="0">
                <a:solidFill>
                  <a:schemeClr val="bg1"/>
                </a:solidFill>
                <a:effectLst/>
              </a:rPr>
              <a:t>12</a:t>
            </a:r>
            <a:r>
              <a:rPr lang="en-US" dirty="0">
                <a:solidFill>
                  <a:schemeClr val="bg1"/>
                </a:solidFill>
                <a:effectLst/>
              </a:rPr>
              <a:t> (1)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ED3493AB-9C1D-69E4-885C-FB34EB52412B}"/>
              </a:ext>
            </a:extLst>
          </p:cNvPr>
          <p:cNvSpPr txBox="1"/>
          <p:nvPr/>
        </p:nvSpPr>
        <p:spPr bwMode="auto">
          <a:xfrm>
            <a:off x="1041999" y="2463004"/>
            <a:ext cx="266930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effectLst/>
              </a:rPr>
              <a:t>Coley, C. W.; </a:t>
            </a:r>
            <a:r>
              <a:rPr lang="en-US" dirty="0" err="1">
                <a:solidFill>
                  <a:schemeClr val="bg1"/>
                </a:solidFill>
                <a:effectLst/>
              </a:rPr>
              <a:t>Barzilay</a:t>
            </a:r>
            <a:r>
              <a:rPr lang="en-US" dirty="0">
                <a:solidFill>
                  <a:schemeClr val="bg1"/>
                </a:solidFill>
                <a:effectLst/>
              </a:rPr>
              <a:t>, R.; </a:t>
            </a:r>
            <a:r>
              <a:rPr lang="en-US" dirty="0" err="1">
                <a:solidFill>
                  <a:schemeClr val="bg1"/>
                </a:solidFill>
                <a:effectLst/>
              </a:rPr>
              <a:t>Jaakkola</a:t>
            </a:r>
            <a:r>
              <a:rPr lang="en-US" dirty="0">
                <a:solidFill>
                  <a:schemeClr val="bg1"/>
                </a:solidFill>
                <a:effectLst/>
              </a:rPr>
              <a:t>, T. S.; Green, W. H.; Jensen, K. F, </a:t>
            </a:r>
            <a:r>
              <a:rPr lang="en-US" i="1" dirty="0">
                <a:solidFill>
                  <a:schemeClr val="bg1"/>
                </a:solidFill>
                <a:effectLst/>
              </a:rPr>
              <a:t>ACS Cent. Sci.</a:t>
            </a:r>
            <a:r>
              <a:rPr lang="en-US" dirty="0">
                <a:solidFill>
                  <a:schemeClr val="bg1"/>
                </a:solidFill>
                <a:effectLst/>
              </a:rPr>
              <a:t> </a:t>
            </a:r>
            <a:r>
              <a:rPr lang="en-US" b="1" dirty="0">
                <a:solidFill>
                  <a:schemeClr val="bg1"/>
                </a:solidFill>
                <a:effectLst/>
              </a:rPr>
              <a:t>2017</a:t>
            </a:r>
            <a:r>
              <a:rPr lang="en-US" dirty="0">
                <a:solidFill>
                  <a:schemeClr val="bg1"/>
                </a:solidFill>
                <a:effectLst/>
              </a:rPr>
              <a:t>, </a:t>
            </a:r>
            <a:r>
              <a:rPr lang="en-US" i="1" dirty="0">
                <a:solidFill>
                  <a:schemeClr val="bg1"/>
                </a:solidFill>
                <a:effectLst/>
              </a:rPr>
              <a:t>3</a:t>
            </a:r>
            <a:r>
              <a:rPr lang="en-US" dirty="0">
                <a:solidFill>
                  <a:schemeClr val="bg1"/>
                </a:solidFill>
                <a:effectLst/>
              </a:rPr>
              <a:t> (5), 434–443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B97DAA89-F963-E9CB-E327-57225B3F05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37"/>
          <a:stretch/>
        </p:blipFill>
        <p:spPr bwMode="auto">
          <a:xfrm>
            <a:off x="5849590" y="2438403"/>
            <a:ext cx="476675" cy="452890"/>
          </a:xfrm>
          <a:prstGeom prst="rect">
            <a:avLst/>
          </a:prstGeom>
          <a:noFill/>
          <a:effectLst>
            <a:glow rad="762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1" name="Picture 5130">
            <a:extLst>
              <a:ext uri="{FF2B5EF4-FFF2-40B4-BE49-F238E27FC236}">
                <a16:creationId xmlns:a16="http://schemas.microsoft.com/office/drawing/2014/main" id="{20A6BC25-6BDB-3341-C497-649848AAB5A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4" y="3165796"/>
            <a:ext cx="981075" cy="371475"/>
          </a:xfrm>
          <a:prstGeom prst="rect">
            <a:avLst/>
          </a:prstGeom>
          <a:effectLst>
            <a:glow rad="76200">
              <a:schemeClr val="bg1"/>
            </a:glow>
          </a:effectLst>
        </p:spPr>
      </p:pic>
      <p:pic>
        <p:nvPicPr>
          <p:cNvPr id="7172" name="Picture 4">
            <a:extLst>
              <a:ext uri="{FF2B5EF4-FFF2-40B4-BE49-F238E27FC236}">
                <a16:creationId xmlns:a16="http://schemas.microsoft.com/office/drawing/2014/main" id="{A798776B-5F42-7870-A52F-1076B0BDDE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201" y="3897856"/>
            <a:ext cx="690519" cy="276999"/>
          </a:xfrm>
          <a:prstGeom prst="rect">
            <a:avLst/>
          </a:prstGeom>
          <a:noFill/>
          <a:effectLst>
            <a:glow rad="76200">
              <a:schemeClr val="bg1"/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3" name="Picture 5132" descr="A logo of a brain&#10;&#10;Description automatically generated">
            <a:extLst>
              <a:ext uri="{FF2B5EF4-FFF2-40B4-BE49-F238E27FC236}">
                <a16:creationId xmlns:a16="http://schemas.microsoft.com/office/drawing/2014/main" id="{53048305-4AC6-A55A-D337-49B0F153233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201" y="4383161"/>
            <a:ext cx="638175" cy="638175"/>
          </a:xfrm>
          <a:prstGeom prst="rect">
            <a:avLst/>
          </a:prstGeom>
          <a:effectLst>
            <a:glow rad="76200">
              <a:schemeClr val="bg1"/>
            </a:glow>
          </a:effectLst>
        </p:spPr>
      </p:pic>
      <p:pic>
        <p:nvPicPr>
          <p:cNvPr id="5135" name="Picture 5134">
            <a:extLst>
              <a:ext uri="{FF2B5EF4-FFF2-40B4-BE49-F238E27FC236}">
                <a16:creationId xmlns:a16="http://schemas.microsoft.com/office/drawing/2014/main" id="{77B04050-4256-3369-869D-B8FC07A044A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7076" y="2491243"/>
            <a:ext cx="1466850" cy="400050"/>
          </a:xfrm>
          <a:prstGeom prst="rect">
            <a:avLst/>
          </a:prstGeom>
          <a:effectLst>
            <a:glow rad="76200">
              <a:schemeClr val="bg1"/>
            </a:glow>
          </a:effectLst>
        </p:spPr>
      </p:pic>
      <p:pic>
        <p:nvPicPr>
          <p:cNvPr id="5144" name="Picture 5143">
            <a:extLst>
              <a:ext uri="{FF2B5EF4-FFF2-40B4-BE49-F238E27FC236}">
                <a16:creationId xmlns:a16="http://schemas.microsoft.com/office/drawing/2014/main" id="{A87CE92A-CEC8-7562-DFBD-4A025A988F9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4221" y="2046838"/>
            <a:ext cx="1543050" cy="342900"/>
          </a:xfrm>
          <a:prstGeom prst="rect">
            <a:avLst/>
          </a:prstGeom>
          <a:effectLst>
            <a:glow rad="76200">
              <a:schemeClr val="bg1"/>
            </a:glow>
          </a:effectLst>
        </p:spPr>
      </p:pic>
      <p:sp>
        <p:nvSpPr>
          <p:cNvPr id="5147" name="テキスト ボックス 10">
            <a:extLst>
              <a:ext uri="{FF2B5EF4-FFF2-40B4-BE49-F238E27FC236}">
                <a16:creationId xmlns:a16="http://schemas.microsoft.com/office/drawing/2014/main" id="{46635238-67C7-077A-D5B8-D66CE7276D1A}"/>
              </a:ext>
            </a:extLst>
          </p:cNvPr>
          <p:cNvSpPr txBox="1"/>
          <p:nvPr/>
        </p:nvSpPr>
        <p:spPr bwMode="auto">
          <a:xfrm>
            <a:off x="2346381" y="6442999"/>
            <a:ext cx="847232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  <a:effectLst/>
              </a:rPr>
              <a:t>Pasquini, M.; Stenta, M. </a:t>
            </a:r>
            <a:r>
              <a:rPr lang="en-US" dirty="0" err="1">
                <a:solidFill>
                  <a:schemeClr val="bg1"/>
                </a:solidFill>
                <a:effectLst/>
              </a:rPr>
              <a:t>LinChemIn</a:t>
            </a:r>
            <a:r>
              <a:rPr lang="en-US" dirty="0">
                <a:solidFill>
                  <a:schemeClr val="bg1"/>
                </a:solidFill>
                <a:effectLst/>
              </a:rPr>
              <a:t>: </a:t>
            </a:r>
            <a:r>
              <a:rPr lang="en-US" dirty="0" err="1">
                <a:solidFill>
                  <a:schemeClr val="bg1"/>
                </a:solidFill>
                <a:effectLst/>
              </a:rPr>
              <a:t>SynGraph</a:t>
            </a:r>
            <a:r>
              <a:rPr lang="en-US" dirty="0">
                <a:solidFill>
                  <a:schemeClr val="bg1"/>
                </a:solidFill>
                <a:effectLst/>
              </a:rPr>
              <a:t>. A Data Model and a Toolkit to Analyze and Compare Synthetic Routes. </a:t>
            </a:r>
            <a:r>
              <a:rPr lang="en-US" i="1" dirty="0" err="1">
                <a:solidFill>
                  <a:schemeClr val="bg1"/>
                </a:solidFill>
                <a:effectLst/>
              </a:rPr>
              <a:t>CHEMRxiv</a:t>
            </a:r>
            <a:r>
              <a:rPr lang="en-US" dirty="0">
                <a:solidFill>
                  <a:schemeClr val="bg1"/>
                </a:solidFill>
                <a:effectLst/>
              </a:rPr>
              <a:t> </a:t>
            </a:r>
            <a:r>
              <a:rPr lang="en-US" b="1" dirty="0">
                <a:solidFill>
                  <a:schemeClr val="bg1"/>
                </a:solidFill>
                <a:effectLst/>
              </a:rPr>
              <a:t>2022</a:t>
            </a:r>
            <a:r>
              <a:rPr lang="en-US" dirty="0">
                <a:solidFill>
                  <a:schemeClr val="bg1"/>
                </a:solidFill>
                <a:effectLst/>
              </a:rPr>
              <a:t>. </a:t>
            </a:r>
            <a:r>
              <a:rPr lang="en-US" dirty="0">
                <a:effectLst/>
                <a:hlinkClick r:id="rId14"/>
              </a:rPr>
              <a:t>https://doi.org/10.26434/chemrxiv-2022-cmrjk</a:t>
            </a:r>
            <a:r>
              <a:rPr lang="en-US" dirty="0">
                <a:effectLst/>
              </a:rPr>
              <a:t> </a:t>
            </a:r>
            <a:endParaRPr lang="en-US" dirty="0"/>
          </a:p>
        </p:txBody>
      </p:sp>
      <p:pic>
        <p:nvPicPr>
          <p:cNvPr id="5148" name="Picture 5147" descr="A logo with a moon and stars&#10;&#10;Description automatically generated">
            <a:extLst>
              <a:ext uri="{FF2B5EF4-FFF2-40B4-BE49-F238E27FC236}">
                <a16:creationId xmlns:a16="http://schemas.microsoft.com/office/drawing/2014/main" id="{A254D1AF-66AA-E977-F3C5-781F17D00E1A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48" t="4359" r="29435" b="11205"/>
          <a:stretch/>
        </p:blipFill>
        <p:spPr>
          <a:xfrm>
            <a:off x="5055054" y="5064551"/>
            <a:ext cx="921795" cy="1046298"/>
          </a:xfrm>
          <a:prstGeom prst="rect">
            <a:avLst/>
          </a:prstGeom>
          <a:noFill/>
          <a:ln>
            <a:noFill/>
          </a:ln>
          <a:effectLst>
            <a:glow>
              <a:schemeClr val="accent1">
                <a:lumMod val="20000"/>
                <a:lumOff val="80000"/>
              </a:schemeClr>
            </a:glow>
          </a:effectLst>
        </p:spPr>
      </p:pic>
      <p:sp>
        <p:nvSpPr>
          <p:cNvPr id="5150" name="Rectangle: Rounded Corners 5149">
            <a:extLst>
              <a:ext uri="{FF2B5EF4-FFF2-40B4-BE49-F238E27FC236}">
                <a16:creationId xmlns:a16="http://schemas.microsoft.com/office/drawing/2014/main" id="{77F1F3D3-27C5-9DC4-65EC-0D560962F01E}"/>
              </a:ext>
            </a:extLst>
          </p:cNvPr>
          <p:cNvSpPr/>
          <p:nvPr/>
        </p:nvSpPr>
        <p:spPr bwMode="auto">
          <a:xfrm>
            <a:off x="3842440" y="2233525"/>
            <a:ext cx="1466850" cy="2224597"/>
          </a:xfrm>
          <a:prstGeom prst="roundRect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grpSp>
        <p:nvGrpSpPr>
          <p:cNvPr id="7179" name="Group 7178">
            <a:extLst>
              <a:ext uri="{FF2B5EF4-FFF2-40B4-BE49-F238E27FC236}">
                <a16:creationId xmlns:a16="http://schemas.microsoft.com/office/drawing/2014/main" id="{42A050A2-4970-DADF-DB21-CFCA6BB0C0A8}"/>
              </a:ext>
            </a:extLst>
          </p:cNvPr>
          <p:cNvGrpSpPr/>
          <p:nvPr/>
        </p:nvGrpSpPr>
        <p:grpSpPr>
          <a:xfrm>
            <a:off x="4072468" y="2438403"/>
            <a:ext cx="1041400" cy="339596"/>
            <a:chOff x="4072468" y="2438403"/>
            <a:chExt cx="1041400" cy="339596"/>
          </a:xfrm>
        </p:grpSpPr>
        <p:sp>
          <p:nvSpPr>
            <p:cNvPr id="5151" name="Parallelogram 5150">
              <a:extLst>
                <a:ext uri="{FF2B5EF4-FFF2-40B4-BE49-F238E27FC236}">
                  <a16:creationId xmlns:a16="http://schemas.microsoft.com/office/drawing/2014/main" id="{4138A9FD-B9B8-839B-2208-F85E70C26E46}"/>
                </a:ext>
              </a:extLst>
            </p:cNvPr>
            <p:cNvSpPr/>
            <p:nvPr/>
          </p:nvSpPr>
          <p:spPr bwMode="auto">
            <a:xfrm>
              <a:off x="4072468" y="2438403"/>
              <a:ext cx="1041400" cy="339596"/>
            </a:xfrm>
            <a:prstGeom prst="parallelogram">
              <a:avLst/>
            </a:prstGeom>
            <a:solidFill>
              <a:srgbClr val="BDE3ED"/>
            </a:solidFill>
            <a:ln w="28575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sp>
          <p:nvSpPr>
            <p:cNvPr id="7169" name="TextBox 7168">
              <a:extLst>
                <a:ext uri="{FF2B5EF4-FFF2-40B4-BE49-F238E27FC236}">
                  <a16:creationId xmlns:a16="http://schemas.microsoft.com/office/drawing/2014/main" id="{0132F14A-5DEF-CC61-E676-C727EAD50095}"/>
                </a:ext>
              </a:extLst>
            </p:cNvPr>
            <p:cNvSpPr txBox="1"/>
            <p:nvPr/>
          </p:nvSpPr>
          <p:spPr bwMode="auto">
            <a:xfrm>
              <a:off x="4334935" y="2540001"/>
              <a:ext cx="651933" cy="237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sz="105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ASKOS</a:t>
              </a:r>
            </a:p>
          </p:txBody>
        </p:sp>
      </p:grpSp>
      <p:grpSp>
        <p:nvGrpSpPr>
          <p:cNvPr id="7178" name="Group 7177">
            <a:extLst>
              <a:ext uri="{FF2B5EF4-FFF2-40B4-BE49-F238E27FC236}">
                <a16:creationId xmlns:a16="http://schemas.microsoft.com/office/drawing/2014/main" id="{C44D7E67-1993-8031-9D08-AB5115A09875}"/>
              </a:ext>
            </a:extLst>
          </p:cNvPr>
          <p:cNvGrpSpPr/>
          <p:nvPr/>
        </p:nvGrpSpPr>
        <p:grpSpPr>
          <a:xfrm>
            <a:off x="4040063" y="3166874"/>
            <a:ext cx="1093535" cy="339596"/>
            <a:chOff x="4031596" y="3141473"/>
            <a:chExt cx="1093535" cy="339596"/>
          </a:xfrm>
        </p:grpSpPr>
        <p:sp>
          <p:nvSpPr>
            <p:cNvPr id="7171" name="Parallelogram 7170">
              <a:extLst>
                <a:ext uri="{FF2B5EF4-FFF2-40B4-BE49-F238E27FC236}">
                  <a16:creationId xmlns:a16="http://schemas.microsoft.com/office/drawing/2014/main" id="{E0EB7433-5FFA-EA1E-99B9-8CC8F2B2FB49}"/>
                </a:ext>
              </a:extLst>
            </p:cNvPr>
            <p:cNvSpPr/>
            <p:nvPr/>
          </p:nvSpPr>
          <p:spPr bwMode="auto">
            <a:xfrm>
              <a:off x="4031596" y="3141473"/>
              <a:ext cx="1041400" cy="339596"/>
            </a:xfrm>
            <a:prstGeom prst="parallelogram">
              <a:avLst/>
            </a:prstGeom>
            <a:solidFill>
              <a:srgbClr val="BDE3ED"/>
            </a:solidFill>
            <a:ln w="28575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sp>
          <p:nvSpPr>
            <p:cNvPr id="7173" name="TextBox 7172">
              <a:extLst>
                <a:ext uri="{FF2B5EF4-FFF2-40B4-BE49-F238E27FC236}">
                  <a16:creationId xmlns:a16="http://schemas.microsoft.com/office/drawing/2014/main" id="{DC939A56-6051-E7F5-E2BD-974386F9CF6A}"/>
                </a:ext>
              </a:extLst>
            </p:cNvPr>
            <p:cNvSpPr txBox="1"/>
            <p:nvPr/>
          </p:nvSpPr>
          <p:spPr bwMode="auto">
            <a:xfrm>
              <a:off x="4095067" y="3224347"/>
              <a:ext cx="1030064" cy="1943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sz="1050" b="1" kern="0" dirty="0" err="1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AiZynthFinder</a:t>
              </a:r>
              <a:endParaRPr lang="en-US" sz="1050" b="1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endParaRPr>
            </a:p>
          </p:txBody>
        </p:sp>
      </p:grpSp>
      <p:grpSp>
        <p:nvGrpSpPr>
          <p:cNvPr id="7180" name="Group 7179">
            <a:extLst>
              <a:ext uri="{FF2B5EF4-FFF2-40B4-BE49-F238E27FC236}">
                <a16:creationId xmlns:a16="http://schemas.microsoft.com/office/drawing/2014/main" id="{D2D005ED-8BE1-93D6-EFFE-0B2654E7C1AC}"/>
              </a:ext>
            </a:extLst>
          </p:cNvPr>
          <p:cNvGrpSpPr/>
          <p:nvPr/>
        </p:nvGrpSpPr>
        <p:grpSpPr>
          <a:xfrm>
            <a:off x="4031596" y="3880015"/>
            <a:ext cx="1041400" cy="339596"/>
            <a:chOff x="4031596" y="3812281"/>
            <a:chExt cx="1041400" cy="339596"/>
          </a:xfrm>
        </p:grpSpPr>
        <p:sp>
          <p:nvSpPr>
            <p:cNvPr id="7174" name="Parallelogram 7173">
              <a:extLst>
                <a:ext uri="{FF2B5EF4-FFF2-40B4-BE49-F238E27FC236}">
                  <a16:creationId xmlns:a16="http://schemas.microsoft.com/office/drawing/2014/main" id="{F017C621-85F6-4EAE-94FD-FC40171040AB}"/>
                </a:ext>
              </a:extLst>
            </p:cNvPr>
            <p:cNvSpPr/>
            <p:nvPr/>
          </p:nvSpPr>
          <p:spPr bwMode="auto">
            <a:xfrm>
              <a:off x="4031596" y="3812281"/>
              <a:ext cx="1041400" cy="339596"/>
            </a:xfrm>
            <a:prstGeom prst="parallelogram">
              <a:avLst/>
            </a:prstGeom>
            <a:solidFill>
              <a:srgbClr val="BDE3ED"/>
            </a:solidFill>
            <a:ln w="28575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sp>
          <p:nvSpPr>
            <p:cNvPr id="7175" name="TextBox 7174">
              <a:extLst>
                <a:ext uri="{FF2B5EF4-FFF2-40B4-BE49-F238E27FC236}">
                  <a16:creationId xmlns:a16="http://schemas.microsoft.com/office/drawing/2014/main" id="{A85E679C-153D-F5E2-2B87-5042A8876599}"/>
                </a:ext>
              </a:extLst>
            </p:cNvPr>
            <p:cNvSpPr txBox="1"/>
            <p:nvPr/>
          </p:nvSpPr>
          <p:spPr bwMode="auto">
            <a:xfrm>
              <a:off x="4284133" y="3913882"/>
              <a:ext cx="651933" cy="237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sz="105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IBM-RXN</a:t>
              </a:r>
            </a:p>
          </p:txBody>
        </p:sp>
      </p:grpSp>
      <p:cxnSp>
        <p:nvCxnSpPr>
          <p:cNvPr id="7194" name="Straight Arrow Connector 7193">
            <a:extLst>
              <a:ext uri="{FF2B5EF4-FFF2-40B4-BE49-F238E27FC236}">
                <a16:creationId xmlns:a16="http://schemas.microsoft.com/office/drawing/2014/main" id="{6A533242-4A7A-76DF-082B-2032758FD950}"/>
              </a:ext>
            </a:extLst>
          </p:cNvPr>
          <p:cNvCxnSpPr>
            <a:cxnSpLocks/>
            <a:stCxn id="5150" idx="3"/>
            <a:endCxn id="7195" idx="5"/>
          </p:cNvCxnSpPr>
          <p:nvPr/>
        </p:nvCxnSpPr>
        <p:spPr bwMode="auto">
          <a:xfrm flipV="1">
            <a:off x="5309290" y="3333497"/>
            <a:ext cx="584034" cy="12327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82C8DC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7201" name="TextBox 7200">
            <a:extLst>
              <a:ext uri="{FF2B5EF4-FFF2-40B4-BE49-F238E27FC236}">
                <a16:creationId xmlns:a16="http://schemas.microsoft.com/office/drawing/2014/main" id="{A0A924C4-CE74-EE16-3ADC-3FE714188C07}"/>
              </a:ext>
            </a:extLst>
          </p:cNvPr>
          <p:cNvSpPr txBox="1"/>
          <p:nvPr/>
        </p:nvSpPr>
        <p:spPr bwMode="auto">
          <a:xfrm>
            <a:off x="6179011" y="3112943"/>
            <a:ext cx="1465383" cy="433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050" b="1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Computer Assisted Synthesis Planning Module</a:t>
            </a:r>
          </a:p>
        </p:txBody>
      </p:sp>
      <p:grpSp>
        <p:nvGrpSpPr>
          <p:cNvPr id="7211" name="Group 7210">
            <a:extLst>
              <a:ext uri="{FF2B5EF4-FFF2-40B4-BE49-F238E27FC236}">
                <a16:creationId xmlns:a16="http://schemas.microsoft.com/office/drawing/2014/main" id="{8D770453-C35F-20D1-FF8F-219B8E4D6BB7}"/>
              </a:ext>
            </a:extLst>
          </p:cNvPr>
          <p:cNvGrpSpPr/>
          <p:nvPr/>
        </p:nvGrpSpPr>
        <p:grpSpPr>
          <a:xfrm>
            <a:off x="5981866" y="5238537"/>
            <a:ext cx="1717276" cy="710022"/>
            <a:chOff x="6330652" y="5168184"/>
            <a:chExt cx="1717276" cy="710022"/>
          </a:xfrm>
        </p:grpSpPr>
        <p:sp>
          <p:nvSpPr>
            <p:cNvPr id="7207" name="Cylinder 7206">
              <a:extLst>
                <a:ext uri="{FF2B5EF4-FFF2-40B4-BE49-F238E27FC236}">
                  <a16:creationId xmlns:a16="http://schemas.microsoft.com/office/drawing/2014/main" id="{DCC19ACD-B71E-1954-79CE-4BCE23FD622A}"/>
                </a:ext>
              </a:extLst>
            </p:cNvPr>
            <p:cNvSpPr/>
            <p:nvPr/>
          </p:nvSpPr>
          <p:spPr bwMode="auto">
            <a:xfrm>
              <a:off x="6330652" y="5168184"/>
              <a:ext cx="1669264" cy="710022"/>
            </a:xfrm>
            <a:prstGeom prst="can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8100">
              <a:solidFill>
                <a:schemeClr val="bg1"/>
              </a:solidFill>
              <a:headEnd type="none" w="sm" len="sm"/>
              <a:tailEnd type="none" w="sm" len="sm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57263">
                <a:spcAft>
                  <a:spcPts val="600"/>
                </a:spcAft>
                <a:buClr>
                  <a:srgbClr val="5F7800"/>
                </a:buClr>
              </a:pPr>
              <a:endParaRPr lang="en-US" sz="1100" kern="0" dirty="0">
                <a:solidFill>
                  <a:srgbClr val="626469"/>
                </a:solidFill>
                <a:latin typeface="Abadi" panose="020F0502020204030204" pitchFamily="34" charset="0"/>
              </a:endParaRPr>
            </a:p>
          </p:txBody>
        </p:sp>
        <p:sp>
          <p:nvSpPr>
            <p:cNvPr id="7202" name="TextBox 7201">
              <a:extLst>
                <a:ext uri="{FF2B5EF4-FFF2-40B4-BE49-F238E27FC236}">
                  <a16:creationId xmlns:a16="http://schemas.microsoft.com/office/drawing/2014/main" id="{D8314CF0-BAA2-5770-47D3-5A54656B89B7}"/>
                </a:ext>
              </a:extLst>
            </p:cNvPr>
            <p:cNvSpPr txBox="1"/>
            <p:nvPr/>
          </p:nvSpPr>
          <p:spPr bwMode="auto">
            <a:xfrm>
              <a:off x="6582545" y="5422210"/>
              <a:ext cx="1465383" cy="4336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sz="105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Network of Organic Chemistry</a:t>
              </a:r>
            </a:p>
          </p:txBody>
        </p:sp>
      </p:grpSp>
      <p:cxnSp>
        <p:nvCxnSpPr>
          <p:cNvPr id="7203" name="Straight Arrow Connector 7202">
            <a:extLst>
              <a:ext uri="{FF2B5EF4-FFF2-40B4-BE49-F238E27FC236}">
                <a16:creationId xmlns:a16="http://schemas.microsoft.com/office/drawing/2014/main" id="{90390AAC-54AB-56D4-E8A4-ECC46F877E28}"/>
              </a:ext>
            </a:extLst>
          </p:cNvPr>
          <p:cNvCxnSpPr>
            <a:cxnSpLocks/>
            <a:stCxn id="7207" idx="1"/>
            <a:endCxn id="7195" idx="4"/>
          </p:cNvCxnSpPr>
          <p:nvPr/>
        </p:nvCxnSpPr>
        <p:spPr bwMode="auto">
          <a:xfrm flipH="1" flipV="1">
            <a:off x="6802021" y="3642865"/>
            <a:ext cx="14477" cy="1595672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82C8DC"/>
            </a:solidFill>
            <a:prstDash val="dash"/>
            <a:round/>
            <a:headEnd type="none" w="sm" len="sm"/>
            <a:tailEnd type="triangle"/>
          </a:ln>
          <a:effectLst/>
        </p:spPr>
      </p:cxnSp>
      <p:grpSp>
        <p:nvGrpSpPr>
          <p:cNvPr id="7216" name="Group 7215">
            <a:extLst>
              <a:ext uri="{FF2B5EF4-FFF2-40B4-BE49-F238E27FC236}">
                <a16:creationId xmlns:a16="http://schemas.microsoft.com/office/drawing/2014/main" id="{0506A5B5-347F-07AC-AB8E-0327935EA28F}"/>
              </a:ext>
            </a:extLst>
          </p:cNvPr>
          <p:cNvGrpSpPr/>
          <p:nvPr/>
        </p:nvGrpSpPr>
        <p:grpSpPr>
          <a:xfrm>
            <a:off x="10638206" y="3012830"/>
            <a:ext cx="1295914" cy="618736"/>
            <a:chOff x="9257864" y="5181676"/>
            <a:chExt cx="1703321" cy="621774"/>
          </a:xfrm>
        </p:grpSpPr>
        <p:sp>
          <p:nvSpPr>
            <p:cNvPr id="7214" name="Parallelogram 7213">
              <a:extLst>
                <a:ext uri="{FF2B5EF4-FFF2-40B4-BE49-F238E27FC236}">
                  <a16:creationId xmlns:a16="http://schemas.microsoft.com/office/drawing/2014/main" id="{2F7C4F1F-894F-7E33-B63F-9DF2835113F7}"/>
                </a:ext>
              </a:extLst>
            </p:cNvPr>
            <p:cNvSpPr/>
            <p:nvPr/>
          </p:nvSpPr>
          <p:spPr bwMode="auto">
            <a:xfrm>
              <a:off x="9257864" y="5181676"/>
              <a:ext cx="1632694" cy="621774"/>
            </a:xfrm>
            <a:custGeom>
              <a:avLst/>
              <a:gdLst>
                <a:gd name="connsiteX0" fmla="*/ 0 w 1972077"/>
                <a:gd name="connsiteY0" fmla="*/ 618736 h 618736"/>
                <a:gd name="connsiteX1" fmla="*/ 154684 w 1972077"/>
                <a:gd name="connsiteY1" fmla="*/ 0 h 618736"/>
                <a:gd name="connsiteX2" fmla="*/ 1972077 w 1972077"/>
                <a:gd name="connsiteY2" fmla="*/ 0 h 618736"/>
                <a:gd name="connsiteX3" fmla="*/ 1817393 w 1972077"/>
                <a:gd name="connsiteY3" fmla="*/ 618736 h 618736"/>
                <a:gd name="connsiteX4" fmla="*/ 0 w 1972077"/>
                <a:gd name="connsiteY4" fmla="*/ 618736 h 618736"/>
                <a:gd name="connsiteX0" fmla="*/ 23116 w 1817393"/>
                <a:gd name="connsiteY0" fmla="*/ 618736 h 618736"/>
                <a:gd name="connsiteX1" fmla="*/ 0 w 1817393"/>
                <a:gd name="connsiteY1" fmla="*/ 0 h 618736"/>
                <a:gd name="connsiteX2" fmla="*/ 1817393 w 1817393"/>
                <a:gd name="connsiteY2" fmla="*/ 0 h 618736"/>
                <a:gd name="connsiteX3" fmla="*/ 1662709 w 1817393"/>
                <a:gd name="connsiteY3" fmla="*/ 618736 h 618736"/>
                <a:gd name="connsiteX4" fmla="*/ 23116 w 1817393"/>
                <a:gd name="connsiteY4" fmla="*/ 618736 h 618736"/>
                <a:gd name="connsiteX0" fmla="*/ 23116 w 1672772"/>
                <a:gd name="connsiteY0" fmla="*/ 618736 h 618736"/>
                <a:gd name="connsiteX1" fmla="*/ 0 w 1672772"/>
                <a:gd name="connsiteY1" fmla="*/ 0 h 618736"/>
                <a:gd name="connsiteX2" fmla="*/ 1672772 w 1672772"/>
                <a:gd name="connsiteY2" fmla="*/ 0 h 618736"/>
                <a:gd name="connsiteX3" fmla="*/ 1662709 w 1672772"/>
                <a:gd name="connsiteY3" fmla="*/ 618736 h 618736"/>
                <a:gd name="connsiteX4" fmla="*/ 23116 w 1672772"/>
                <a:gd name="connsiteY4" fmla="*/ 618736 h 618736"/>
                <a:gd name="connsiteX0" fmla="*/ 0 w 1649656"/>
                <a:gd name="connsiteY0" fmla="*/ 621774 h 621774"/>
                <a:gd name="connsiteX1" fmla="*/ 7407 w 1649656"/>
                <a:gd name="connsiteY1" fmla="*/ 0 h 621774"/>
                <a:gd name="connsiteX2" fmla="*/ 1649656 w 1649656"/>
                <a:gd name="connsiteY2" fmla="*/ 3038 h 621774"/>
                <a:gd name="connsiteX3" fmla="*/ 1639593 w 1649656"/>
                <a:gd name="connsiteY3" fmla="*/ 621774 h 621774"/>
                <a:gd name="connsiteX4" fmla="*/ 0 w 1649656"/>
                <a:gd name="connsiteY4" fmla="*/ 621774 h 621774"/>
                <a:gd name="connsiteX0" fmla="*/ 0 w 1640498"/>
                <a:gd name="connsiteY0" fmla="*/ 621774 h 621774"/>
                <a:gd name="connsiteX1" fmla="*/ 7407 w 1640498"/>
                <a:gd name="connsiteY1" fmla="*/ 0 h 621774"/>
                <a:gd name="connsiteX2" fmla="*/ 1640498 w 1640498"/>
                <a:gd name="connsiteY2" fmla="*/ 3038 h 621774"/>
                <a:gd name="connsiteX3" fmla="*/ 1639593 w 1640498"/>
                <a:gd name="connsiteY3" fmla="*/ 621774 h 621774"/>
                <a:gd name="connsiteX4" fmla="*/ 0 w 1640498"/>
                <a:gd name="connsiteY4" fmla="*/ 621774 h 621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0498" h="621774">
                  <a:moveTo>
                    <a:pt x="0" y="621774"/>
                  </a:moveTo>
                  <a:lnTo>
                    <a:pt x="7407" y="0"/>
                  </a:lnTo>
                  <a:lnTo>
                    <a:pt x="1640498" y="3038"/>
                  </a:lnTo>
                  <a:cubicBezTo>
                    <a:pt x="1640196" y="209283"/>
                    <a:pt x="1639895" y="415529"/>
                    <a:pt x="1639593" y="621774"/>
                  </a:cubicBezTo>
                  <a:lnTo>
                    <a:pt x="0" y="621774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810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sp>
          <p:nvSpPr>
            <p:cNvPr id="7215" name="TextBox 7214">
              <a:extLst>
                <a:ext uri="{FF2B5EF4-FFF2-40B4-BE49-F238E27FC236}">
                  <a16:creationId xmlns:a16="http://schemas.microsoft.com/office/drawing/2014/main" id="{A6EB3F72-98AE-3599-CC00-579B8BB53A26}"/>
                </a:ext>
              </a:extLst>
            </p:cNvPr>
            <p:cNvSpPr txBox="1"/>
            <p:nvPr/>
          </p:nvSpPr>
          <p:spPr bwMode="auto">
            <a:xfrm>
              <a:off x="9733086" y="5263085"/>
              <a:ext cx="1228099" cy="4808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sz="105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Synthesis Design Module</a:t>
              </a:r>
            </a:p>
          </p:txBody>
        </p:sp>
      </p:grpSp>
      <p:cxnSp>
        <p:nvCxnSpPr>
          <p:cNvPr id="7235" name="Straight Arrow Connector 7234">
            <a:extLst>
              <a:ext uri="{FF2B5EF4-FFF2-40B4-BE49-F238E27FC236}">
                <a16:creationId xmlns:a16="http://schemas.microsoft.com/office/drawing/2014/main" id="{BE0E38E9-35D1-7312-D386-C1C241D9714C}"/>
              </a:ext>
            </a:extLst>
          </p:cNvPr>
          <p:cNvCxnSpPr>
            <a:cxnSpLocks/>
            <a:stCxn id="7195" idx="2"/>
          </p:cNvCxnSpPr>
          <p:nvPr/>
        </p:nvCxnSpPr>
        <p:spPr bwMode="auto">
          <a:xfrm flipV="1">
            <a:off x="7710717" y="3322198"/>
            <a:ext cx="2927498" cy="11299"/>
          </a:xfrm>
          <a:prstGeom prst="straightConnector1">
            <a:avLst/>
          </a:prstGeom>
          <a:solidFill>
            <a:schemeClr val="accent2"/>
          </a:solidFill>
          <a:ln w="38100" cap="flat" cmpd="sng" algn="ctr">
            <a:solidFill>
              <a:srgbClr val="82C8DC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5" name="テキスト ボックス 12">
            <a:extLst>
              <a:ext uri="{FF2B5EF4-FFF2-40B4-BE49-F238E27FC236}">
                <a16:creationId xmlns:a16="http://schemas.microsoft.com/office/drawing/2014/main" id="{96A3844A-0EFD-7BF9-1958-94A8728CF0F6}"/>
              </a:ext>
            </a:extLst>
          </p:cNvPr>
          <p:cNvSpPr txBox="1"/>
          <p:nvPr/>
        </p:nvSpPr>
        <p:spPr bwMode="auto">
          <a:xfrm>
            <a:off x="3497836" y="4612218"/>
            <a:ext cx="3777936" cy="310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600" b="1" kern="0" dirty="0">
                <a:solidFill>
                  <a:schemeClr val="bg1"/>
                </a:solidFill>
                <a:latin typeface="Arial"/>
              </a:rPr>
              <a:t>Retrosynthetic models</a:t>
            </a:r>
          </a:p>
        </p:txBody>
      </p:sp>
    </p:spTree>
    <p:extLst>
      <p:ext uri="{BB962C8B-B14F-4D97-AF65-F5344CB8AC3E}">
        <p14:creationId xmlns:p14="http://schemas.microsoft.com/office/powerpoint/2010/main" val="2643973741"/>
      </p:ext>
    </p:extLst>
  </p:cSld>
  <p:clrMapOvr>
    <a:masterClrMapping/>
  </p:clrMapOvr>
  <p:transition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31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462F0D-0667-0641-986B-9ACDAE579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462F0D-0667-0641-986B-9ACDAE579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8F92D29D-B629-4D8F-A5E6-F51B9BFDAA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bg1"/>
                </a:solidFill>
              </a:rPr>
              <a:t>Classification: PUBLIC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9F11A7-3B14-466B-ABB0-9AE773AC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ja-JP" dirty="0">
                <a:solidFill>
                  <a:schemeClr val="bg1"/>
                </a:solidFill>
              </a:rPr>
              <a:t>Future plans: data model extension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A9BA59CD-38E2-4A16-AF15-58BC88EBAB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de-DE" smtClean="0">
                <a:solidFill>
                  <a:schemeClr val="bg1"/>
                </a:solidFill>
              </a:rPr>
              <a:pPr/>
              <a:t>16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122" name="Graphic 5121">
            <a:extLst>
              <a:ext uri="{FF2B5EF4-FFF2-40B4-BE49-F238E27FC236}">
                <a16:creationId xmlns:a16="http://schemas.microsoft.com/office/drawing/2014/main" id="{9CEF06BE-2A0B-55A3-F9E4-2EE7B98C0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8215" y="6432615"/>
            <a:ext cx="1109670" cy="366259"/>
          </a:xfrm>
          <a:prstGeom prst="rect">
            <a:avLst/>
          </a:prstGeom>
        </p:spPr>
      </p:pic>
      <p:pic>
        <p:nvPicPr>
          <p:cNvPr id="17" name="Picture 16" descr="A blue circle with arrows pointing to the center&#10;&#10;Description automatically generated">
            <a:extLst>
              <a:ext uri="{FF2B5EF4-FFF2-40B4-BE49-F238E27FC236}">
                <a16:creationId xmlns:a16="http://schemas.microsoft.com/office/drawing/2014/main" id="{DF0931AF-4C65-6154-46AF-4838B358DAA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3891" y="2658861"/>
            <a:ext cx="5201041" cy="1780410"/>
          </a:xfrm>
          <a:prstGeom prst="rect">
            <a:avLst/>
          </a:prstGeom>
          <a:effectLst>
            <a:glow rad="139700">
              <a:schemeClr val="bg1">
                <a:alpha val="80000"/>
              </a:schemeClr>
            </a:glow>
          </a:effectLst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0D1E750B-019D-D2BC-2DFC-3AB5F77ED8A2}"/>
              </a:ext>
            </a:extLst>
          </p:cNvPr>
          <p:cNvSpPr/>
          <p:nvPr/>
        </p:nvSpPr>
        <p:spPr bwMode="auto">
          <a:xfrm rot="10800000">
            <a:off x="5686269" y="5000449"/>
            <a:ext cx="850069" cy="844789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/>
            </a:solidFill>
            <a:headEnd type="none" w="sm" len="sm"/>
            <a:tailEnd type="none" w="sm" len="sm"/>
          </a:ln>
          <a:effectLst>
            <a:glow rad="114300">
              <a:schemeClr val="bg1">
                <a:alpha val="8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>
              <a:solidFill>
                <a:srgbClr val="626469"/>
              </a:solidFill>
              <a:latin typeface="Arial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95B3B90-5AEB-5E14-DCE3-67DCF717AFCE}"/>
              </a:ext>
            </a:extLst>
          </p:cNvPr>
          <p:cNvSpPr/>
          <p:nvPr/>
        </p:nvSpPr>
        <p:spPr bwMode="auto">
          <a:xfrm rot="10800000">
            <a:off x="7776110" y="4970953"/>
            <a:ext cx="850069" cy="844789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  <a:headEnd type="none" w="sm" len="sm"/>
            <a:tailEnd type="none" w="sm" len="sm"/>
          </a:ln>
          <a:effectLst>
            <a:glow rad="114300">
              <a:schemeClr val="bg1">
                <a:alpha val="8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>
              <a:solidFill>
                <a:srgbClr val="626469"/>
              </a:solidFill>
              <a:latin typeface="Arial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A775660-1D61-78F1-6052-739812F1C5D3}"/>
              </a:ext>
            </a:extLst>
          </p:cNvPr>
          <p:cNvSpPr/>
          <p:nvPr/>
        </p:nvSpPr>
        <p:spPr bwMode="auto">
          <a:xfrm rot="10800000">
            <a:off x="5669376" y="1432312"/>
            <a:ext cx="850069" cy="844789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rgbClr val="92D050"/>
            </a:solidFill>
            <a:headEnd type="none" w="sm" len="sm"/>
            <a:tailEnd type="none" w="sm" len="sm"/>
          </a:ln>
          <a:effectLst>
            <a:glow rad="114300">
              <a:schemeClr val="bg1">
                <a:alpha val="8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>
              <a:solidFill>
                <a:srgbClr val="626469"/>
              </a:solidFill>
              <a:latin typeface="Arial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01B421E2-455E-2C24-52CC-ED1359570959}"/>
              </a:ext>
            </a:extLst>
          </p:cNvPr>
          <p:cNvSpPr/>
          <p:nvPr/>
        </p:nvSpPr>
        <p:spPr bwMode="auto">
          <a:xfrm rot="10800000">
            <a:off x="7267943" y="792411"/>
            <a:ext cx="850069" cy="844789"/>
          </a:xfrm>
          <a:prstGeom prst="ellipse">
            <a:avLst/>
          </a:prstGeom>
          <a:solidFill>
            <a:srgbClr val="619428"/>
          </a:solidFill>
          <a:ln>
            <a:solidFill>
              <a:schemeClr val="accent6"/>
            </a:solidFill>
            <a:headEnd type="none" w="sm" len="sm"/>
            <a:tailEnd type="none" w="sm" len="sm"/>
          </a:ln>
          <a:effectLst>
            <a:glow rad="114300">
              <a:schemeClr val="bg1">
                <a:alpha val="8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>
              <a:solidFill>
                <a:srgbClr val="626469"/>
              </a:solidFill>
              <a:latin typeface="Arial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659878E-CDB9-CEC4-F410-A1FA2D49AF9A}"/>
              </a:ext>
            </a:extLst>
          </p:cNvPr>
          <p:cNvSpPr/>
          <p:nvPr/>
        </p:nvSpPr>
        <p:spPr bwMode="auto">
          <a:xfrm rot="10800000">
            <a:off x="4060977" y="792410"/>
            <a:ext cx="850069" cy="844789"/>
          </a:xfrm>
          <a:prstGeom prst="ellipse">
            <a:avLst/>
          </a:prstGeom>
          <a:solidFill>
            <a:srgbClr val="619428"/>
          </a:solidFill>
          <a:ln>
            <a:solidFill>
              <a:schemeClr val="accent6"/>
            </a:solidFill>
            <a:headEnd type="none" w="sm" len="sm"/>
            <a:tailEnd type="none" w="sm" len="sm"/>
          </a:ln>
          <a:effectLst>
            <a:glow rad="114300">
              <a:schemeClr val="bg1">
                <a:alpha val="8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>
              <a:solidFill>
                <a:srgbClr val="626469"/>
              </a:solidFill>
              <a:latin typeface="Arial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3BA6986-00CF-38C1-5623-0745040BCBB5}"/>
              </a:ext>
            </a:extLst>
          </p:cNvPr>
          <p:cNvSpPr/>
          <p:nvPr/>
        </p:nvSpPr>
        <p:spPr bwMode="auto">
          <a:xfrm rot="10800000">
            <a:off x="3596427" y="4990617"/>
            <a:ext cx="850069" cy="844789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  <a:headEnd type="none" w="sm" len="sm"/>
            <a:tailEnd type="none" w="sm" len="sm"/>
          </a:ln>
          <a:effectLst>
            <a:glow rad="114300">
              <a:schemeClr val="bg1">
                <a:alpha val="8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>
              <a:solidFill>
                <a:srgbClr val="626469"/>
              </a:solidFill>
              <a:latin typeface="Arial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8F5733CA-DEA2-D083-CE46-50FF650F8285}"/>
              </a:ext>
            </a:extLst>
          </p:cNvPr>
          <p:cNvCxnSpPr>
            <a:cxnSpLocks/>
          </p:cNvCxnSpPr>
          <p:nvPr/>
        </p:nvCxnSpPr>
        <p:spPr bwMode="auto">
          <a:xfrm>
            <a:off x="6094410" y="3962400"/>
            <a:ext cx="0" cy="1008553"/>
          </a:xfrm>
          <a:prstGeom prst="straightConnector1">
            <a:avLst/>
          </a:prstGeom>
          <a:solidFill>
            <a:schemeClr val="accent2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sm" len="sm"/>
            <a:tailEnd type="triangle"/>
          </a:ln>
          <a:effectLst>
            <a:glow rad="114300">
              <a:schemeClr val="bg1">
                <a:alpha val="85000"/>
              </a:schemeClr>
            </a:glow>
          </a:effectLst>
        </p:spPr>
      </p:cxnSp>
      <p:cxnSp>
        <p:nvCxnSpPr>
          <p:cNvPr id="5120" name="Straight Arrow Connector 5119">
            <a:extLst>
              <a:ext uri="{FF2B5EF4-FFF2-40B4-BE49-F238E27FC236}">
                <a16:creationId xmlns:a16="http://schemas.microsoft.com/office/drawing/2014/main" id="{562FE4CB-C065-1838-5A00-00E19DD769C3}"/>
              </a:ext>
            </a:extLst>
          </p:cNvPr>
          <p:cNvCxnSpPr>
            <a:cxnSpLocks/>
          </p:cNvCxnSpPr>
          <p:nvPr/>
        </p:nvCxnSpPr>
        <p:spPr bwMode="auto">
          <a:xfrm flipV="1">
            <a:off x="4545003" y="5413012"/>
            <a:ext cx="1049551" cy="9832"/>
          </a:xfrm>
          <a:prstGeom prst="straightConnector1">
            <a:avLst/>
          </a:prstGeom>
          <a:solidFill>
            <a:schemeClr val="accent2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sm" len="sm"/>
            <a:tailEnd type="triangle"/>
          </a:ln>
          <a:effectLst>
            <a:glow rad="114300">
              <a:schemeClr val="bg1">
                <a:alpha val="85000"/>
              </a:schemeClr>
            </a:glow>
          </a:effectLst>
        </p:spPr>
      </p:cxnSp>
      <p:cxnSp>
        <p:nvCxnSpPr>
          <p:cNvPr id="5129" name="Straight Arrow Connector 5128">
            <a:extLst>
              <a:ext uri="{FF2B5EF4-FFF2-40B4-BE49-F238E27FC236}">
                <a16:creationId xmlns:a16="http://schemas.microsoft.com/office/drawing/2014/main" id="{B5626FF0-FB81-2E3E-D29E-62859650842C}"/>
              </a:ext>
            </a:extLst>
          </p:cNvPr>
          <p:cNvCxnSpPr>
            <a:cxnSpLocks/>
          </p:cNvCxnSpPr>
          <p:nvPr/>
        </p:nvCxnSpPr>
        <p:spPr bwMode="auto">
          <a:xfrm flipV="1">
            <a:off x="6641371" y="5431436"/>
            <a:ext cx="1049551" cy="9832"/>
          </a:xfrm>
          <a:prstGeom prst="straightConnector1">
            <a:avLst/>
          </a:prstGeom>
          <a:solidFill>
            <a:schemeClr val="accent2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sm" len="sm"/>
            <a:tailEnd type="triangle"/>
          </a:ln>
          <a:effectLst>
            <a:glow rad="114300">
              <a:schemeClr val="bg1">
                <a:alpha val="85000"/>
              </a:schemeClr>
            </a:glow>
          </a:effectLst>
        </p:spPr>
      </p:cxnSp>
      <p:cxnSp>
        <p:nvCxnSpPr>
          <p:cNvPr id="5130" name="Straight Arrow Connector 5129">
            <a:extLst>
              <a:ext uri="{FF2B5EF4-FFF2-40B4-BE49-F238E27FC236}">
                <a16:creationId xmlns:a16="http://schemas.microsoft.com/office/drawing/2014/main" id="{F1E35856-D33D-B0EE-CEC0-A84A31921F4D}"/>
              </a:ext>
            </a:extLst>
          </p:cNvPr>
          <p:cNvCxnSpPr>
            <a:cxnSpLocks/>
          </p:cNvCxnSpPr>
          <p:nvPr/>
        </p:nvCxnSpPr>
        <p:spPr bwMode="auto">
          <a:xfrm>
            <a:off x="8221849" y="4011560"/>
            <a:ext cx="0" cy="888127"/>
          </a:xfrm>
          <a:prstGeom prst="straightConnector1">
            <a:avLst/>
          </a:prstGeom>
          <a:solidFill>
            <a:schemeClr val="accent2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sm" len="sm"/>
            <a:tailEnd type="triangle"/>
          </a:ln>
          <a:effectLst>
            <a:glow rad="114300">
              <a:schemeClr val="bg1">
                <a:alpha val="85000"/>
              </a:schemeClr>
            </a:glow>
          </a:effectLst>
        </p:spPr>
      </p:cxnSp>
      <p:cxnSp>
        <p:nvCxnSpPr>
          <p:cNvPr id="5136" name="Straight Arrow Connector 5135">
            <a:extLst>
              <a:ext uri="{FF2B5EF4-FFF2-40B4-BE49-F238E27FC236}">
                <a16:creationId xmlns:a16="http://schemas.microsoft.com/office/drawing/2014/main" id="{D20D072B-341A-414E-32B3-0107E7CF9393}"/>
              </a:ext>
            </a:extLst>
          </p:cNvPr>
          <p:cNvCxnSpPr>
            <a:cxnSpLocks/>
          </p:cNvCxnSpPr>
          <p:nvPr/>
        </p:nvCxnSpPr>
        <p:spPr bwMode="auto">
          <a:xfrm>
            <a:off x="4001797" y="4486340"/>
            <a:ext cx="0" cy="444063"/>
          </a:xfrm>
          <a:prstGeom prst="straightConnector1">
            <a:avLst/>
          </a:prstGeom>
          <a:solidFill>
            <a:schemeClr val="accent2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sm" len="sm"/>
            <a:tailEnd type="triangle"/>
          </a:ln>
          <a:effectLst>
            <a:glow rad="114300">
              <a:schemeClr val="bg1">
                <a:alpha val="85000"/>
              </a:schemeClr>
            </a:glow>
          </a:effectLst>
        </p:spPr>
      </p:cxnSp>
      <p:cxnSp>
        <p:nvCxnSpPr>
          <p:cNvPr id="5139" name="Straight Arrow Connector 5138">
            <a:extLst>
              <a:ext uri="{FF2B5EF4-FFF2-40B4-BE49-F238E27FC236}">
                <a16:creationId xmlns:a16="http://schemas.microsoft.com/office/drawing/2014/main" id="{D713C023-DA84-8281-08A3-563505E37178}"/>
              </a:ext>
            </a:extLst>
          </p:cNvPr>
          <p:cNvCxnSpPr>
            <a:cxnSpLocks/>
          </p:cNvCxnSpPr>
          <p:nvPr/>
        </p:nvCxnSpPr>
        <p:spPr bwMode="auto">
          <a:xfrm flipV="1">
            <a:off x="6099223" y="2379407"/>
            <a:ext cx="0" cy="624720"/>
          </a:xfrm>
          <a:prstGeom prst="straightConnector1">
            <a:avLst/>
          </a:prstGeom>
          <a:solidFill>
            <a:schemeClr val="accent2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sm" len="sm"/>
            <a:tailEnd type="triangle"/>
          </a:ln>
          <a:effectLst>
            <a:glow rad="114300">
              <a:schemeClr val="bg1">
                <a:alpha val="85000"/>
              </a:schemeClr>
            </a:glow>
          </a:effectLst>
        </p:spPr>
      </p:cxnSp>
      <p:cxnSp>
        <p:nvCxnSpPr>
          <p:cNvPr id="5141" name="Straight Arrow Connector 5140">
            <a:extLst>
              <a:ext uri="{FF2B5EF4-FFF2-40B4-BE49-F238E27FC236}">
                <a16:creationId xmlns:a16="http://schemas.microsoft.com/office/drawing/2014/main" id="{B920B549-0C6E-F941-29E4-D41EC988D9D1}"/>
              </a:ext>
            </a:extLst>
          </p:cNvPr>
          <p:cNvCxnSpPr>
            <a:cxnSpLocks/>
          </p:cNvCxnSpPr>
          <p:nvPr/>
        </p:nvCxnSpPr>
        <p:spPr bwMode="auto">
          <a:xfrm flipV="1">
            <a:off x="6611875" y="1432311"/>
            <a:ext cx="636404" cy="299055"/>
          </a:xfrm>
          <a:prstGeom prst="straightConnector1">
            <a:avLst/>
          </a:prstGeom>
          <a:solidFill>
            <a:schemeClr val="accent2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sm" len="sm"/>
            <a:tailEnd type="triangle"/>
          </a:ln>
          <a:effectLst>
            <a:glow rad="114300">
              <a:schemeClr val="bg1">
                <a:alpha val="85000"/>
              </a:schemeClr>
            </a:glow>
          </a:effectLst>
        </p:spPr>
      </p:cxnSp>
      <p:cxnSp>
        <p:nvCxnSpPr>
          <p:cNvPr id="5147" name="Straight Arrow Connector 5146">
            <a:extLst>
              <a:ext uri="{FF2B5EF4-FFF2-40B4-BE49-F238E27FC236}">
                <a16:creationId xmlns:a16="http://schemas.microsoft.com/office/drawing/2014/main" id="{EF88905D-51D2-8793-867C-09B79657768F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950374" y="1432311"/>
            <a:ext cx="636404" cy="331352"/>
          </a:xfrm>
          <a:prstGeom prst="straightConnector1">
            <a:avLst/>
          </a:prstGeom>
          <a:solidFill>
            <a:schemeClr val="accent2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sm" len="sm"/>
            <a:tailEnd type="triangle"/>
          </a:ln>
          <a:effectLst>
            <a:glow rad="114300">
              <a:schemeClr val="bg1">
                <a:alpha val="85000"/>
              </a:schemeClr>
            </a:glow>
          </a:effectLst>
        </p:spPr>
      </p:cxnSp>
      <p:sp>
        <p:nvSpPr>
          <p:cNvPr id="5151" name="TextBox 5150">
            <a:extLst>
              <a:ext uri="{FF2B5EF4-FFF2-40B4-BE49-F238E27FC236}">
                <a16:creationId xmlns:a16="http://schemas.microsoft.com/office/drawing/2014/main" id="{6838B9C7-93E9-ECE2-F40D-2B6340F1C5AE}"/>
              </a:ext>
            </a:extLst>
          </p:cNvPr>
          <p:cNvSpPr txBox="1"/>
          <p:nvPr/>
        </p:nvSpPr>
        <p:spPr bwMode="auto">
          <a:xfrm>
            <a:off x="5841498" y="5334469"/>
            <a:ext cx="632387" cy="329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kern="0" dirty="0">
                <a:solidFill>
                  <a:srgbClr val="626469"/>
                </a:solidFill>
                <a:latin typeface="Arial"/>
              </a:rPr>
              <a:t>Template</a:t>
            </a:r>
          </a:p>
        </p:txBody>
      </p:sp>
      <p:sp>
        <p:nvSpPr>
          <p:cNvPr id="5152" name="TextBox 5151">
            <a:extLst>
              <a:ext uri="{FF2B5EF4-FFF2-40B4-BE49-F238E27FC236}">
                <a16:creationId xmlns:a16="http://schemas.microsoft.com/office/drawing/2014/main" id="{DB793666-BD80-DDFB-F451-C5E72536892D}"/>
              </a:ext>
            </a:extLst>
          </p:cNvPr>
          <p:cNvSpPr txBox="1"/>
          <p:nvPr/>
        </p:nvSpPr>
        <p:spPr bwMode="auto">
          <a:xfrm>
            <a:off x="3814109" y="5334469"/>
            <a:ext cx="632387" cy="329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Pattern</a:t>
            </a:r>
          </a:p>
        </p:txBody>
      </p:sp>
      <p:sp>
        <p:nvSpPr>
          <p:cNvPr id="5153" name="TextBox 5152">
            <a:extLst>
              <a:ext uri="{FF2B5EF4-FFF2-40B4-BE49-F238E27FC236}">
                <a16:creationId xmlns:a16="http://schemas.microsoft.com/office/drawing/2014/main" id="{C51ADBA4-937D-15BC-EB8C-47779A6E99B5}"/>
              </a:ext>
            </a:extLst>
          </p:cNvPr>
          <p:cNvSpPr txBox="1"/>
          <p:nvPr/>
        </p:nvSpPr>
        <p:spPr bwMode="auto">
          <a:xfrm>
            <a:off x="7996107" y="5314805"/>
            <a:ext cx="632387" cy="329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Pattern</a:t>
            </a:r>
          </a:p>
        </p:txBody>
      </p:sp>
      <p:sp>
        <p:nvSpPr>
          <p:cNvPr id="5156" name="TextBox 5155">
            <a:extLst>
              <a:ext uri="{FF2B5EF4-FFF2-40B4-BE49-F238E27FC236}">
                <a16:creationId xmlns:a16="http://schemas.microsoft.com/office/drawing/2014/main" id="{11B7D4C5-86DD-75A4-E94B-195C642E0080}"/>
              </a:ext>
            </a:extLst>
          </p:cNvPr>
          <p:cNvSpPr txBox="1"/>
          <p:nvPr/>
        </p:nvSpPr>
        <p:spPr bwMode="auto">
          <a:xfrm>
            <a:off x="5784589" y="1773495"/>
            <a:ext cx="741228" cy="329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kern="0" dirty="0">
                <a:solidFill>
                  <a:srgbClr val="626469"/>
                </a:solidFill>
                <a:latin typeface="Arial"/>
              </a:rPr>
              <a:t>Experiment</a:t>
            </a:r>
          </a:p>
        </p:txBody>
      </p:sp>
      <p:sp>
        <p:nvSpPr>
          <p:cNvPr id="5157" name="TextBox 5156">
            <a:extLst>
              <a:ext uri="{FF2B5EF4-FFF2-40B4-BE49-F238E27FC236}">
                <a16:creationId xmlns:a16="http://schemas.microsoft.com/office/drawing/2014/main" id="{6C745B7F-264C-C65D-0649-C64CD92EA782}"/>
              </a:ext>
            </a:extLst>
          </p:cNvPr>
          <p:cNvSpPr txBox="1"/>
          <p:nvPr/>
        </p:nvSpPr>
        <p:spPr bwMode="auto">
          <a:xfrm>
            <a:off x="7340709" y="1123498"/>
            <a:ext cx="777303" cy="329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Execution #2</a:t>
            </a:r>
          </a:p>
        </p:txBody>
      </p:sp>
      <p:sp>
        <p:nvSpPr>
          <p:cNvPr id="5158" name="TextBox 5157">
            <a:extLst>
              <a:ext uri="{FF2B5EF4-FFF2-40B4-BE49-F238E27FC236}">
                <a16:creationId xmlns:a16="http://schemas.microsoft.com/office/drawing/2014/main" id="{C7548A50-F140-EA7A-36A2-9D61FD27A8E1}"/>
              </a:ext>
            </a:extLst>
          </p:cNvPr>
          <p:cNvSpPr txBox="1"/>
          <p:nvPr/>
        </p:nvSpPr>
        <p:spPr bwMode="auto">
          <a:xfrm>
            <a:off x="4149131" y="1130088"/>
            <a:ext cx="777303" cy="329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kern="0" dirty="0">
                <a:solidFill>
                  <a:schemeClr val="bg1"/>
                </a:solidFill>
                <a:latin typeface="Arial"/>
              </a:rPr>
              <a:t>Execution #1</a:t>
            </a:r>
          </a:p>
        </p:txBody>
      </p:sp>
      <p:sp>
        <p:nvSpPr>
          <p:cNvPr id="5159" name="TextBox 5158">
            <a:extLst>
              <a:ext uri="{FF2B5EF4-FFF2-40B4-BE49-F238E27FC236}">
                <a16:creationId xmlns:a16="http://schemas.microsoft.com/office/drawing/2014/main" id="{D6930155-7E1A-1EBD-484F-4C9DD116A8F1}"/>
              </a:ext>
            </a:extLst>
          </p:cNvPr>
          <p:cNvSpPr txBox="1"/>
          <p:nvPr/>
        </p:nvSpPr>
        <p:spPr bwMode="auto">
          <a:xfrm>
            <a:off x="2664542" y="6615744"/>
            <a:ext cx="1484589" cy="159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5160" name="TextBox 5159">
            <a:extLst>
              <a:ext uri="{FF2B5EF4-FFF2-40B4-BE49-F238E27FC236}">
                <a16:creationId xmlns:a16="http://schemas.microsoft.com/office/drawing/2014/main" id="{1E22C411-31A2-91F3-C202-7A38EFA7CF6E}"/>
              </a:ext>
            </a:extLst>
          </p:cNvPr>
          <p:cNvSpPr txBox="1"/>
          <p:nvPr/>
        </p:nvSpPr>
        <p:spPr bwMode="auto">
          <a:xfrm>
            <a:off x="3120476" y="6484151"/>
            <a:ext cx="7041789" cy="221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Coley, Connor W., William H. Green, and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Klavs</a:t>
            </a:r>
            <a:r>
              <a:rPr lang="en-US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F. Jensen. "</a:t>
            </a:r>
            <a:r>
              <a:rPr lang="en-US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RDChiral</a:t>
            </a:r>
            <a:r>
              <a:rPr lang="en-US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: An </a:t>
            </a:r>
            <a:r>
              <a:rPr lang="en-US" b="0" i="0" dirty="0" err="1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RDKit</a:t>
            </a:r>
            <a:r>
              <a:rPr lang="en-US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 wrapper for handling stereochemistry in retrosynthetic template extraction and application." </a:t>
            </a:r>
            <a:r>
              <a:rPr lang="en-US" b="0" i="1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Journal of chemical information and modeling</a:t>
            </a:r>
            <a:r>
              <a:rPr lang="en-US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 59.6 (2019): 2529-2537.</a:t>
            </a:r>
            <a:endParaRPr lang="en-US" kern="0" dirty="0">
              <a:solidFill>
                <a:schemeClr val="bg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3130805"/>
      </p:ext>
    </p:extLst>
  </p:cSld>
  <p:clrMapOvr>
    <a:masterClrMapping/>
  </p:clrMapOvr>
  <p:transition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31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462F0D-0667-0641-986B-9ACDAE579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462F0D-0667-0641-986B-9ACDAE579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8F92D29D-B629-4D8F-A5E6-F51B9BFDAA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bg1"/>
                </a:solidFill>
              </a:rPr>
              <a:t>Classification: PUBLIC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9F11A7-3B14-466B-ABB0-9AE773AC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ja-JP" dirty="0">
                <a:solidFill>
                  <a:schemeClr val="bg1"/>
                </a:solidFill>
              </a:rPr>
              <a:t>Future plans: knowledge graph + LM = chemical Netflix?</a:t>
            </a:r>
            <a:br>
              <a:rPr kumimoji="1" lang="en-US" altLang="ja-JP" dirty="0">
                <a:solidFill>
                  <a:schemeClr val="bg1"/>
                </a:solidFill>
              </a:rPr>
            </a:b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A9BA59CD-38E2-4A16-AF15-58BC88EBAB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de-DE" smtClean="0">
                <a:solidFill>
                  <a:schemeClr val="bg1"/>
                </a:solidFill>
              </a:rPr>
              <a:pPr/>
              <a:t>17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122" name="Graphic 5121">
            <a:extLst>
              <a:ext uri="{FF2B5EF4-FFF2-40B4-BE49-F238E27FC236}">
                <a16:creationId xmlns:a16="http://schemas.microsoft.com/office/drawing/2014/main" id="{9CEF06BE-2A0B-55A3-F9E4-2EE7B98C0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8215" y="6432615"/>
            <a:ext cx="1109670" cy="366259"/>
          </a:xfrm>
          <a:prstGeom prst="rect">
            <a:avLst/>
          </a:prstGeom>
        </p:spPr>
      </p:pic>
      <p:pic>
        <p:nvPicPr>
          <p:cNvPr id="5" name="Picture 4" descr="A blue circles with white dots&#10;&#10;Description automatically generated">
            <a:extLst>
              <a:ext uri="{FF2B5EF4-FFF2-40B4-BE49-F238E27FC236}">
                <a16:creationId xmlns:a16="http://schemas.microsoft.com/office/drawing/2014/main" id="{1506114D-BF04-D8FA-D5D0-E37476F1618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807293">
            <a:off x="-816252" y="1063940"/>
            <a:ext cx="4291409" cy="4237768"/>
          </a:xfrm>
          <a:prstGeom prst="rect">
            <a:avLst/>
          </a:prstGeom>
          <a:noFill/>
          <a:effectLst>
            <a:glow rad="12700">
              <a:schemeClr val="bg1">
                <a:alpha val="77000"/>
              </a:schemeClr>
            </a:glow>
          </a:effectLst>
        </p:spPr>
      </p:pic>
      <p:sp>
        <p:nvSpPr>
          <p:cNvPr id="6" name="Cross 5">
            <a:extLst>
              <a:ext uri="{FF2B5EF4-FFF2-40B4-BE49-F238E27FC236}">
                <a16:creationId xmlns:a16="http://schemas.microsoft.com/office/drawing/2014/main" id="{68A2BBB5-F33E-028B-1B1F-7889E60345CF}"/>
              </a:ext>
            </a:extLst>
          </p:cNvPr>
          <p:cNvSpPr/>
          <p:nvPr/>
        </p:nvSpPr>
        <p:spPr bwMode="auto">
          <a:xfrm>
            <a:off x="3317168" y="2685431"/>
            <a:ext cx="1034980" cy="994786"/>
          </a:xfrm>
          <a:prstGeom prst="plus">
            <a:avLst>
              <a:gd name="adj" fmla="val 37712"/>
            </a:avLst>
          </a:prstGeom>
          <a:solidFill>
            <a:schemeClr val="accent2">
              <a:alpha val="50000"/>
            </a:schemeClr>
          </a:solidFill>
          <a:ln>
            <a:noFill/>
          </a:ln>
          <a:effectLst>
            <a:glow rad="63500">
              <a:schemeClr val="bg1"/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pic>
        <p:nvPicPr>
          <p:cNvPr id="7" name="Graphic 6" descr="Brain in head outline">
            <a:extLst>
              <a:ext uri="{FF2B5EF4-FFF2-40B4-BE49-F238E27FC236}">
                <a16:creationId xmlns:a16="http://schemas.microsoft.com/office/drawing/2014/main" id="{EED10721-DF67-DF5B-F712-1EA06F9BCF2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35155" y="2030820"/>
            <a:ext cx="2052376" cy="2052376"/>
          </a:xfrm>
          <a:prstGeom prst="rect">
            <a:avLst/>
          </a:prstGeom>
          <a:effectLst>
            <a:glow rad="63500">
              <a:schemeClr val="bg1"/>
            </a:glow>
          </a:effectLst>
        </p:spPr>
      </p:pic>
      <p:sp>
        <p:nvSpPr>
          <p:cNvPr id="9" name="Thought Bubble: Cloud 8">
            <a:extLst>
              <a:ext uri="{FF2B5EF4-FFF2-40B4-BE49-F238E27FC236}">
                <a16:creationId xmlns:a16="http://schemas.microsoft.com/office/drawing/2014/main" id="{84118EEA-40F5-F2C8-1AD0-CA44E273B8BC}"/>
              </a:ext>
            </a:extLst>
          </p:cNvPr>
          <p:cNvSpPr/>
          <p:nvPr/>
        </p:nvSpPr>
        <p:spPr bwMode="auto">
          <a:xfrm>
            <a:off x="8225159" y="1774090"/>
            <a:ext cx="3557885" cy="2375485"/>
          </a:xfrm>
          <a:prstGeom prst="cloudCallout">
            <a:avLst>
              <a:gd name="adj1" fmla="val -29269"/>
              <a:gd name="adj2" fmla="val 93379"/>
            </a:avLst>
          </a:prstGeom>
          <a:ln>
            <a:headEnd type="none" w="sm" len="sm"/>
            <a:tailEnd type="none" w="sm" len="sm"/>
          </a:ln>
          <a:effectLst>
            <a:glow rad="63500">
              <a:schemeClr val="bg1"/>
            </a:glo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2400" kern="0" dirty="0">
                <a:solidFill>
                  <a:srgbClr val="626469"/>
                </a:solidFill>
                <a:latin typeface="Arial"/>
              </a:rPr>
              <a:t>Would you like to try our new synthesis route? </a:t>
            </a:r>
          </a:p>
        </p:txBody>
      </p:sp>
      <p:sp>
        <p:nvSpPr>
          <p:cNvPr id="12" name="Equals 11">
            <a:extLst>
              <a:ext uri="{FF2B5EF4-FFF2-40B4-BE49-F238E27FC236}">
                <a16:creationId xmlns:a16="http://schemas.microsoft.com/office/drawing/2014/main" id="{72A6E8A8-599E-5037-0C37-3C24315B0A49}"/>
              </a:ext>
            </a:extLst>
          </p:cNvPr>
          <p:cNvSpPr/>
          <p:nvPr/>
        </p:nvSpPr>
        <p:spPr bwMode="auto">
          <a:xfrm>
            <a:off x="6311360" y="2697437"/>
            <a:ext cx="1772317" cy="1032873"/>
          </a:xfrm>
          <a:prstGeom prst="mathEqual">
            <a:avLst/>
          </a:prstGeom>
          <a:solidFill>
            <a:schemeClr val="accent2">
              <a:alpha val="50000"/>
            </a:schemeClr>
          </a:solidFill>
          <a:ln>
            <a:noFill/>
          </a:ln>
          <a:effectLst>
            <a:glow rad="63500">
              <a:schemeClr val="bg1"/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0950631"/>
      </p:ext>
    </p:extLst>
  </p:cSld>
  <p:clrMapOvr>
    <a:masterClrMapping/>
  </p:clrMapOvr>
  <p:transition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31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462F0D-0667-0641-986B-9ACDAE579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462F0D-0667-0641-986B-9ACDAE579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8F92D29D-B629-4D8F-A5E6-F51B9BFDAA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chemeClr val="bg1"/>
                </a:solidFill>
              </a:rPr>
              <a:t>Classification: PUBLIC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9F11A7-3B14-466B-ABB0-9AE773AC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ja-JP" dirty="0">
                <a:solidFill>
                  <a:schemeClr val="bg1"/>
                </a:solidFill>
              </a:rPr>
              <a:t>The last slide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A9BA59CD-38E2-4A16-AF15-58BC88EBAB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de-DE" smtClean="0">
                <a:solidFill>
                  <a:schemeClr val="bg1"/>
                </a:solidFill>
              </a:rPr>
              <a:pPr/>
              <a:t>18</a:t>
            </a:fld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122" name="Graphic 5121">
            <a:extLst>
              <a:ext uri="{FF2B5EF4-FFF2-40B4-BE49-F238E27FC236}">
                <a16:creationId xmlns:a16="http://schemas.microsoft.com/office/drawing/2014/main" id="{9CEF06BE-2A0B-55A3-F9E4-2EE7B98C0C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8215" y="6432615"/>
            <a:ext cx="1109670" cy="366259"/>
          </a:xfrm>
          <a:prstGeom prst="rect">
            <a:avLst/>
          </a:prstGeom>
        </p:spPr>
      </p:pic>
      <p:pic>
        <p:nvPicPr>
          <p:cNvPr id="3" name="Picture 2" descr="A logo with a moon and stars&#10;&#10;Description automatically generated">
            <a:extLst>
              <a:ext uri="{FF2B5EF4-FFF2-40B4-BE49-F238E27FC236}">
                <a16:creationId xmlns:a16="http://schemas.microsoft.com/office/drawing/2014/main" id="{F3E103DC-432F-4B3D-17BA-19DEEB39C38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48" t="4359" r="29435" b="11205"/>
          <a:stretch/>
        </p:blipFill>
        <p:spPr>
          <a:xfrm>
            <a:off x="555896" y="845956"/>
            <a:ext cx="2150088" cy="2440491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3EAA1B0-ACCE-A482-0794-B5D1172C13F0}"/>
              </a:ext>
            </a:extLst>
          </p:cNvPr>
          <p:cNvSpPr txBox="1"/>
          <p:nvPr/>
        </p:nvSpPr>
        <p:spPr bwMode="auto">
          <a:xfrm>
            <a:off x="2843238" y="980644"/>
            <a:ext cx="2451651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</a:rPr>
              <a:t>Open sourc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8457C10-BFA9-5496-90A5-1FCB568C3C7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6316" y="3482712"/>
            <a:ext cx="1962559" cy="200042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3F452AF-E7DB-7256-1ABC-37F29650DB3C}"/>
              </a:ext>
            </a:extLst>
          </p:cNvPr>
          <p:cNvSpPr txBox="1"/>
          <p:nvPr/>
        </p:nvSpPr>
        <p:spPr bwMode="auto">
          <a:xfrm>
            <a:off x="2843238" y="1670037"/>
            <a:ext cx="389346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2400" kern="0" dirty="0">
                <a:solidFill>
                  <a:schemeClr val="bg1"/>
                </a:solidFill>
                <a:latin typeface="Arial"/>
              </a:rPr>
              <a:t>https://github.com/syngenta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FBE4F22-145C-D55A-F4DD-187A90BCA7D3}"/>
              </a:ext>
            </a:extLst>
          </p:cNvPr>
          <p:cNvGrpSpPr/>
          <p:nvPr/>
        </p:nvGrpSpPr>
        <p:grpSpPr>
          <a:xfrm>
            <a:off x="6751002" y="930726"/>
            <a:ext cx="2908202" cy="3310848"/>
            <a:chOff x="6751002" y="594824"/>
            <a:chExt cx="2908202" cy="3310848"/>
          </a:xfrm>
        </p:grpSpPr>
        <p:pic>
          <p:nvPicPr>
            <p:cNvPr id="12" name="Picture 11" descr="A person with glasses smiling&#10;&#10;Description automatically generated">
              <a:extLst>
                <a:ext uri="{FF2B5EF4-FFF2-40B4-BE49-F238E27FC236}">
                  <a16:creationId xmlns:a16="http://schemas.microsoft.com/office/drawing/2014/main" id="{038554B2-B5DE-B326-3A99-2927BD7C1C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3446" t="8118" r="-9386" b="-1"/>
            <a:stretch/>
          </p:blipFill>
          <p:spPr>
            <a:xfrm>
              <a:off x="6751002" y="594824"/>
              <a:ext cx="2575878" cy="2575878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60AC401-E911-CF42-AAF4-206C8192CBD4}"/>
                </a:ext>
              </a:extLst>
            </p:cNvPr>
            <p:cNvSpPr txBox="1"/>
            <p:nvPr/>
          </p:nvSpPr>
          <p:spPr bwMode="auto">
            <a:xfrm>
              <a:off x="7207553" y="3429000"/>
              <a:ext cx="2451651" cy="476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sz="2400" kern="0" dirty="0">
                  <a:solidFill>
                    <a:schemeClr val="bg1"/>
                  </a:solidFill>
                  <a:latin typeface="Arial"/>
                </a:rPr>
                <a:t>Marco Stenta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CB6E25C-D52C-D979-8E30-89FAE34B31E1}"/>
              </a:ext>
            </a:extLst>
          </p:cNvPr>
          <p:cNvGrpSpPr/>
          <p:nvPr/>
        </p:nvGrpSpPr>
        <p:grpSpPr>
          <a:xfrm>
            <a:off x="9621098" y="930726"/>
            <a:ext cx="2567727" cy="3310848"/>
            <a:chOff x="9621098" y="594824"/>
            <a:chExt cx="2567727" cy="3310848"/>
          </a:xfrm>
        </p:grpSpPr>
        <p:pic>
          <p:nvPicPr>
            <p:cNvPr id="15" name="Picture 14" descr="A person wearing glasses and a grey blazer&#10;&#10;Description automatically generated">
              <a:extLst>
                <a:ext uri="{FF2B5EF4-FFF2-40B4-BE49-F238E27FC236}">
                  <a16:creationId xmlns:a16="http://schemas.microsoft.com/office/drawing/2014/main" id="{1952AAB1-126D-1B10-FBEA-7DB5A9CADD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53" t="3910" r="25238" b="54201"/>
            <a:stretch/>
          </p:blipFill>
          <p:spPr>
            <a:xfrm>
              <a:off x="9621098" y="594824"/>
              <a:ext cx="2150088" cy="2575878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49FFDF-BF12-C3F4-9EDC-7D98698A21AF}"/>
                </a:ext>
              </a:extLst>
            </p:cNvPr>
            <p:cNvSpPr txBox="1"/>
            <p:nvPr/>
          </p:nvSpPr>
          <p:spPr bwMode="auto">
            <a:xfrm>
              <a:off x="9737174" y="3429000"/>
              <a:ext cx="2451651" cy="476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sz="2400" kern="0" dirty="0">
                  <a:solidFill>
                    <a:schemeClr val="bg1"/>
                  </a:solidFill>
                  <a:latin typeface="Arial"/>
                </a:rPr>
                <a:t>Marta Pasquini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FB63B16-D246-EF78-9AD5-5AD9423E3EBC}"/>
              </a:ext>
            </a:extLst>
          </p:cNvPr>
          <p:cNvGrpSpPr/>
          <p:nvPr/>
        </p:nvGrpSpPr>
        <p:grpSpPr>
          <a:xfrm>
            <a:off x="7117508" y="4411981"/>
            <a:ext cx="4835005" cy="1234377"/>
            <a:chOff x="7117508" y="4411981"/>
            <a:chExt cx="4835005" cy="1234377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39EE1C1-ADA4-EFBF-3B9C-74A070BEC2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04413" y="4411981"/>
              <a:ext cx="1921018" cy="523914"/>
            </a:xfrm>
            <a:prstGeom prst="rect">
              <a:avLst/>
            </a:prstGeom>
            <a:effectLst>
              <a:glow rad="76200">
                <a:schemeClr val="bg1"/>
              </a:glow>
            </a:effectLst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7FB85D9-B33B-307F-92B0-D010501E525C}"/>
                </a:ext>
              </a:extLst>
            </p:cNvPr>
            <p:cNvSpPr txBox="1"/>
            <p:nvPr/>
          </p:nvSpPr>
          <p:spPr bwMode="auto">
            <a:xfrm>
              <a:off x="7117508" y="5169686"/>
              <a:ext cx="4835005" cy="476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r>
                <a:rPr lang="en-US" dirty="0">
                  <a:solidFill>
                    <a:schemeClr val="bg1"/>
                  </a:solidFill>
                </a:rPr>
                <a:t>Pasquini, Marta, and Marco Stenta. "</a:t>
              </a:r>
              <a:r>
                <a:rPr lang="en-US" dirty="0" err="1">
                  <a:solidFill>
                    <a:schemeClr val="bg1"/>
                  </a:solidFill>
                </a:rPr>
                <a:t>LinChemIn</a:t>
              </a:r>
              <a:r>
                <a:rPr lang="en-US" dirty="0">
                  <a:solidFill>
                    <a:schemeClr val="bg1"/>
                  </a:solidFill>
                </a:rPr>
                <a:t>: </a:t>
              </a:r>
              <a:r>
                <a:rPr lang="en-US" dirty="0" err="1">
                  <a:solidFill>
                    <a:schemeClr val="bg1"/>
                  </a:solidFill>
                </a:rPr>
                <a:t>SynGraph</a:t>
              </a:r>
              <a:r>
                <a:rPr lang="en-US" dirty="0">
                  <a:solidFill>
                    <a:schemeClr val="bg1"/>
                  </a:solidFill>
                </a:rPr>
                <a:t>—a data model and a toolkit to analyze and compare synthetic routes." </a:t>
              </a:r>
              <a:r>
                <a:rPr lang="en-US" i="1" dirty="0">
                  <a:solidFill>
                    <a:schemeClr val="bg1"/>
                  </a:solidFill>
                </a:rPr>
                <a:t>Journal of Cheminformatics</a:t>
              </a:r>
              <a:r>
                <a:rPr lang="en-US" dirty="0">
                  <a:solidFill>
                    <a:schemeClr val="bg1"/>
                  </a:solidFill>
                </a:rPr>
                <a:t> 15.1 (2023): 41.</a:t>
              </a:r>
              <a:r>
                <a:rPr lang="en-US" dirty="0"/>
                <a:t> </a:t>
              </a:r>
              <a:r>
                <a:rPr lang="en-US" dirty="0">
                  <a:hlinkClick r:id="rId13"/>
                </a:rPr>
                <a:t>https://doi.org/10.1186/s13321-023-00714-y</a:t>
              </a:r>
              <a:endParaRPr lang="en-US" dirty="0"/>
            </a:p>
            <a:p>
              <a:pPr defTabSz="957263">
                <a:spcAft>
                  <a:spcPts val="600"/>
                </a:spcAft>
                <a:buClr>
                  <a:srgbClr val="5F7800"/>
                </a:buClr>
              </a:pPr>
              <a:endParaRPr lang="en-US" kern="0" dirty="0">
                <a:solidFill>
                  <a:schemeClr val="bg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3140341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1007171" y="6558108"/>
            <a:ext cx="1460336" cy="12311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>
                <a:solidFill>
                  <a:srgbClr val="626469"/>
                </a:solidFill>
              </a:rPr>
              <a:t>Classification: </a:t>
            </a:r>
            <a:r>
              <a:rPr lang="en-US"/>
              <a:t>Internal Use Only</a:t>
            </a:r>
            <a:endParaRPr lang="en-US">
              <a:solidFill>
                <a:srgbClr val="626469"/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7" name="Bild 6" descr="claim.png"/>
          <p:cNvPicPr>
            <a:picLocks noChangeAspect="1"/>
          </p:cNvPicPr>
          <p:nvPr/>
        </p:nvPicPr>
        <p:blipFill>
          <a:blip r:embed="rId3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saturation sat="66000"/>
                    </a14:imgEffect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9956" y="2420888"/>
            <a:ext cx="8352928" cy="1396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08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D265972-0F55-9960-804D-93634C80A80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Classification: Public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E73C96A-EAEF-8C7F-F188-B7C6C56EC6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CBDB47C1-CD72-13F3-A31D-CE2B4D1C7D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8" t="29185" r="6795"/>
          <a:stretch/>
        </p:blipFill>
        <p:spPr bwMode="auto">
          <a:xfrm rot="5400000">
            <a:off x="7872065" y="1423639"/>
            <a:ext cx="6299200" cy="3426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44DF0A5-05F1-A55C-BAE1-B4A9FD4BB197}"/>
              </a:ext>
            </a:extLst>
          </p:cNvPr>
          <p:cNvSpPr txBox="1"/>
          <p:nvPr/>
        </p:nvSpPr>
        <p:spPr>
          <a:xfrm>
            <a:off x="1371946" y="1000029"/>
            <a:ext cx="9444929" cy="430887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rgbClr val="6976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eaction data </a:t>
            </a:r>
            <a:r>
              <a:rPr lang="en-US" sz="2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connected through a</a:t>
            </a:r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etwork</a:t>
            </a:r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c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05998-D9A2-722B-2724-6ABD0BAB7D76}"/>
              </a:ext>
            </a:extLst>
          </p:cNvPr>
          <p:cNvSpPr txBox="1"/>
          <p:nvPr/>
        </p:nvSpPr>
        <p:spPr>
          <a:xfrm>
            <a:off x="405780" y="1934350"/>
            <a:ext cx="9444929" cy="430887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etworks</a:t>
            </a:r>
            <a:r>
              <a:rPr lang="en-US" sz="2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veal information and </a:t>
            </a: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  <a:r>
              <a:rPr lang="en-US" sz="2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idden in tab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3AA85CE-2335-558C-0A7C-B0DBF9275DFF}"/>
              </a:ext>
            </a:extLst>
          </p:cNvPr>
          <p:cNvSpPr txBox="1"/>
          <p:nvPr/>
        </p:nvSpPr>
        <p:spPr>
          <a:xfrm>
            <a:off x="1371946" y="2938031"/>
            <a:ext cx="9444929" cy="430887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 make us more </a:t>
            </a: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ffective</a:t>
            </a:r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fficient</a:t>
            </a:r>
            <a:endParaRPr lang="en-US" sz="28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DC5F81-813F-874C-CF0F-8370458B0946}"/>
              </a:ext>
            </a:extLst>
          </p:cNvPr>
          <p:cNvSpPr txBox="1"/>
          <p:nvPr/>
        </p:nvSpPr>
        <p:spPr>
          <a:xfrm>
            <a:off x="1371946" y="4963259"/>
            <a:ext cx="9444929" cy="430887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of this is impossible without </a:t>
            </a: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high-quality</a:t>
            </a:r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9EFE75-5211-B36A-0CCC-E5325BCE9123}"/>
              </a:ext>
            </a:extLst>
          </p:cNvPr>
          <p:cNvSpPr txBox="1"/>
          <p:nvPr/>
        </p:nvSpPr>
        <p:spPr>
          <a:xfrm>
            <a:off x="405780" y="3946878"/>
            <a:ext cx="9444929" cy="430887"/>
          </a:xfrm>
          <a:prstGeom prst="rect">
            <a:avLst/>
          </a:prstGeom>
          <a:noFill/>
        </p:spPr>
        <p:txBody>
          <a:bodyPr wrap="square" lIns="0" tIns="0" bIns="0">
            <a:spAutoFit/>
          </a:bodyPr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ction network supports </a:t>
            </a: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I</a:t>
            </a:r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pplications</a:t>
            </a:r>
          </a:p>
        </p:txBody>
      </p:sp>
    </p:spTree>
    <p:extLst>
      <p:ext uri="{BB962C8B-B14F-4D97-AF65-F5344CB8AC3E}">
        <p14:creationId xmlns:p14="http://schemas.microsoft.com/office/powerpoint/2010/main" val="276353990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  <p:bldP spid="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054FF90-627E-4982-80A8-0FB368775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057" y="321209"/>
            <a:ext cx="11377264" cy="1007738"/>
          </a:xfrm>
        </p:spPr>
        <p:txBody>
          <a:bodyPr/>
          <a:lstStyle/>
          <a:p>
            <a:r>
              <a:rPr lang="de-CH" dirty="0"/>
              <a:t>Do we need a DSTA? </a:t>
            </a:r>
            <a:br>
              <a:rPr lang="de-CH" dirty="0"/>
            </a:br>
            <a:r>
              <a:rPr lang="de-CH" dirty="0"/>
              <a:t> </a:t>
            </a:r>
            <a:r>
              <a:rPr lang="de-CH" sz="2399" dirty="0"/>
              <a:t>Introducing the «Property Space problem»</a:t>
            </a:r>
            <a:endParaRPr lang="en-US" dirty="0"/>
          </a:p>
        </p:txBody>
      </p:sp>
      <p:grpSp>
        <p:nvGrpSpPr>
          <p:cNvPr id="7" name="Group 10">
            <a:extLst>
              <a:ext uri="{FF2B5EF4-FFF2-40B4-BE49-F238E27FC236}">
                <a16:creationId xmlns:a16="http://schemas.microsoft.com/office/drawing/2014/main" id="{8D6FAD1F-462A-486E-AA30-300FD094BBE8}"/>
              </a:ext>
            </a:extLst>
          </p:cNvPr>
          <p:cNvGrpSpPr/>
          <p:nvPr/>
        </p:nvGrpSpPr>
        <p:grpSpPr>
          <a:xfrm>
            <a:off x="247688" y="1722527"/>
            <a:ext cx="4582827" cy="4064595"/>
            <a:chOff x="633267" y="2593613"/>
            <a:chExt cx="2880000" cy="3746936"/>
          </a:xfrm>
        </p:grpSpPr>
        <p:sp>
          <p:nvSpPr>
            <p:cNvPr id="8" name="Rounded Rectangle 4">
              <a:extLst>
                <a:ext uri="{FF2B5EF4-FFF2-40B4-BE49-F238E27FC236}">
                  <a16:creationId xmlns:a16="http://schemas.microsoft.com/office/drawing/2014/main" id="{651D73B5-63FF-47EB-9527-F7C45C8D7CB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3267" y="2593613"/>
              <a:ext cx="2880000" cy="3746936"/>
            </a:xfrm>
            <a:prstGeom prst="roundRect">
              <a:avLst>
                <a:gd name="adj" fmla="val 9722"/>
              </a:avLst>
            </a:prstGeom>
            <a:solidFill>
              <a:schemeClr val="bg1">
                <a:lumMod val="95000"/>
              </a:schemeClr>
            </a:solidFill>
            <a:ln w="7620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rot="0" spcFirstLastPara="0" vertOverflow="overflow" horzOverflow="overflow" vert="horz" wrap="square" lIns="143926" tIns="143926" rIns="143926" bIns="14392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578" indent="-285578" defTabSz="956689" fontAlgn="auto">
                <a:spcBef>
                  <a:spcPts val="0"/>
                </a:spcBef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  <a:defRPr/>
              </a:pPr>
              <a:endParaRPr lang="en-US" sz="1200" kern="0" err="1">
                <a:solidFill>
                  <a:srgbClr val="626469"/>
                </a:solidFill>
                <a:latin typeface="Arial"/>
              </a:endParaRPr>
            </a:p>
          </p:txBody>
        </p:sp>
        <p:grpSp>
          <p:nvGrpSpPr>
            <p:cNvPr id="9" name="Group 117">
              <a:extLst>
                <a:ext uri="{FF2B5EF4-FFF2-40B4-BE49-F238E27FC236}">
                  <a16:creationId xmlns:a16="http://schemas.microsoft.com/office/drawing/2014/main" id="{D0F17B7B-FB93-4AA6-A5BD-3688103F858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52532" y="2861431"/>
              <a:ext cx="2801141" cy="3099969"/>
              <a:chOff x="-74365" y="1700830"/>
              <a:chExt cx="4158747" cy="3099969"/>
            </a:xfrm>
          </p:grpSpPr>
          <p:cxnSp>
            <p:nvCxnSpPr>
              <p:cNvPr id="10" name="Straight Connector 118">
                <a:extLst>
                  <a:ext uri="{FF2B5EF4-FFF2-40B4-BE49-F238E27FC236}">
                    <a16:creationId xmlns:a16="http://schemas.microsoft.com/office/drawing/2014/main" id="{8DBD21F2-26DB-4733-BE3B-1E535007B432}"/>
                  </a:ext>
                </a:extLst>
              </p:cNvPr>
              <p:cNvCxnSpPr/>
              <p:nvPr/>
            </p:nvCxnSpPr>
            <p:spPr bwMode="auto">
              <a:xfrm>
                <a:off x="947428" y="2996952"/>
                <a:ext cx="2232248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11" name="Straight Connector 119">
                <a:extLst>
                  <a:ext uri="{FF2B5EF4-FFF2-40B4-BE49-F238E27FC236}">
                    <a16:creationId xmlns:a16="http://schemas.microsoft.com/office/drawing/2014/main" id="{F567B60E-C0AA-405F-BEEB-414F023B50E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63552" y="1952836"/>
                <a:ext cx="0" cy="2088232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sp>
            <p:nvSpPr>
              <p:cNvPr id="12" name="Rectangle 120">
                <a:extLst>
                  <a:ext uri="{FF2B5EF4-FFF2-40B4-BE49-F238E27FC236}">
                    <a16:creationId xmlns:a16="http://schemas.microsoft.com/office/drawing/2014/main" id="{C2ED3AC2-DECB-4378-A4F8-8039EEEA4D6B}"/>
                  </a:ext>
                </a:extLst>
              </p:cNvPr>
              <p:cNvSpPr/>
              <p:nvPr/>
            </p:nvSpPr>
            <p:spPr bwMode="auto">
              <a:xfrm>
                <a:off x="1523492" y="1736812"/>
                <a:ext cx="1044116" cy="252028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6689" fontAlgn="auto">
                  <a:spcBef>
                    <a:spcPts val="0"/>
                  </a:spcBef>
                  <a:spcAft>
                    <a:spcPts val="600"/>
                  </a:spcAft>
                  <a:buClr>
                    <a:srgbClr val="5F7800"/>
                  </a:buClr>
                  <a:defRPr/>
                </a:pPr>
                <a:r>
                  <a:rPr lang="pl-PL" sz="1200" kern="0">
                    <a:solidFill>
                      <a:srgbClr val="626469"/>
                    </a:solidFill>
                    <a:latin typeface="Arial"/>
                  </a:rPr>
                  <a:t>Potency</a:t>
                </a:r>
                <a:endParaRPr lang="en-US" sz="1200" kern="0">
                  <a:solidFill>
                    <a:srgbClr val="626469"/>
                  </a:solidFill>
                  <a:latin typeface="Arial"/>
                </a:endParaRPr>
              </a:p>
            </p:txBody>
          </p:sp>
          <p:sp>
            <p:nvSpPr>
              <p:cNvPr id="13" name="Rectangle 159">
                <a:extLst>
                  <a:ext uri="{FF2B5EF4-FFF2-40B4-BE49-F238E27FC236}">
                    <a16:creationId xmlns:a16="http://schemas.microsoft.com/office/drawing/2014/main" id="{B6091AFC-BBA6-44D4-BC53-35F27B3BDAA3}"/>
                  </a:ext>
                </a:extLst>
              </p:cNvPr>
              <p:cNvSpPr/>
              <p:nvPr/>
            </p:nvSpPr>
            <p:spPr bwMode="auto">
              <a:xfrm>
                <a:off x="2675619" y="1700830"/>
                <a:ext cx="1124707" cy="230789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6689" fontAlgn="auto">
                  <a:spcBef>
                    <a:spcPts val="0"/>
                  </a:spcBef>
                  <a:spcAft>
                    <a:spcPts val="600"/>
                  </a:spcAft>
                  <a:buClr>
                    <a:srgbClr val="5F7800"/>
                  </a:buClr>
                  <a:defRPr/>
                </a:pPr>
                <a:r>
                  <a:rPr lang="pl-PL" sz="1200" kern="0">
                    <a:solidFill>
                      <a:srgbClr val="626469"/>
                    </a:solidFill>
                    <a:latin typeface="Arial"/>
                  </a:rPr>
                  <a:t>Innovative class/new mode of action</a:t>
                </a:r>
                <a:endParaRPr lang="en-US" sz="1200" kern="0">
                  <a:solidFill>
                    <a:srgbClr val="626469"/>
                  </a:solidFill>
                  <a:latin typeface="Arial"/>
                </a:endParaRPr>
              </a:p>
            </p:txBody>
          </p:sp>
          <p:sp>
            <p:nvSpPr>
              <p:cNvPr id="14" name="Rectangle 160">
                <a:extLst>
                  <a:ext uri="{FF2B5EF4-FFF2-40B4-BE49-F238E27FC236}">
                    <a16:creationId xmlns:a16="http://schemas.microsoft.com/office/drawing/2014/main" id="{DF2EAF7A-6979-4412-B345-A7B90C331379}"/>
                  </a:ext>
                </a:extLst>
              </p:cNvPr>
              <p:cNvSpPr/>
              <p:nvPr/>
            </p:nvSpPr>
            <p:spPr bwMode="auto">
              <a:xfrm>
                <a:off x="3076270" y="2672916"/>
                <a:ext cx="1008112" cy="684075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6689" fontAlgn="auto">
                  <a:spcBef>
                    <a:spcPts val="0"/>
                  </a:spcBef>
                  <a:spcAft>
                    <a:spcPts val="600"/>
                  </a:spcAft>
                  <a:buClr>
                    <a:srgbClr val="5F7800"/>
                  </a:buClr>
                  <a:defRPr/>
                </a:pPr>
                <a:r>
                  <a:rPr lang="pl-PL" sz="1200" kern="0">
                    <a:solidFill>
                      <a:srgbClr val="626469"/>
                    </a:solidFill>
                    <a:latin typeface="Arial"/>
                  </a:rPr>
                  <a:t>Broad </a:t>
                </a:r>
                <a:br>
                  <a:rPr lang="pl-PL" sz="1200" kern="0">
                    <a:solidFill>
                      <a:srgbClr val="626469"/>
                    </a:solidFill>
                    <a:latin typeface="Arial"/>
                  </a:rPr>
                </a:br>
                <a:r>
                  <a:rPr lang="pl-PL" sz="1200" kern="0">
                    <a:solidFill>
                      <a:srgbClr val="626469"/>
                    </a:solidFill>
                    <a:latin typeface="Arial"/>
                  </a:rPr>
                  <a:t>spectrum</a:t>
                </a:r>
                <a:br>
                  <a:rPr lang="pl-PL" sz="1200" kern="0">
                    <a:solidFill>
                      <a:srgbClr val="626469"/>
                    </a:solidFill>
                    <a:latin typeface="Arial"/>
                  </a:rPr>
                </a:br>
                <a:r>
                  <a:rPr lang="pl-PL" sz="1200" kern="0">
                    <a:solidFill>
                      <a:srgbClr val="626469"/>
                    </a:solidFill>
                    <a:latin typeface="Arial"/>
                  </a:rPr>
                  <a:t>active </a:t>
                </a:r>
                <a:br>
                  <a:rPr lang="en-US" sz="1200" kern="0">
                    <a:solidFill>
                      <a:srgbClr val="626469"/>
                    </a:solidFill>
                    <a:latin typeface="Arial"/>
                  </a:rPr>
                </a:br>
                <a:r>
                  <a:rPr lang="pl-PL" sz="1200" kern="0">
                    <a:solidFill>
                      <a:srgbClr val="626469"/>
                    </a:solidFill>
                    <a:latin typeface="Arial"/>
                  </a:rPr>
                  <a:t>ingredient</a:t>
                </a:r>
                <a:endParaRPr lang="en-US" sz="1200" kern="0">
                  <a:solidFill>
                    <a:srgbClr val="626469"/>
                  </a:solidFill>
                  <a:latin typeface="Arial"/>
                </a:endParaRPr>
              </a:p>
            </p:txBody>
          </p:sp>
          <p:sp>
            <p:nvSpPr>
              <p:cNvPr id="15" name="Rectangle 161">
                <a:extLst>
                  <a:ext uri="{FF2B5EF4-FFF2-40B4-BE49-F238E27FC236}">
                    <a16:creationId xmlns:a16="http://schemas.microsoft.com/office/drawing/2014/main" id="{4718A57F-B3BD-4CDE-9E2F-134D6CDBCA32}"/>
                  </a:ext>
                </a:extLst>
              </p:cNvPr>
              <p:cNvSpPr/>
              <p:nvPr/>
            </p:nvSpPr>
            <p:spPr bwMode="auto">
              <a:xfrm>
                <a:off x="2584519" y="3789040"/>
                <a:ext cx="1008112" cy="330873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6689" fontAlgn="auto">
                  <a:spcBef>
                    <a:spcPts val="0"/>
                  </a:spcBef>
                  <a:spcAft>
                    <a:spcPts val="600"/>
                  </a:spcAft>
                  <a:buClr>
                    <a:srgbClr val="5F7800"/>
                  </a:buClr>
                  <a:defRPr/>
                </a:pPr>
                <a:r>
                  <a:rPr lang="pl-PL" sz="1200" kern="0" dirty="0">
                    <a:solidFill>
                      <a:srgbClr val="626469"/>
                    </a:solidFill>
                    <a:latin typeface="Arial"/>
                  </a:rPr>
                  <a:t>Climate resilience and soil health</a:t>
                </a:r>
                <a:endParaRPr lang="en-US" sz="1200" kern="0" dirty="0">
                  <a:solidFill>
                    <a:srgbClr val="626469"/>
                  </a:solidFill>
                  <a:latin typeface="Arial"/>
                </a:endParaRPr>
              </a:p>
            </p:txBody>
          </p:sp>
          <p:sp>
            <p:nvSpPr>
              <p:cNvPr id="16" name="Rectangle 162">
                <a:extLst>
                  <a:ext uri="{FF2B5EF4-FFF2-40B4-BE49-F238E27FC236}">
                    <a16:creationId xmlns:a16="http://schemas.microsoft.com/office/drawing/2014/main" id="{E7A3388C-1A4E-41B5-AD76-01AABA099570}"/>
                  </a:ext>
                </a:extLst>
              </p:cNvPr>
              <p:cNvSpPr/>
              <p:nvPr/>
            </p:nvSpPr>
            <p:spPr bwMode="auto">
              <a:xfrm>
                <a:off x="1451484" y="4116723"/>
                <a:ext cx="1224136" cy="684076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6689" fontAlgn="auto">
                  <a:spcBef>
                    <a:spcPts val="0"/>
                  </a:spcBef>
                  <a:spcAft>
                    <a:spcPts val="600"/>
                  </a:spcAft>
                  <a:buClr>
                    <a:srgbClr val="5F7800"/>
                  </a:buClr>
                  <a:defRPr/>
                </a:pPr>
                <a:r>
                  <a:rPr lang="pl-PL" sz="1200" kern="0">
                    <a:solidFill>
                      <a:srgbClr val="626469"/>
                    </a:solidFill>
                    <a:latin typeface="Arial"/>
                  </a:rPr>
                  <a:t>Fit for specific farmer, consumers and food value chain needs</a:t>
                </a:r>
                <a:endParaRPr lang="en-US" sz="1200" kern="0">
                  <a:solidFill>
                    <a:srgbClr val="626469"/>
                  </a:solidFill>
                  <a:latin typeface="Arial"/>
                </a:endParaRPr>
              </a:p>
            </p:txBody>
          </p:sp>
          <p:sp>
            <p:nvSpPr>
              <p:cNvPr id="17" name="Rectangle 163">
                <a:extLst>
                  <a:ext uri="{FF2B5EF4-FFF2-40B4-BE49-F238E27FC236}">
                    <a16:creationId xmlns:a16="http://schemas.microsoft.com/office/drawing/2014/main" id="{5AB63201-5937-44D9-96CB-2BB76E2AA5B8}"/>
                  </a:ext>
                </a:extLst>
              </p:cNvPr>
              <p:cNvSpPr/>
              <p:nvPr/>
            </p:nvSpPr>
            <p:spPr bwMode="auto">
              <a:xfrm>
                <a:off x="479424" y="3789040"/>
                <a:ext cx="1008112" cy="330873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6689" fontAlgn="auto">
                  <a:spcBef>
                    <a:spcPts val="0"/>
                  </a:spcBef>
                  <a:spcAft>
                    <a:spcPts val="600"/>
                  </a:spcAft>
                  <a:buClr>
                    <a:srgbClr val="5F7800"/>
                  </a:buClr>
                  <a:defRPr/>
                </a:pPr>
                <a:r>
                  <a:rPr lang="pl-PL" sz="1200" kern="0">
                    <a:solidFill>
                      <a:srgbClr val="626469"/>
                    </a:solidFill>
                    <a:latin typeface="Arial"/>
                  </a:rPr>
                  <a:t>Integrated Pest Management</a:t>
                </a:r>
                <a:endParaRPr lang="en-US" sz="1200" kern="0">
                  <a:solidFill>
                    <a:srgbClr val="626469"/>
                  </a:solidFill>
                  <a:latin typeface="Arial"/>
                </a:endParaRPr>
              </a:p>
            </p:txBody>
          </p:sp>
          <p:sp>
            <p:nvSpPr>
              <p:cNvPr id="18" name="Rectangle 164">
                <a:extLst>
                  <a:ext uri="{FF2B5EF4-FFF2-40B4-BE49-F238E27FC236}">
                    <a16:creationId xmlns:a16="http://schemas.microsoft.com/office/drawing/2014/main" id="{10BD4D04-38D2-468E-9967-CBD10B06DD55}"/>
                  </a:ext>
                </a:extLst>
              </p:cNvPr>
              <p:cNvSpPr/>
              <p:nvPr/>
            </p:nvSpPr>
            <p:spPr bwMode="auto">
              <a:xfrm>
                <a:off x="227348" y="2816932"/>
                <a:ext cx="792088" cy="360040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6689" fontAlgn="auto">
                  <a:spcBef>
                    <a:spcPts val="0"/>
                  </a:spcBef>
                  <a:spcAft>
                    <a:spcPts val="600"/>
                  </a:spcAft>
                  <a:buClr>
                    <a:srgbClr val="5F7800"/>
                  </a:buClr>
                  <a:defRPr/>
                </a:pPr>
                <a:r>
                  <a:rPr lang="pl-PL" sz="1200" kern="0">
                    <a:solidFill>
                      <a:srgbClr val="626469"/>
                    </a:solidFill>
                    <a:latin typeface="Arial"/>
                  </a:rPr>
                  <a:t>Cost </a:t>
                </a:r>
                <a:br>
                  <a:rPr lang="en-US" sz="1200" kern="0">
                    <a:solidFill>
                      <a:srgbClr val="626469"/>
                    </a:solidFill>
                    <a:latin typeface="Arial"/>
                  </a:rPr>
                </a:br>
                <a:r>
                  <a:rPr lang="pl-PL" sz="1200" kern="0">
                    <a:solidFill>
                      <a:srgbClr val="626469"/>
                    </a:solidFill>
                    <a:latin typeface="Arial"/>
                  </a:rPr>
                  <a:t>efficiency</a:t>
                </a:r>
                <a:endParaRPr lang="en-US" sz="1200" kern="0">
                  <a:solidFill>
                    <a:srgbClr val="626469"/>
                  </a:solidFill>
                  <a:latin typeface="Arial"/>
                </a:endParaRPr>
              </a:p>
            </p:txBody>
          </p:sp>
          <p:sp>
            <p:nvSpPr>
              <p:cNvPr id="19" name="Rectangle 165">
                <a:extLst>
                  <a:ext uri="{FF2B5EF4-FFF2-40B4-BE49-F238E27FC236}">
                    <a16:creationId xmlns:a16="http://schemas.microsoft.com/office/drawing/2014/main" id="{7B3C1088-C93F-4543-BB19-0EFF6ADA87FD}"/>
                  </a:ext>
                </a:extLst>
              </p:cNvPr>
              <p:cNvSpPr/>
              <p:nvPr/>
            </p:nvSpPr>
            <p:spPr bwMode="auto">
              <a:xfrm>
                <a:off x="-74365" y="1808820"/>
                <a:ext cx="1525849" cy="360040"/>
              </a:xfrm>
              <a:prstGeom prst="rect">
                <a:avLst/>
              </a:prstGeom>
              <a:noFill/>
              <a:ln w="6350" cap="flat" cmpd="sng" algn="ctr">
                <a:noFill/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56689" fontAlgn="auto">
                  <a:spcBef>
                    <a:spcPts val="0"/>
                  </a:spcBef>
                  <a:spcAft>
                    <a:spcPts val="600"/>
                  </a:spcAft>
                  <a:buClr>
                    <a:srgbClr val="5F7800"/>
                  </a:buClr>
                  <a:defRPr/>
                </a:pPr>
                <a:r>
                  <a:rPr lang="pl-PL" sz="1200" kern="0">
                    <a:solidFill>
                      <a:srgbClr val="626469"/>
                    </a:solidFill>
                    <a:latin typeface="Arial"/>
                  </a:rPr>
                  <a:t>Human and environmental safety</a:t>
                </a:r>
                <a:endParaRPr lang="en-US" sz="1200" kern="0">
                  <a:solidFill>
                    <a:srgbClr val="626469"/>
                  </a:solidFill>
                  <a:latin typeface="Arial"/>
                </a:endParaRPr>
              </a:p>
            </p:txBody>
          </p:sp>
          <p:cxnSp>
            <p:nvCxnSpPr>
              <p:cNvPr id="20" name="Straight Connector 171">
                <a:extLst>
                  <a:ext uri="{FF2B5EF4-FFF2-40B4-BE49-F238E27FC236}">
                    <a16:creationId xmlns:a16="http://schemas.microsoft.com/office/drawing/2014/main" id="{FFDA70C9-6E51-4FB6-9D2C-F70AD18C3EB8}"/>
                  </a:ext>
                </a:extLst>
              </p:cNvPr>
              <p:cNvCxnSpPr/>
              <p:nvPr/>
            </p:nvCxnSpPr>
            <p:spPr bwMode="auto">
              <a:xfrm>
                <a:off x="2027548" y="3254526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21" name="Straight Connector 172">
                <a:extLst>
                  <a:ext uri="{FF2B5EF4-FFF2-40B4-BE49-F238E27FC236}">
                    <a16:creationId xmlns:a16="http://schemas.microsoft.com/office/drawing/2014/main" id="{81CAD400-C803-4C9F-8D17-EB519797FAE0}"/>
                  </a:ext>
                </a:extLst>
              </p:cNvPr>
              <p:cNvCxnSpPr/>
              <p:nvPr/>
            </p:nvCxnSpPr>
            <p:spPr bwMode="auto">
              <a:xfrm>
                <a:off x="2027548" y="3511054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22" name="Straight Connector 173">
                <a:extLst>
                  <a:ext uri="{FF2B5EF4-FFF2-40B4-BE49-F238E27FC236}">
                    <a16:creationId xmlns:a16="http://schemas.microsoft.com/office/drawing/2014/main" id="{503DE938-54A0-4347-BD6F-2B54418A73FF}"/>
                  </a:ext>
                </a:extLst>
              </p:cNvPr>
              <p:cNvCxnSpPr/>
              <p:nvPr/>
            </p:nvCxnSpPr>
            <p:spPr bwMode="auto">
              <a:xfrm>
                <a:off x="2027548" y="3767582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23" name="Straight Connector 174">
                <a:extLst>
                  <a:ext uri="{FF2B5EF4-FFF2-40B4-BE49-F238E27FC236}">
                    <a16:creationId xmlns:a16="http://schemas.microsoft.com/office/drawing/2014/main" id="{40A71022-90FB-43B9-AC9A-52168AEE78D6}"/>
                  </a:ext>
                </a:extLst>
              </p:cNvPr>
              <p:cNvCxnSpPr/>
              <p:nvPr/>
            </p:nvCxnSpPr>
            <p:spPr bwMode="auto">
              <a:xfrm>
                <a:off x="2027548" y="4024112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24" name="Straight Connector 175">
                <a:extLst>
                  <a:ext uri="{FF2B5EF4-FFF2-40B4-BE49-F238E27FC236}">
                    <a16:creationId xmlns:a16="http://schemas.microsoft.com/office/drawing/2014/main" id="{60E8054C-55F9-4B91-A4D2-579BDB1C1F02}"/>
                  </a:ext>
                </a:extLst>
              </p:cNvPr>
              <p:cNvCxnSpPr/>
              <p:nvPr/>
            </p:nvCxnSpPr>
            <p:spPr bwMode="auto">
              <a:xfrm>
                <a:off x="2027548" y="2741470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25" name="Straight Connector 176">
                <a:extLst>
                  <a:ext uri="{FF2B5EF4-FFF2-40B4-BE49-F238E27FC236}">
                    <a16:creationId xmlns:a16="http://schemas.microsoft.com/office/drawing/2014/main" id="{0053CDAB-884C-47FB-BEE2-8D3EA11EDC33}"/>
                  </a:ext>
                </a:extLst>
              </p:cNvPr>
              <p:cNvCxnSpPr/>
              <p:nvPr/>
            </p:nvCxnSpPr>
            <p:spPr bwMode="auto">
              <a:xfrm>
                <a:off x="2027548" y="2484942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26" name="Straight Connector 177">
                <a:extLst>
                  <a:ext uri="{FF2B5EF4-FFF2-40B4-BE49-F238E27FC236}">
                    <a16:creationId xmlns:a16="http://schemas.microsoft.com/office/drawing/2014/main" id="{936DB58A-501A-4D33-A766-4CF4C6947C95}"/>
                  </a:ext>
                </a:extLst>
              </p:cNvPr>
              <p:cNvCxnSpPr/>
              <p:nvPr/>
            </p:nvCxnSpPr>
            <p:spPr bwMode="auto">
              <a:xfrm>
                <a:off x="2027548" y="2228413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27" name="Straight Connector 178">
                <a:extLst>
                  <a:ext uri="{FF2B5EF4-FFF2-40B4-BE49-F238E27FC236}">
                    <a16:creationId xmlns:a16="http://schemas.microsoft.com/office/drawing/2014/main" id="{3329ECDE-F0E0-406E-B27C-B58DFFF0041D}"/>
                  </a:ext>
                </a:extLst>
              </p:cNvPr>
              <p:cNvCxnSpPr/>
              <p:nvPr/>
            </p:nvCxnSpPr>
            <p:spPr bwMode="auto">
              <a:xfrm>
                <a:off x="2027548" y="1971884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28" name="Straight Connector 179">
                <a:extLst>
                  <a:ext uri="{FF2B5EF4-FFF2-40B4-BE49-F238E27FC236}">
                    <a16:creationId xmlns:a16="http://schemas.microsoft.com/office/drawing/2014/main" id="{F2093903-483A-4041-A8AA-2CE23DE933F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rot="5400000">
                <a:off x="1655510" y="2997998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29" name="Straight Connector 180">
                <a:extLst>
                  <a:ext uri="{FF2B5EF4-FFF2-40B4-BE49-F238E27FC236}">
                    <a16:creationId xmlns:a16="http://schemas.microsoft.com/office/drawing/2014/main" id="{334DFFF0-7684-471E-9B34-F95AD8145B2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rot="5400000">
                <a:off x="2399592" y="2997998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30" name="Straight Connector 181">
                <a:extLst>
                  <a:ext uri="{FF2B5EF4-FFF2-40B4-BE49-F238E27FC236}">
                    <a16:creationId xmlns:a16="http://schemas.microsoft.com/office/drawing/2014/main" id="{7C1BFF87-CE74-4DBC-BE77-82DC8D55988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rot="5400000">
                <a:off x="2771633" y="2997998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31" name="Straight Connector 182">
                <a:extLst>
                  <a:ext uri="{FF2B5EF4-FFF2-40B4-BE49-F238E27FC236}">
                    <a16:creationId xmlns:a16="http://schemas.microsoft.com/office/drawing/2014/main" id="{EE281E2A-EDE1-4CAF-8709-01DCBA3560B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rot="5400000">
                <a:off x="3143676" y="2997998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32" name="Straight Connector 183">
                <a:extLst>
                  <a:ext uri="{FF2B5EF4-FFF2-40B4-BE49-F238E27FC236}">
                    <a16:creationId xmlns:a16="http://schemas.microsoft.com/office/drawing/2014/main" id="{B8566F94-0BF7-44E7-AAEB-8CD8708603F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rot="5400000">
                <a:off x="911428" y="2997998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33" name="Straight Connector 184">
                <a:extLst>
                  <a:ext uri="{FF2B5EF4-FFF2-40B4-BE49-F238E27FC236}">
                    <a16:creationId xmlns:a16="http://schemas.microsoft.com/office/drawing/2014/main" id="{9B054E58-87BD-4A51-959D-BB6380063AD2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rot="5400000">
                <a:off x="1283469" y="2997998"/>
                <a:ext cx="72000" cy="0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34" name="Straight Connector 185">
                <a:extLst>
                  <a:ext uri="{FF2B5EF4-FFF2-40B4-BE49-F238E27FC236}">
                    <a16:creationId xmlns:a16="http://schemas.microsoft.com/office/drawing/2014/main" id="{B809F6AF-8C86-40A1-B210-3944FCA3F38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1271464" y="2240868"/>
                <a:ext cx="1584176" cy="1476164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35" name="Straight Connector 186">
                <a:extLst>
                  <a:ext uri="{FF2B5EF4-FFF2-40B4-BE49-F238E27FC236}">
                    <a16:creationId xmlns:a16="http://schemas.microsoft.com/office/drawing/2014/main" id="{DD691CF8-BC2F-422D-A2E3-6D48C556034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836208" y="2219722"/>
                <a:ext cx="47486" cy="44847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36" name="Straight Connector 187">
                <a:extLst>
                  <a:ext uri="{FF2B5EF4-FFF2-40B4-BE49-F238E27FC236}">
                    <a16:creationId xmlns:a16="http://schemas.microsoft.com/office/drawing/2014/main" id="{81FDBCB3-1AA5-4307-BE2B-361343BDA87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621895" y="2405460"/>
                <a:ext cx="47486" cy="44847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37" name="Straight Connector 188">
                <a:extLst>
                  <a:ext uri="{FF2B5EF4-FFF2-40B4-BE49-F238E27FC236}">
                    <a16:creationId xmlns:a16="http://schemas.microsoft.com/office/drawing/2014/main" id="{463EE413-EDBB-4AAD-BDBF-FAB7FF6DE5F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421870" y="2603104"/>
                <a:ext cx="47486" cy="44847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38" name="Straight Connector 189">
                <a:extLst>
                  <a:ext uri="{FF2B5EF4-FFF2-40B4-BE49-F238E27FC236}">
                    <a16:creationId xmlns:a16="http://schemas.microsoft.com/office/drawing/2014/main" id="{1A8D7A0D-1051-4B56-ADCF-FBBBAC06746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236133" y="2774554"/>
                <a:ext cx="47486" cy="44847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39" name="Straight Connector 190">
                <a:extLst>
                  <a:ext uri="{FF2B5EF4-FFF2-40B4-BE49-F238E27FC236}">
                    <a16:creationId xmlns:a16="http://schemas.microsoft.com/office/drawing/2014/main" id="{2C310D26-9B75-4574-8D0A-0AE1C8B4B8B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845608" y="3138885"/>
                <a:ext cx="47486" cy="44847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40" name="Straight Connector 191">
                <a:extLst>
                  <a:ext uri="{FF2B5EF4-FFF2-40B4-BE49-F238E27FC236}">
                    <a16:creationId xmlns:a16="http://schemas.microsoft.com/office/drawing/2014/main" id="{F90F49B3-D369-4FEC-9529-C5952324D63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657490" y="3317478"/>
                <a:ext cx="47486" cy="44847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41" name="Straight Connector 192">
                <a:extLst>
                  <a:ext uri="{FF2B5EF4-FFF2-40B4-BE49-F238E27FC236}">
                    <a16:creationId xmlns:a16="http://schemas.microsoft.com/office/drawing/2014/main" id="{CE5F93B3-2550-45AF-B036-DFF2D98F821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462227" y="3493691"/>
                <a:ext cx="47486" cy="44847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42" name="Straight Connector 193">
                <a:extLst>
                  <a:ext uri="{FF2B5EF4-FFF2-40B4-BE49-F238E27FC236}">
                    <a16:creationId xmlns:a16="http://schemas.microsoft.com/office/drawing/2014/main" id="{3AE0CBE4-F459-456D-8A77-F15D98A0979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47914" y="3693715"/>
                <a:ext cx="47486" cy="44847"/>
              </a:xfrm>
              <a:prstGeom prst="line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grpSp>
            <p:nvGrpSpPr>
              <p:cNvPr id="43" name="Group 194">
                <a:extLst>
                  <a:ext uri="{FF2B5EF4-FFF2-40B4-BE49-F238E27FC236}">
                    <a16:creationId xmlns:a16="http://schemas.microsoft.com/office/drawing/2014/main" id="{FB4D12F8-3931-4BC5-B121-08974E3FD4E7}"/>
                  </a:ext>
                </a:extLst>
              </p:cNvPr>
              <p:cNvGrpSpPr/>
              <p:nvPr/>
            </p:nvGrpSpPr>
            <p:grpSpPr>
              <a:xfrm flipH="1">
                <a:off x="1244119" y="2219722"/>
                <a:ext cx="1635780" cy="1518840"/>
                <a:chOff x="167794" y="2219722"/>
                <a:chExt cx="1635780" cy="1518840"/>
              </a:xfrm>
            </p:grpSpPr>
            <p:cxnSp>
              <p:nvCxnSpPr>
                <p:cNvPr id="46" name="Straight Connector 197">
                  <a:extLst>
                    <a:ext uri="{FF2B5EF4-FFF2-40B4-BE49-F238E27FC236}">
                      <a16:creationId xmlns:a16="http://schemas.microsoft.com/office/drawing/2014/main" id="{9ACD2261-91DC-4992-9276-5EE533BC91D2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 flipV="1">
                  <a:off x="191344" y="2240868"/>
                  <a:ext cx="1584176" cy="1476164"/>
                </a:xfrm>
                <a:prstGeom prst="line">
                  <a:avLst/>
                </a:prstGeom>
                <a:solidFill>
                  <a:schemeClr val="accent2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</p:cxnSp>
            <p:cxnSp>
              <p:nvCxnSpPr>
                <p:cNvPr id="47" name="Straight Connector 198">
                  <a:extLst>
                    <a:ext uri="{FF2B5EF4-FFF2-40B4-BE49-F238E27FC236}">
                      <a16:creationId xmlns:a16="http://schemas.microsoft.com/office/drawing/2014/main" id="{717382E2-852C-47D7-995D-D2A3E0E387B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756088" y="2219722"/>
                  <a:ext cx="47486" cy="44847"/>
                </a:xfrm>
                <a:prstGeom prst="line">
                  <a:avLst/>
                </a:prstGeom>
                <a:solidFill>
                  <a:schemeClr val="accent2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</p:cxnSp>
            <p:cxnSp>
              <p:nvCxnSpPr>
                <p:cNvPr id="48" name="Straight Connector 199">
                  <a:extLst>
                    <a:ext uri="{FF2B5EF4-FFF2-40B4-BE49-F238E27FC236}">
                      <a16:creationId xmlns:a16="http://schemas.microsoft.com/office/drawing/2014/main" id="{829E47CC-1FFB-45B4-A697-C8C804C26E63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541775" y="2405460"/>
                  <a:ext cx="47486" cy="44847"/>
                </a:xfrm>
                <a:prstGeom prst="line">
                  <a:avLst/>
                </a:prstGeom>
                <a:solidFill>
                  <a:schemeClr val="accent2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</p:cxnSp>
            <p:cxnSp>
              <p:nvCxnSpPr>
                <p:cNvPr id="49" name="Straight Connector 200">
                  <a:extLst>
                    <a:ext uri="{FF2B5EF4-FFF2-40B4-BE49-F238E27FC236}">
                      <a16:creationId xmlns:a16="http://schemas.microsoft.com/office/drawing/2014/main" id="{FC48D4BA-279C-4412-BB8B-327AC0291FA1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341750" y="2603104"/>
                  <a:ext cx="47486" cy="44847"/>
                </a:xfrm>
                <a:prstGeom prst="line">
                  <a:avLst/>
                </a:prstGeom>
                <a:solidFill>
                  <a:schemeClr val="accent2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</p:cxnSp>
            <p:cxnSp>
              <p:nvCxnSpPr>
                <p:cNvPr id="50" name="Straight Connector 201">
                  <a:extLst>
                    <a:ext uri="{FF2B5EF4-FFF2-40B4-BE49-F238E27FC236}">
                      <a16:creationId xmlns:a16="http://schemas.microsoft.com/office/drawing/2014/main" id="{8BE6B18D-C58B-40A9-93EB-973ACB1B162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156013" y="2774554"/>
                  <a:ext cx="47486" cy="44847"/>
                </a:xfrm>
                <a:prstGeom prst="line">
                  <a:avLst/>
                </a:prstGeom>
                <a:solidFill>
                  <a:schemeClr val="accent2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</p:cxnSp>
            <p:cxnSp>
              <p:nvCxnSpPr>
                <p:cNvPr id="51" name="Straight Connector 202">
                  <a:extLst>
                    <a:ext uri="{FF2B5EF4-FFF2-40B4-BE49-F238E27FC236}">
                      <a16:creationId xmlns:a16="http://schemas.microsoft.com/office/drawing/2014/main" id="{5EB2F646-72C5-4E16-8DD7-D02EB59A6147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765488" y="3138885"/>
                  <a:ext cx="47486" cy="44847"/>
                </a:xfrm>
                <a:prstGeom prst="line">
                  <a:avLst/>
                </a:prstGeom>
                <a:solidFill>
                  <a:schemeClr val="accent2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</p:cxnSp>
            <p:cxnSp>
              <p:nvCxnSpPr>
                <p:cNvPr id="52" name="Straight Connector 203">
                  <a:extLst>
                    <a:ext uri="{FF2B5EF4-FFF2-40B4-BE49-F238E27FC236}">
                      <a16:creationId xmlns:a16="http://schemas.microsoft.com/office/drawing/2014/main" id="{3EFB78B3-E67F-4755-8FD4-A8773DF5D2DA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577370" y="3317478"/>
                  <a:ext cx="47486" cy="44847"/>
                </a:xfrm>
                <a:prstGeom prst="line">
                  <a:avLst/>
                </a:prstGeom>
                <a:solidFill>
                  <a:schemeClr val="accent2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</p:cxnSp>
            <p:cxnSp>
              <p:nvCxnSpPr>
                <p:cNvPr id="53" name="Straight Connector 204">
                  <a:extLst>
                    <a:ext uri="{FF2B5EF4-FFF2-40B4-BE49-F238E27FC236}">
                      <a16:creationId xmlns:a16="http://schemas.microsoft.com/office/drawing/2014/main" id="{2267F561-F610-4836-81AC-9EBD7545FE34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382107" y="3493691"/>
                  <a:ext cx="47486" cy="44847"/>
                </a:xfrm>
                <a:prstGeom prst="line">
                  <a:avLst/>
                </a:prstGeom>
                <a:solidFill>
                  <a:schemeClr val="accent2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</p:cxnSp>
            <p:cxnSp>
              <p:nvCxnSpPr>
                <p:cNvPr id="54" name="Straight Connector 205">
                  <a:extLst>
                    <a:ext uri="{FF2B5EF4-FFF2-40B4-BE49-F238E27FC236}">
                      <a16:creationId xmlns:a16="http://schemas.microsoft.com/office/drawing/2014/main" id="{E51E8EFA-FCE0-4D3C-86E0-21F0330AF1A5}"/>
                    </a:ext>
                  </a:extLst>
                </p:cNvPr>
                <p:cNvCxnSpPr>
                  <a:cxnSpLocks/>
                </p:cNvCxnSpPr>
                <p:nvPr/>
              </p:nvCxnSpPr>
              <p:spPr bwMode="auto">
                <a:xfrm>
                  <a:off x="167794" y="3693715"/>
                  <a:ext cx="47486" cy="44847"/>
                </a:xfrm>
                <a:prstGeom prst="line">
                  <a:avLst/>
                </a:prstGeom>
                <a:solidFill>
                  <a:schemeClr val="accent2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</p:spPr>
            </p:cxnSp>
          </p:grpSp>
          <p:sp>
            <p:nvSpPr>
              <p:cNvPr id="44" name="Freeform: Shape 21">
                <a:extLst>
                  <a:ext uri="{FF2B5EF4-FFF2-40B4-BE49-F238E27FC236}">
                    <a16:creationId xmlns:a16="http://schemas.microsoft.com/office/drawing/2014/main" id="{2DC20EBD-37A9-40A9-B762-DD7E8223CAC3}"/>
                  </a:ext>
                </a:extLst>
              </p:cNvPr>
              <p:cNvSpPr/>
              <p:nvPr/>
            </p:nvSpPr>
            <p:spPr bwMode="auto">
              <a:xfrm>
                <a:off x="1414463" y="1971675"/>
                <a:ext cx="1238250" cy="1381125"/>
              </a:xfrm>
              <a:custGeom>
                <a:avLst/>
                <a:gdLst>
                  <a:gd name="connsiteX0" fmla="*/ 0 w 1238250"/>
                  <a:gd name="connsiteY0" fmla="*/ 390525 h 1381125"/>
                  <a:gd name="connsiteX1" fmla="*/ 652462 w 1238250"/>
                  <a:gd name="connsiteY1" fmla="*/ 0 h 1381125"/>
                  <a:gd name="connsiteX2" fmla="*/ 1238250 w 1238250"/>
                  <a:gd name="connsiteY2" fmla="*/ 466725 h 1381125"/>
                  <a:gd name="connsiteX3" fmla="*/ 1195387 w 1238250"/>
                  <a:gd name="connsiteY3" fmla="*/ 1009650 h 1381125"/>
                  <a:gd name="connsiteX4" fmla="*/ 862012 w 1238250"/>
                  <a:gd name="connsiteY4" fmla="*/ 1200150 h 1381125"/>
                  <a:gd name="connsiteX5" fmla="*/ 652462 w 1238250"/>
                  <a:gd name="connsiteY5" fmla="*/ 1281113 h 1381125"/>
                  <a:gd name="connsiteX6" fmla="*/ 266700 w 1238250"/>
                  <a:gd name="connsiteY6" fmla="*/ 1381125 h 1381125"/>
                  <a:gd name="connsiteX7" fmla="*/ 100012 w 1238250"/>
                  <a:gd name="connsiteY7" fmla="*/ 1028700 h 1381125"/>
                  <a:gd name="connsiteX8" fmla="*/ 0 w 1238250"/>
                  <a:gd name="connsiteY8" fmla="*/ 390525 h 1381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38250" h="1381125">
                    <a:moveTo>
                      <a:pt x="0" y="390525"/>
                    </a:moveTo>
                    <a:lnTo>
                      <a:pt x="652462" y="0"/>
                    </a:lnTo>
                    <a:lnTo>
                      <a:pt x="1238250" y="466725"/>
                    </a:lnTo>
                    <a:lnTo>
                      <a:pt x="1195387" y="1009650"/>
                    </a:lnTo>
                    <a:lnTo>
                      <a:pt x="862012" y="1200150"/>
                    </a:lnTo>
                    <a:lnTo>
                      <a:pt x="652462" y="1281113"/>
                    </a:lnTo>
                    <a:lnTo>
                      <a:pt x="266700" y="1381125"/>
                    </a:lnTo>
                    <a:lnTo>
                      <a:pt x="100012" y="1028700"/>
                    </a:lnTo>
                    <a:lnTo>
                      <a:pt x="0" y="390525"/>
                    </a:lnTo>
                    <a:close/>
                  </a:path>
                </a:pathLst>
              </a:custGeom>
              <a:noFill/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rot="0" spcFirstLastPara="0" vertOverflow="overflow" horzOverflow="overflow" vert="horz" wrap="square" lIns="143926" tIns="143926" rIns="143926" bIns="14392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578" indent="-285578" defTabSz="956689" fontAlgn="auto">
                  <a:spcBef>
                    <a:spcPts val="0"/>
                  </a:spcBef>
                  <a:spcAft>
                    <a:spcPts val="600"/>
                  </a:spcAft>
                  <a:buClr>
                    <a:srgbClr val="5F7800"/>
                  </a:buClr>
                  <a:buFont typeface="Arial" charset="0"/>
                  <a:buChar char="●"/>
                  <a:defRPr/>
                </a:pPr>
                <a:endParaRPr lang="en-US" sz="1200" kern="0" err="1">
                  <a:solidFill>
                    <a:srgbClr val="626469"/>
                  </a:solidFill>
                  <a:latin typeface="Arial"/>
                </a:endParaRPr>
              </a:p>
            </p:txBody>
          </p:sp>
          <p:sp>
            <p:nvSpPr>
              <p:cNvPr id="45" name="Freeform: Shape 22">
                <a:extLst>
                  <a:ext uri="{FF2B5EF4-FFF2-40B4-BE49-F238E27FC236}">
                    <a16:creationId xmlns:a16="http://schemas.microsoft.com/office/drawing/2014/main" id="{B9A55C3A-62B1-42DA-B5C1-DE8B75FF6C52}"/>
                  </a:ext>
                </a:extLst>
              </p:cNvPr>
              <p:cNvSpPr/>
              <p:nvPr/>
            </p:nvSpPr>
            <p:spPr bwMode="auto">
              <a:xfrm>
                <a:off x="1200150" y="2209800"/>
                <a:ext cx="1738313" cy="1543050"/>
              </a:xfrm>
              <a:custGeom>
                <a:avLst/>
                <a:gdLst>
                  <a:gd name="connsiteX0" fmla="*/ 862013 w 1738313"/>
                  <a:gd name="connsiteY0" fmla="*/ 0 h 1543050"/>
                  <a:gd name="connsiteX1" fmla="*/ 1247775 w 1738313"/>
                  <a:gd name="connsiteY1" fmla="*/ 419100 h 1543050"/>
                  <a:gd name="connsiteX2" fmla="*/ 1738313 w 1738313"/>
                  <a:gd name="connsiteY2" fmla="*/ 776288 h 1543050"/>
                  <a:gd name="connsiteX3" fmla="*/ 1266825 w 1738313"/>
                  <a:gd name="connsiteY3" fmla="*/ 1138238 h 1543050"/>
                  <a:gd name="connsiteX4" fmla="*/ 866775 w 1738313"/>
                  <a:gd name="connsiteY4" fmla="*/ 1543050 h 1543050"/>
                  <a:gd name="connsiteX5" fmla="*/ 295275 w 1738313"/>
                  <a:gd name="connsiteY5" fmla="*/ 1319213 h 1543050"/>
                  <a:gd name="connsiteX6" fmla="*/ 0 w 1738313"/>
                  <a:gd name="connsiteY6" fmla="*/ 771525 h 1543050"/>
                  <a:gd name="connsiteX7" fmla="*/ 185738 w 1738313"/>
                  <a:gd name="connsiteY7" fmla="*/ 128588 h 1543050"/>
                  <a:gd name="connsiteX8" fmla="*/ 862013 w 1738313"/>
                  <a:gd name="connsiteY8" fmla="*/ 0 h 1543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38313" h="1543050">
                    <a:moveTo>
                      <a:pt x="862013" y="0"/>
                    </a:moveTo>
                    <a:lnTo>
                      <a:pt x="1247775" y="419100"/>
                    </a:lnTo>
                    <a:lnTo>
                      <a:pt x="1738313" y="776288"/>
                    </a:lnTo>
                    <a:lnTo>
                      <a:pt x="1266825" y="1138238"/>
                    </a:lnTo>
                    <a:lnTo>
                      <a:pt x="866775" y="1543050"/>
                    </a:lnTo>
                    <a:lnTo>
                      <a:pt x="295275" y="1319213"/>
                    </a:lnTo>
                    <a:lnTo>
                      <a:pt x="0" y="771525"/>
                    </a:lnTo>
                    <a:lnTo>
                      <a:pt x="185738" y="128588"/>
                    </a:lnTo>
                    <a:lnTo>
                      <a:pt x="862013" y="0"/>
                    </a:lnTo>
                    <a:close/>
                  </a:path>
                </a:pathLst>
              </a:custGeom>
              <a:noFill/>
              <a:ln w="38100" cap="flat" cmpd="sng" algn="ctr">
                <a:solidFill>
                  <a:schemeClr val="accent3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rot="0" spcFirstLastPara="0" vertOverflow="overflow" horzOverflow="overflow" vert="horz" wrap="square" lIns="143926" tIns="143926" rIns="143926" bIns="14392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578" indent="-285578" defTabSz="956689" fontAlgn="auto">
                  <a:spcBef>
                    <a:spcPts val="0"/>
                  </a:spcBef>
                  <a:spcAft>
                    <a:spcPts val="600"/>
                  </a:spcAft>
                  <a:buClr>
                    <a:srgbClr val="5F7800"/>
                  </a:buClr>
                  <a:buFont typeface="Arial" charset="0"/>
                  <a:buChar char="●"/>
                  <a:defRPr/>
                </a:pPr>
                <a:endParaRPr lang="en-US" sz="1200" kern="0" err="1">
                  <a:solidFill>
                    <a:srgbClr val="626469"/>
                  </a:solidFill>
                  <a:latin typeface="Arial"/>
                </a:endParaRPr>
              </a:p>
            </p:txBody>
          </p:sp>
        </p:grpSp>
      </p:grpSp>
      <p:pic>
        <p:nvPicPr>
          <p:cNvPr id="56" name="Picture 55">
            <a:extLst>
              <a:ext uri="{FF2B5EF4-FFF2-40B4-BE49-F238E27FC236}">
                <a16:creationId xmlns:a16="http://schemas.microsoft.com/office/drawing/2014/main" id="{010A6593-9E5F-45E7-80A9-5C7EF4A9CC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8714" y="1269276"/>
            <a:ext cx="3978939" cy="2659191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A8265915-FBBA-4E26-A9AB-658E0ECC5E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32470" y="4099151"/>
            <a:ext cx="3685215" cy="2256837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027883D9-4233-43F7-8B96-D84969A4D36E}"/>
              </a:ext>
            </a:extLst>
          </p:cNvPr>
          <p:cNvSpPr txBox="1"/>
          <p:nvPr/>
        </p:nvSpPr>
        <p:spPr bwMode="auto">
          <a:xfrm>
            <a:off x="9962171" y="1669710"/>
            <a:ext cx="2105361" cy="307697"/>
          </a:xfrm>
          <a:prstGeom prst="rect">
            <a:avLst/>
          </a:prstGeom>
          <a:noFill/>
          <a:ln w="9525">
            <a:solidFill>
              <a:schemeClr val="lt1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56976">
              <a:spcAft>
                <a:spcPts val="600"/>
              </a:spcAft>
              <a:buClr>
                <a:srgbClr val="5F7800"/>
              </a:buClr>
            </a:pPr>
            <a:r>
              <a:rPr lang="de-CH" kern="0" dirty="0">
                <a:solidFill>
                  <a:srgbClr val="626469"/>
                </a:solidFill>
                <a:latin typeface="Arial"/>
              </a:rPr>
              <a:t>Identify chemicals with an optimal </a:t>
            </a:r>
            <a:r>
              <a:rPr lang="de-CH" b="1" kern="0" dirty="0">
                <a:solidFill>
                  <a:schemeClr val="accent1"/>
                </a:solidFill>
                <a:latin typeface="Arial"/>
              </a:rPr>
              <a:t>balance</a:t>
            </a:r>
            <a:r>
              <a:rPr lang="de-CH" kern="0" dirty="0">
                <a:solidFill>
                  <a:srgbClr val="626469"/>
                </a:solidFill>
                <a:latin typeface="Arial"/>
              </a:rPr>
              <a:t> of properties</a:t>
            </a:r>
            <a:endParaRPr lang="en-US" sz="1799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603E869-ECD1-4369-9654-A6C70CA37785}"/>
              </a:ext>
            </a:extLst>
          </p:cNvPr>
          <p:cNvSpPr txBox="1"/>
          <p:nvPr/>
        </p:nvSpPr>
        <p:spPr bwMode="auto">
          <a:xfrm>
            <a:off x="5013211" y="4386731"/>
            <a:ext cx="3040675" cy="1322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56976">
              <a:spcAft>
                <a:spcPts val="600"/>
              </a:spcAft>
              <a:buClr>
                <a:srgbClr val="5F7800"/>
              </a:buClr>
            </a:pPr>
            <a:r>
              <a:rPr lang="de-CH" kern="0" dirty="0">
                <a:solidFill>
                  <a:srgbClr val="626469"/>
                </a:solidFill>
                <a:latin typeface="Arial"/>
              </a:rPr>
              <a:t>Identify when such balance is not possible:</a:t>
            </a:r>
          </a:p>
          <a:p>
            <a:pPr defTabSz="956976">
              <a:spcAft>
                <a:spcPts val="600"/>
              </a:spcAft>
              <a:buClr>
                <a:srgbClr val="5F7800"/>
              </a:buClr>
            </a:pPr>
            <a:r>
              <a:rPr lang="de-CH" kern="0" dirty="0">
                <a:solidFill>
                  <a:srgbClr val="626469"/>
                </a:solidFill>
                <a:latin typeface="Arial"/>
              </a:rPr>
              <a:t>Fail fast = fail cheap</a:t>
            </a:r>
          </a:p>
          <a:p>
            <a:pPr defTabSz="956976">
              <a:spcAft>
                <a:spcPts val="600"/>
              </a:spcAft>
              <a:buClr>
                <a:srgbClr val="5F7800"/>
              </a:buClr>
            </a:pPr>
            <a:r>
              <a:rPr lang="de-CH" kern="0" dirty="0">
                <a:solidFill>
                  <a:srgbClr val="626469"/>
                </a:solidFill>
                <a:latin typeface="Arial"/>
              </a:rPr>
              <a:t>Only when </a:t>
            </a:r>
            <a:r>
              <a:rPr lang="de-CH" b="1" kern="0" dirty="0">
                <a:solidFill>
                  <a:schemeClr val="accent1"/>
                </a:solidFill>
                <a:latin typeface="Arial"/>
              </a:rPr>
              <a:t>confident</a:t>
            </a:r>
          </a:p>
          <a:p>
            <a:pPr defTabSz="956976">
              <a:spcAft>
                <a:spcPts val="600"/>
              </a:spcAft>
              <a:buClr>
                <a:srgbClr val="5F7800"/>
              </a:buClr>
            </a:pPr>
            <a:r>
              <a:rPr lang="de-CH" sz="1799" kern="0" dirty="0">
                <a:solidFill>
                  <a:srgbClr val="626469"/>
                </a:solidFill>
                <a:latin typeface="Arial"/>
              </a:rPr>
              <a:t>Avoid </a:t>
            </a:r>
            <a:r>
              <a:rPr lang="de-CH" sz="1799" b="1" kern="0" dirty="0">
                <a:solidFill>
                  <a:schemeClr val="accent1"/>
                </a:solidFill>
                <a:latin typeface="Arial"/>
              </a:rPr>
              <a:t>missed </a:t>
            </a:r>
            <a:r>
              <a:rPr lang="de-CH" b="1" kern="0" dirty="0">
                <a:solidFill>
                  <a:schemeClr val="accent1"/>
                </a:solidFill>
                <a:latin typeface="Arial"/>
              </a:rPr>
              <a:t>opportunities</a:t>
            </a:r>
          </a:p>
          <a:p>
            <a:pPr defTabSz="956976">
              <a:spcAft>
                <a:spcPts val="600"/>
              </a:spcAft>
              <a:buClr>
                <a:srgbClr val="5F7800"/>
              </a:buClr>
            </a:pPr>
            <a:endParaRPr lang="en-US" sz="1799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4E1DFD9-620E-47FE-A34F-F9ECF2F698EC}"/>
              </a:ext>
            </a:extLst>
          </p:cNvPr>
          <p:cNvSpPr txBox="1">
            <a:spLocks/>
          </p:cNvSpPr>
          <p:nvPr/>
        </p:nvSpPr>
        <p:spPr>
          <a:xfrm>
            <a:off x="586627" y="6381328"/>
            <a:ext cx="7678000" cy="4766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Classification: </a:t>
            </a:r>
            <a:r>
              <a:rPr lang="en-US" altLang="ja-JP" dirty="0"/>
              <a:t>PUBLIC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C675D2-007A-C4E1-9406-BCA31883795D}"/>
              </a:ext>
            </a:extLst>
          </p:cNvPr>
          <p:cNvSpPr txBox="1">
            <a:spLocks/>
          </p:cNvSpPr>
          <p:nvPr/>
        </p:nvSpPr>
        <p:spPr>
          <a:xfrm>
            <a:off x="285931" y="6381328"/>
            <a:ext cx="601392" cy="47667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1176360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ChangeArrowheads="1"/>
          </p:cNvSpPr>
          <p:nvPr/>
        </p:nvSpPr>
        <p:spPr bwMode="auto">
          <a:xfrm>
            <a:off x="3308331" y="428604"/>
            <a:ext cx="5083175" cy="50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/>
            <a:endParaRPr lang="en-US">
              <a:solidFill>
                <a:srgbClr val="404040"/>
              </a:solidFill>
            </a:endParaRPr>
          </a:p>
        </p:txBody>
      </p:sp>
      <p:sp>
        <p:nvSpPr>
          <p:cNvPr id="293" name="Rectangle 7"/>
          <p:cNvSpPr txBox="1">
            <a:spLocks noChangeArrowheads="1"/>
          </p:cNvSpPr>
          <p:nvPr/>
        </p:nvSpPr>
        <p:spPr bwMode="auto">
          <a:xfrm>
            <a:off x="1895253" y="327025"/>
            <a:ext cx="8453437" cy="81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defTabSz="957263">
              <a:lnSpc>
                <a:spcPct val="90000"/>
              </a:lnSpc>
            </a:pPr>
            <a:r>
              <a:rPr lang="en-GB" sz="2200" b="1" kern="0" dirty="0">
                <a:solidFill>
                  <a:srgbClr val="5F7800"/>
                </a:solidFill>
                <a:latin typeface="Arial"/>
                <a:ea typeface="+mj-ea"/>
                <a:cs typeface="+mj-cs"/>
              </a:rPr>
              <a:t>Syngenta in a seed pod </a:t>
            </a:r>
            <a:br>
              <a:rPr lang="en-GB" sz="2200" b="1" kern="0" dirty="0">
                <a:solidFill>
                  <a:srgbClr val="5F7800"/>
                </a:solidFill>
                <a:latin typeface="Arial"/>
                <a:ea typeface="+mj-ea"/>
                <a:cs typeface="+mj-cs"/>
              </a:rPr>
            </a:br>
            <a:br>
              <a:rPr lang="en-GB" sz="2200" b="1" kern="0" dirty="0">
                <a:solidFill>
                  <a:srgbClr val="5F7800"/>
                </a:solidFill>
                <a:latin typeface="Arial"/>
                <a:ea typeface="+mj-ea"/>
                <a:cs typeface="+mj-cs"/>
              </a:rPr>
            </a:br>
            <a:endParaRPr lang="en-US" sz="1800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27" name="Picture 3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88" r="22169"/>
          <a:stretch/>
        </p:blipFill>
        <p:spPr bwMode="auto">
          <a:xfrm>
            <a:off x="8707519" y="4771020"/>
            <a:ext cx="786239" cy="5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39" name="Straight Connector 338"/>
          <p:cNvCxnSpPr/>
          <p:nvPr/>
        </p:nvCxnSpPr>
        <p:spPr bwMode="auto">
          <a:xfrm flipV="1">
            <a:off x="12212625" y="2146218"/>
            <a:ext cx="1069" cy="52395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grpSp>
        <p:nvGrpSpPr>
          <p:cNvPr id="340" name="Group 308"/>
          <p:cNvGrpSpPr>
            <a:grpSpLocks/>
          </p:cNvGrpSpPr>
          <p:nvPr/>
        </p:nvGrpSpPr>
        <p:grpSpPr bwMode="auto">
          <a:xfrm>
            <a:off x="2582666" y="1985604"/>
            <a:ext cx="6634164" cy="3973286"/>
            <a:chOff x="118" y="381"/>
            <a:chExt cx="5520" cy="3306"/>
          </a:xfrm>
          <a:solidFill>
            <a:srgbClr val="D9D9D9"/>
          </a:solidFill>
          <a:effectLst>
            <a:outerShdw blurRad="381000" sx="119000" sy="119000" algn="ctr" rotWithShape="0">
              <a:schemeClr val="accent1">
                <a:alpha val="15000"/>
              </a:schemeClr>
            </a:outerShdw>
          </a:effectLst>
        </p:grpSpPr>
        <p:sp>
          <p:nvSpPr>
            <p:cNvPr id="341" name="Freeform 3"/>
            <p:cNvSpPr>
              <a:spLocks/>
            </p:cNvSpPr>
            <p:nvPr/>
          </p:nvSpPr>
          <p:spPr bwMode="auto">
            <a:xfrm>
              <a:off x="5098" y="1393"/>
              <a:ext cx="12" cy="31"/>
            </a:xfrm>
            <a:custGeom>
              <a:avLst/>
              <a:gdLst>
                <a:gd name="T0" fmla="*/ 4 w 10"/>
                <a:gd name="T1" fmla="*/ 27 h 27"/>
                <a:gd name="T2" fmla="*/ 4 w 10"/>
                <a:gd name="T3" fmla="*/ 25 h 27"/>
                <a:gd name="T4" fmla="*/ 2 w 10"/>
                <a:gd name="T5" fmla="*/ 25 h 27"/>
                <a:gd name="T6" fmla="*/ 2 w 10"/>
                <a:gd name="T7" fmla="*/ 23 h 27"/>
                <a:gd name="T8" fmla="*/ 2 w 10"/>
                <a:gd name="T9" fmla="*/ 21 h 27"/>
                <a:gd name="T10" fmla="*/ 2 w 10"/>
                <a:gd name="T11" fmla="*/ 19 h 27"/>
                <a:gd name="T12" fmla="*/ 0 w 10"/>
                <a:gd name="T13" fmla="*/ 19 h 27"/>
                <a:gd name="T14" fmla="*/ 0 w 10"/>
                <a:gd name="T15" fmla="*/ 17 h 27"/>
                <a:gd name="T16" fmla="*/ 0 w 10"/>
                <a:gd name="T17" fmla="*/ 15 h 27"/>
                <a:gd name="T18" fmla="*/ 0 w 10"/>
                <a:gd name="T19" fmla="*/ 13 h 27"/>
                <a:gd name="T20" fmla="*/ 0 w 10"/>
                <a:gd name="T21" fmla="*/ 11 h 27"/>
                <a:gd name="T22" fmla="*/ 0 w 10"/>
                <a:gd name="T23" fmla="*/ 9 h 27"/>
                <a:gd name="T24" fmla="*/ 0 w 10"/>
                <a:gd name="T25" fmla="*/ 7 h 27"/>
                <a:gd name="T26" fmla="*/ 2 w 10"/>
                <a:gd name="T27" fmla="*/ 7 h 27"/>
                <a:gd name="T28" fmla="*/ 2 w 10"/>
                <a:gd name="T29" fmla="*/ 5 h 27"/>
                <a:gd name="T30" fmla="*/ 2 w 10"/>
                <a:gd name="T31" fmla="*/ 3 h 27"/>
                <a:gd name="T32" fmla="*/ 2 w 10"/>
                <a:gd name="T33" fmla="*/ 0 h 27"/>
                <a:gd name="T34" fmla="*/ 4 w 10"/>
                <a:gd name="T35" fmla="*/ 0 h 27"/>
                <a:gd name="T36" fmla="*/ 6 w 10"/>
                <a:gd name="T37" fmla="*/ 0 h 27"/>
                <a:gd name="T38" fmla="*/ 8 w 10"/>
                <a:gd name="T39" fmla="*/ 0 h 27"/>
                <a:gd name="T40" fmla="*/ 8 w 10"/>
                <a:gd name="T41" fmla="*/ 3 h 27"/>
                <a:gd name="T42" fmla="*/ 8 w 10"/>
                <a:gd name="T43" fmla="*/ 5 h 27"/>
                <a:gd name="T44" fmla="*/ 8 w 10"/>
                <a:gd name="T45" fmla="*/ 7 h 27"/>
                <a:gd name="T46" fmla="*/ 10 w 10"/>
                <a:gd name="T47" fmla="*/ 7 h 27"/>
                <a:gd name="T48" fmla="*/ 10 w 10"/>
                <a:gd name="T49" fmla="*/ 9 h 27"/>
                <a:gd name="T50" fmla="*/ 10 w 10"/>
                <a:gd name="T51" fmla="*/ 11 h 27"/>
                <a:gd name="T52" fmla="*/ 10 w 10"/>
                <a:gd name="T53" fmla="*/ 13 h 27"/>
                <a:gd name="T54" fmla="*/ 10 w 10"/>
                <a:gd name="T55" fmla="*/ 15 h 27"/>
                <a:gd name="T56" fmla="*/ 10 w 10"/>
                <a:gd name="T57" fmla="*/ 17 h 27"/>
                <a:gd name="T58" fmla="*/ 10 w 10"/>
                <a:gd name="T59" fmla="*/ 19 h 27"/>
                <a:gd name="T60" fmla="*/ 8 w 10"/>
                <a:gd name="T61" fmla="*/ 19 h 27"/>
                <a:gd name="T62" fmla="*/ 8 w 10"/>
                <a:gd name="T63" fmla="*/ 21 h 27"/>
                <a:gd name="T64" fmla="*/ 8 w 10"/>
                <a:gd name="T65" fmla="*/ 23 h 27"/>
                <a:gd name="T66" fmla="*/ 8 w 10"/>
                <a:gd name="T67" fmla="*/ 25 h 27"/>
                <a:gd name="T68" fmla="*/ 6 w 10"/>
                <a:gd name="T69" fmla="*/ 25 h 27"/>
                <a:gd name="T70" fmla="*/ 6 w 10"/>
                <a:gd name="T71" fmla="*/ 27 h 27"/>
                <a:gd name="T72" fmla="*/ 4 w 10"/>
                <a:gd name="T7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" h="27">
                  <a:moveTo>
                    <a:pt x="4" y="27"/>
                  </a:moveTo>
                  <a:lnTo>
                    <a:pt x="4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8" y="5"/>
                  </a:lnTo>
                  <a:lnTo>
                    <a:pt x="8" y="7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13"/>
                  </a:lnTo>
                  <a:lnTo>
                    <a:pt x="10" y="15"/>
                  </a:lnTo>
                  <a:lnTo>
                    <a:pt x="10" y="17"/>
                  </a:lnTo>
                  <a:lnTo>
                    <a:pt x="10" y="19"/>
                  </a:lnTo>
                  <a:lnTo>
                    <a:pt x="8" y="19"/>
                  </a:lnTo>
                  <a:lnTo>
                    <a:pt x="8" y="21"/>
                  </a:lnTo>
                  <a:lnTo>
                    <a:pt x="8" y="23"/>
                  </a:lnTo>
                  <a:lnTo>
                    <a:pt x="8" y="25"/>
                  </a:lnTo>
                  <a:lnTo>
                    <a:pt x="6" y="25"/>
                  </a:lnTo>
                  <a:lnTo>
                    <a:pt x="6" y="27"/>
                  </a:lnTo>
                  <a:lnTo>
                    <a:pt x="4" y="2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2" name="Freeform 4"/>
            <p:cNvSpPr>
              <a:spLocks/>
            </p:cNvSpPr>
            <p:nvPr/>
          </p:nvSpPr>
          <p:spPr bwMode="auto">
            <a:xfrm>
              <a:off x="5087" y="1428"/>
              <a:ext cx="11" cy="13"/>
            </a:xfrm>
            <a:custGeom>
              <a:avLst/>
              <a:gdLst>
                <a:gd name="T0" fmla="*/ 6 w 11"/>
                <a:gd name="T1" fmla="*/ 11 h 11"/>
                <a:gd name="T2" fmla="*/ 9 w 11"/>
                <a:gd name="T3" fmla="*/ 11 h 11"/>
                <a:gd name="T4" fmla="*/ 9 w 11"/>
                <a:gd name="T5" fmla="*/ 9 h 11"/>
                <a:gd name="T6" fmla="*/ 11 w 11"/>
                <a:gd name="T7" fmla="*/ 9 h 11"/>
                <a:gd name="T8" fmla="*/ 11 w 11"/>
                <a:gd name="T9" fmla="*/ 7 h 11"/>
                <a:gd name="T10" fmla="*/ 11 w 11"/>
                <a:gd name="T11" fmla="*/ 5 h 11"/>
                <a:gd name="T12" fmla="*/ 11 w 11"/>
                <a:gd name="T13" fmla="*/ 3 h 11"/>
                <a:gd name="T14" fmla="*/ 9 w 11"/>
                <a:gd name="T15" fmla="*/ 0 h 11"/>
                <a:gd name="T16" fmla="*/ 6 w 11"/>
                <a:gd name="T17" fmla="*/ 0 h 11"/>
                <a:gd name="T18" fmla="*/ 4 w 11"/>
                <a:gd name="T19" fmla="*/ 0 h 11"/>
                <a:gd name="T20" fmla="*/ 2 w 11"/>
                <a:gd name="T21" fmla="*/ 0 h 11"/>
                <a:gd name="T22" fmla="*/ 2 w 11"/>
                <a:gd name="T23" fmla="*/ 3 h 11"/>
                <a:gd name="T24" fmla="*/ 2 w 11"/>
                <a:gd name="T25" fmla="*/ 5 h 11"/>
                <a:gd name="T26" fmla="*/ 0 w 11"/>
                <a:gd name="T27" fmla="*/ 5 h 11"/>
                <a:gd name="T28" fmla="*/ 2 w 11"/>
                <a:gd name="T29" fmla="*/ 7 h 11"/>
                <a:gd name="T30" fmla="*/ 2 w 11"/>
                <a:gd name="T31" fmla="*/ 9 h 11"/>
                <a:gd name="T32" fmla="*/ 4 w 11"/>
                <a:gd name="T33" fmla="*/ 9 h 11"/>
                <a:gd name="T34" fmla="*/ 4 w 11"/>
                <a:gd name="T35" fmla="*/ 11 h 11"/>
                <a:gd name="T36" fmla="*/ 6 w 11"/>
                <a:gd name="T3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" h="11">
                  <a:moveTo>
                    <a:pt x="6" y="11"/>
                  </a:moveTo>
                  <a:lnTo>
                    <a:pt x="9" y="11"/>
                  </a:lnTo>
                  <a:lnTo>
                    <a:pt x="9" y="9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1" y="5"/>
                  </a:lnTo>
                  <a:lnTo>
                    <a:pt x="11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5"/>
                  </a:lnTo>
                  <a:lnTo>
                    <a:pt x="2" y="7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11"/>
                  </a:lnTo>
                  <a:lnTo>
                    <a:pt x="6" y="1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3" name="Freeform 5"/>
            <p:cNvSpPr>
              <a:spLocks/>
            </p:cNvSpPr>
            <p:nvPr/>
          </p:nvSpPr>
          <p:spPr bwMode="auto">
            <a:xfrm>
              <a:off x="5075" y="1442"/>
              <a:ext cx="7" cy="14"/>
            </a:xfrm>
            <a:custGeom>
              <a:avLst/>
              <a:gdLst>
                <a:gd name="T0" fmla="*/ 4 w 6"/>
                <a:gd name="T1" fmla="*/ 12 h 12"/>
                <a:gd name="T2" fmla="*/ 4 w 6"/>
                <a:gd name="T3" fmla="*/ 10 h 12"/>
                <a:gd name="T4" fmla="*/ 6 w 6"/>
                <a:gd name="T5" fmla="*/ 10 h 12"/>
                <a:gd name="T6" fmla="*/ 6 w 6"/>
                <a:gd name="T7" fmla="*/ 8 h 12"/>
                <a:gd name="T8" fmla="*/ 6 w 6"/>
                <a:gd name="T9" fmla="*/ 6 h 12"/>
                <a:gd name="T10" fmla="*/ 6 w 6"/>
                <a:gd name="T11" fmla="*/ 4 h 12"/>
                <a:gd name="T12" fmla="*/ 6 w 6"/>
                <a:gd name="T13" fmla="*/ 2 h 12"/>
                <a:gd name="T14" fmla="*/ 4 w 6"/>
                <a:gd name="T15" fmla="*/ 2 h 12"/>
                <a:gd name="T16" fmla="*/ 4 w 6"/>
                <a:gd name="T17" fmla="*/ 0 h 12"/>
                <a:gd name="T18" fmla="*/ 2 w 6"/>
                <a:gd name="T19" fmla="*/ 0 h 12"/>
                <a:gd name="T20" fmla="*/ 2 w 6"/>
                <a:gd name="T21" fmla="*/ 2 h 12"/>
                <a:gd name="T22" fmla="*/ 0 w 6"/>
                <a:gd name="T23" fmla="*/ 2 h 12"/>
                <a:gd name="T24" fmla="*/ 0 w 6"/>
                <a:gd name="T25" fmla="*/ 4 h 12"/>
                <a:gd name="T26" fmla="*/ 0 w 6"/>
                <a:gd name="T27" fmla="*/ 6 h 12"/>
                <a:gd name="T28" fmla="*/ 0 w 6"/>
                <a:gd name="T29" fmla="*/ 8 h 12"/>
                <a:gd name="T30" fmla="*/ 0 w 6"/>
                <a:gd name="T31" fmla="*/ 10 h 12"/>
                <a:gd name="T32" fmla="*/ 2 w 6"/>
                <a:gd name="T33" fmla="*/ 10 h 12"/>
                <a:gd name="T34" fmla="*/ 2 w 6"/>
                <a:gd name="T35" fmla="*/ 12 h 12"/>
                <a:gd name="T36" fmla="*/ 4 w 6"/>
                <a:gd name="T3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" h="12">
                  <a:moveTo>
                    <a:pt x="4" y="12"/>
                  </a:moveTo>
                  <a:lnTo>
                    <a:pt x="4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4" name="Freeform 6"/>
            <p:cNvSpPr>
              <a:spLocks/>
            </p:cNvSpPr>
            <p:nvPr/>
          </p:nvSpPr>
          <p:spPr bwMode="auto">
            <a:xfrm>
              <a:off x="5064" y="1456"/>
              <a:ext cx="9" cy="15"/>
            </a:xfrm>
            <a:custGeom>
              <a:avLst/>
              <a:gdLst>
                <a:gd name="T0" fmla="*/ 4 w 8"/>
                <a:gd name="T1" fmla="*/ 13 h 13"/>
                <a:gd name="T2" fmla="*/ 6 w 8"/>
                <a:gd name="T3" fmla="*/ 13 h 13"/>
                <a:gd name="T4" fmla="*/ 8 w 8"/>
                <a:gd name="T5" fmla="*/ 13 h 13"/>
                <a:gd name="T6" fmla="*/ 8 w 8"/>
                <a:gd name="T7" fmla="*/ 11 h 13"/>
                <a:gd name="T8" fmla="*/ 8 w 8"/>
                <a:gd name="T9" fmla="*/ 9 h 13"/>
                <a:gd name="T10" fmla="*/ 8 w 8"/>
                <a:gd name="T11" fmla="*/ 6 h 13"/>
                <a:gd name="T12" fmla="*/ 8 w 8"/>
                <a:gd name="T13" fmla="*/ 4 h 13"/>
                <a:gd name="T14" fmla="*/ 8 w 8"/>
                <a:gd name="T15" fmla="*/ 2 h 13"/>
                <a:gd name="T16" fmla="*/ 8 w 8"/>
                <a:gd name="T17" fmla="*/ 0 h 13"/>
                <a:gd name="T18" fmla="*/ 6 w 8"/>
                <a:gd name="T19" fmla="*/ 0 h 13"/>
                <a:gd name="T20" fmla="*/ 4 w 8"/>
                <a:gd name="T21" fmla="*/ 0 h 13"/>
                <a:gd name="T22" fmla="*/ 2 w 8"/>
                <a:gd name="T23" fmla="*/ 0 h 13"/>
                <a:gd name="T24" fmla="*/ 2 w 8"/>
                <a:gd name="T25" fmla="*/ 2 h 13"/>
                <a:gd name="T26" fmla="*/ 0 w 8"/>
                <a:gd name="T27" fmla="*/ 2 h 13"/>
                <a:gd name="T28" fmla="*/ 0 w 8"/>
                <a:gd name="T29" fmla="*/ 4 h 13"/>
                <a:gd name="T30" fmla="*/ 0 w 8"/>
                <a:gd name="T31" fmla="*/ 6 h 13"/>
                <a:gd name="T32" fmla="*/ 0 w 8"/>
                <a:gd name="T33" fmla="*/ 9 h 13"/>
                <a:gd name="T34" fmla="*/ 2 w 8"/>
                <a:gd name="T35" fmla="*/ 9 h 13"/>
                <a:gd name="T36" fmla="*/ 2 w 8"/>
                <a:gd name="T37" fmla="*/ 11 h 13"/>
                <a:gd name="T38" fmla="*/ 2 w 8"/>
                <a:gd name="T39" fmla="*/ 13 h 13"/>
                <a:gd name="T40" fmla="*/ 4 w 8"/>
                <a:gd name="T4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13">
                  <a:moveTo>
                    <a:pt x="4" y="13"/>
                  </a:moveTo>
                  <a:lnTo>
                    <a:pt x="6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9"/>
                  </a:lnTo>
                  <a:lnTo>
                    <a:pt x="8" y="6"/>
                  </a:lnTo>
                  <a:lnTo>
                    <a:pt x="8" y="4"/>
                  </a:ln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4" y="1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5" name="Freeform 7"/>
            <p:cNvSpPr>
              <a:spLocks/>
            </p:cNvSpPr>
            <p:nvPr/>
          </p:nvSpPr>
          <p:spPr bwMode="auto">
            <a:xfrm>
              <a:off x="5011" y="1510"/>
              <a:ext cx="16" cy="14"/>
            </a:xfrm>
            <a:custGeom>
              <a:avLst/>
              <a:gdLst>
                <a:gd name="T0" fmla="*/ 8 w 15"/>
                <a:gd name="T1" fmla="*/ 12 h 12"/>
                <a:gd name="T2" fmla="*/ 10 w 15"/>
                <a:gd name="T3" fmla="*/ 12 h 12"/>
                <a:gd name="T4" fmla="*/ 10 w 15"/>
                <a:gd name="T5" fmla="*/ 10 h 12"/>
                <a:gd name="T6" fmla="*/ 12 w 15"/>
                <a:gd name="T7" fmla="*/ 10 h 12"/>
                <a:gd name="T8" fmla="*/ 15 w 15"/>
                <a:gd name="T9" fmla="*/ 10 h 12"/>
                <a:gd name="T10" fmla="*/ 15 w 15"/>
                <a:gd name="T11" fmla="*/ 8 h 12"/>
                <a:gd name="T12" fmla="*/ 15 w 15"/>
                <a:gd name="T13" fmla="*/ 6 h 12"/>
                <a:gd name="T14" fmla="*/ 15 w 15"/>
                <a:gd name="T15" fmla="*/ 4 h 12"/>
                <a:gd name="T16" fmla="*/ 15 w 15"/>
                <a:gd name="T17" fmla="*/ 2 h 12"/>
                <a:gd name="T18" fmla="*/ 12 w 15"/>
                <a:gd name="T19" fmla="*/ 2 h 12"/>
                <a:gd name="T20" fmla="*/ 12 w 15"/>
                <a:gd name="T21" fmla="*/ 0 h 12"/>
                <a:gd name="T22" fmla="*/ 10 w 15"/>
                <a:gd name="T23" fmla="*/ 0 h 12"/>
                <a:gd name="T24" fmla="*/ 8 w 15"/>
                <a:gd name="T25" fmla="*/ 0 h 12"/>
                <a:gd name="T26" fmla="*/ 6 w 15"/>
                <a:gd name="T27" fmla="*/ 0 h 12"/>
                <a:gd name="T28" fmla="*/ 4 w 15"/>
                <a:gd name="T29" fmla="*/ 0 h 12"/>
                <a:gd name="T30" fmla="*/ 4 w 15"/>
                <a:gd name="T31" fmla="*/ 2 h 12"/>
                <a:gd name="T32" fmla="*/ 2 w 15"/>
                <a:gd name="T33" fmla="*/ 2 h 12"/>
                <a:gd name="T34" fmla="*/ 2 w 15"/>
                <a:gd name="T35" fmla="*/ 4 h 12"/>
                <a:gd name="T36" fmla="*/ 0 w 15"/>
                <a:gd name="T37" fmla="*/ 6 h 12"/>
                <a:gd name="T38" fmla="*/ 2 w 15"/>
                <a:gd name="T39" fmla="*/ 6 h 12"/>
                <a:gd name="T40" fmla="*/ 2 w 15"/>
                <a:gd name="T41" fmla="*/ 8 h 12"/>
                <a:gd name="T42" fmla="*/ 2 w 15"/>
                <a:gd name="T43" fmla="*/ 10 h 12"/>
                <a:gd name="T44" fmla="*/ 4 w 15"/>
                <a:gd name="T45" fmla="*/ 10 h 12"/>
                <a:gd name="T46" fmla="*/ 4 w 15"/>
                <a:gd name="T47" fmla="*/ 12 h 12"/>
                <a:gd name="T48" fmla="*/ 6 w 15"/>
                <a:gd name="T49" fmla="*/ 12 h 12"/>
                <a:gd name="T50" fmla="*/ 8 w 15"/>
                <a:gd name="T5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" h="12">
                  <a:moveTo>
                    <a:pt x="8" y="12"/>
                  </a:moveTo>
                  <a:lnTo>
                    <a:pt x="10" y="12"/>
                  </a:lnTo>
                  <a:lnTo>
                    <a:pt x="10" y="10"/>
                  </a:lnTo>
                  <a:lnTo>
                    <a:pt x="12" y="10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5" y="2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6" name="Freeform 8"/>
            <p:cNvSpPr>
              <a:spLocks/>
            </p:cNvSpPr>
            <p:nvPr/>
          </p:nvSpPr>
          <p:spPr bwMode="auto">
            <a:xfrm>
              <a:off x="4982" y="1526"/>
              <a:ext cx="15" cy="9"/>
            </a:xfrm>
            <a:custGeom>
              <a:avLst/>
              <a:gdLst>
                <a:gd name="T0" fmla="*/ 6 w 13"/>
                <a:gd name="T1" fmla="*/ 8 h 8"/>
                <a:gd name="T2" fmla="*/ 9 w 13"/>
                <a:gd name="T3" fmla="*/ 8 h 8"/>
                <a:gd name="T4" fmla="*/ 11 w 13"/>
                <a:gd name="T5" fmla="*/ 8 h 8"/>
                <a:gd name="T6" fmla="*/ 11 w 13"/>
                <a:gd name="T7" fmla="*/ 6 h 8"/>
                <a:gd name="T8" fmla="*/ 13 w 13"/>
                <a:gd name="T9" fmla="*/ 6 h 8"/>
                <a:gd name="T10" fmla="*/ 13 w 13"/>
                <a:gd name="T11" fmla="*/ 4 h 8"/>
                <a:gd name="T12" fmla="*/ 13 w 13"/>
                <a:gd name="T13" fmla="*/ 2 h 8"/>
                <a:gd name="T14" fmla="*/ 11 w 13"/>
                <a:gd name="T15" fmla="*/ 2 h 8"/>
                <a:gd name="T16" fmla="*/ 11 w 13"/>
                <a:gd name="T17" fmla="*/ 0 h 8"/>
                <a:gd name="T18" fmla="*/ 9 w 13"/>
                <a:gd name="T19" fmla="*/ 0 h 8"/>
                <a:gd name="T20" fmla="*/ 6 w 13"/>
                <a:gd name="T21" fmla="*/ 0 h 8"/>
                <a:gd name="T22" fmla="*/ 4 w 13"/>
                <a:gd name="T23" fmla="*/ 0 h 8"/>
                <a:gd name="T24" fmla="*/ 2 w 13"/>
                <a:gd name="T25" fmla="*/ 0 h 8"/>
                <a:gd name="T26" fmla="*/ 2 w 13"/>
                <a:gd name="T27" fmla="*/ 2 h 8"/>
                <a:gd name="T28" fmla="*/ 0 w 13"/>
                <a:gd name="T29" fmla="*/ 2 h 8"/>
                <a:gd name="T30" fmla="*/ 0 w 13"/>
                <a:gd name="T31" fmla="*/ 4 h 8"/>
                <a:gd name="T32" fmla="*/ 0 w 13"/>
                <a:gd name="T33" fmla="*/ 6 h 8"/>
                <a:gd name="T34" fmla="*/ 2 w 13"/>
                <a:gd name="T35" fmla="*/ 6 h 8"/>
                <a:gd name="T36" fmla="*/ 2 w 13"/>
                <a:gd name="T37" fmla="*/ 8 h 8"/>
                <a:gd name="T38" fmla="*/ 4 w 13"/>
                <a:gd name="T39" fmla="*/ 8 h 8"/>
                <a:gd name="T40" fmla="*/ 6 w 13"/>
                <a:gd name="T4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8">
                  <a:moveTo>
                    <a:pt x="6" y="8"/>
                  </a:moveTo>
                  <a:lnTo>
                    <a:pt x="9" y="8"/>
                  </a:lnTo>
                  <a:lnTo>
                    <a:pt x="11" y="8"/>
                  </a:lnTo>
                  <a:lnTo>
                    <a:pt x="11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4" y="8"/>
                  </a:lnTo>
                  <a:lnTo>
                    <a:pt x="6" y="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7" name="Freeform 25"/>
            <p:cNvSpPr>
              <a:spLocks noEditPoints="1"/>
            </p:cNvSpPr>
            <p:nvPr/>
          </p:nvSpPr>
          <p:spPr bwMode="auto">
            <a:xfrm>
              <a:off x="4704" y="1533"/>
              <a:ext cx="248" cy="282"/>
            </a:xfrm>
            <a:custGeom>
              <a:avLst/>
              <a:gdLst>
                <a:gd name="T0" fmla="*/ 4 w 221"/>
                <a:gd name="T1" fmla="*/ 207 h 252"/>
                <a:gd name="T2" fmla="*/ 0 w 221"/>
                <a:gd name="T3" fmla="*/ 219 h 252"/>
                <a:gd name="T4" fmla="*/ 15 w 221"/>
                <a:gd name="T5" fmla="*/ 240 h 252"/>
                <a:gd name="T6" fmla="*/ 25 w 221"/>
                <a:gd name="T7" fmla="*/ 252 h 252"/>
                <a:gd name="T8" fmla="*/ 35 w 221"/>
                <a:gd name="T9" fmla="*/ 234 h 252"/>
                <a:gd name="T10" fmla="*/ 35 w 221"/>
                <a:gd name="T11" fmla="*/ 221 h 252"/>
                <a:gd name="T12" fmla="*/ 17 w 221"/>
                <a:gd name="T13" fmla="*/ 209 h 252"/>
                <a:gd name="T14" fmla="*/ 4 w 221"/>
                <a:gd name="T15" fmla="*/ 207 h 252"/>
                <a:gd name="T16" fmla="*/ 17 w 221"/>
                <a:gd name="T17" fmla="*/ 188 h 252"/>
                <a:gd name="T18" fmla="*/ 11 w 221"/>
                <a:gd name="T19" fmla="*/ 197 h 252"/>
                <a:gd name="T20" fmla="*/ 25 w 221"/>
                <a:gd name="T21" fmla="*/ 203 h 252"/>
                <a:gd name="T22" fmla="*/ 35 w 221"/>
                <a:gd name="T23" fmla="*/ 197 h 252"/>
                <a:gd name="T24" fmla="*/ 52 w 221"/>
                <a:gd name="T25" fmla="*/ 193 h 252"/>
                <a:gd name="T26" fmla="*/ 73 w 221"/>
                <a:gd name="T27" fmla="*/ 188 h 252"/>
                <a:gd name="T28" fmla="*/ 77 w 221"/>
                <a:gd name="T29" fmla="*/ 201 h 252"/>
                <a:gd name="T30" fmla="*/ 89 w 221"/>
                <a:gd name="T31" fmla="*/ 203 h 252"/>
                <a:gd name="T32" fmla="*/ 104 w 221"/>
                <a:gd name="T33" fmla="*/ 193 h 252"/>
                <a:gd name="T34" fmla="*/ 118 w 221"/>
                <a:gd name="T35" fmla="*/ 188 h 252"/>
                <a:gd name="T36" fmla="*/ 149 w 221"/>
                <a:gd name="T37" fmla="*/ 164 h 252"/>
                <a:gd name="T38" fmla="*/ 159 w 221"/>
                <a:gd name="T39" fmla="*/ 139 h 252"/>
                <a:gd name="T40" fmla="*/ 157 w 221"/>
                <a:gd name="T41" fmla="*/ 120 h 252"/>
                <a:gd name="T42" fmla="*/ 166 w 221"/>
                <a:gd name="T43" fmla="*/ 106 h 252"/>
                <a:gd name="T44" fmla="*/ 161 w 221"/>
                <a:gd name="T45" fmla="*/ 75 h 252"/>
                <a:gd name="T46" fmla="*/ 137 w 221"/>
                <a:gd name="T47" fmla="*/ 93 h 252"/>
                <a:gd name="T48" fmla="*/ 130 w 221"/>
                <a:gd name="T49" fmla="*/ 124 h 252"/>
                <a:gd name="T50" fmla="*/ 106 w 221"/>
                <a:gd name="T51" fmla="*/ 153 h 252"/>
                <a:gd name="T52" fmla="*/ 81 w 221"/>
                <a:gd name="T53" fmla="*/ 172 h 252"/>
                <a:gd name="T54" fmla="*/ 56 w 221"/>
                <a:gd name="T55" fmla="*/ 172 h 252"/>
                <a:gd name="T56" fmla="*/ 33 w 221"/>
                <a:gd name="T57" fmla="*/ 178 h 252"/>
                <a:gd name="T58" fmla="*/ 17 w 221"/>
                <a:gd name="T59" fmla="*/ 188 h 252"/>
                <a:gd name="T60" fmla="*/ 42 w 221"/>
                <a:gd name="T61" fmla="*/ 201 h 252"/>
                <a:gd name="T62" fmla="*/ 31 w 221"/>
                <a:gd name="T63" fmla="*/ 211 h 252"/>
                <a:gd name="T64" fmla="*/ 42 w 221"/>
                <a:gd name="T65" fmla="*/ 215 h 252"/>
                <a:gd name="T66" fmla="*/ 52 w 221"/>
                <a:gd name="T67" fmla="*/ 209 h 252"/>
                <a:gd name="T68" fmla="*/ 60 w 221"/>
                <a:gd name="T69" fmla="*/ 203 h 252"/>
                <a:gd name="T70" fmla="*/ 42 w 221"/>
                <a:gd name="T71" fmla="*/ 201 h 252"/>
                <a:gd name="T72" fmla="*/ 176 w 221"/>
                <a:gd name="T73" fmla="*/ 2 h 252"/>
                <a:gd name="T74" fmla="*/ 164 w 221"/>
                <a:gd name="T75" fmla="*/ 0 h 252"/>
                <a:gd name="T76" fmla="*/ 159 w 221"/>
                <a:gd name="T77" fmla="*/ 23 h 252"/>
                <a:gd name="T78" fmla="*/ 141 w 221"/>
                <a:gd name="T79" fmla="*/ 50 h 252"/>
                <a:gd name="T80" fmla="*/ 143 w 221"/>
                <a:gd name="T81" fmla="*/ 56 h 252"/>
                <a:gd name="T82" fmla="*/ 174 w 221"/>
                <a:gd name="T83" fmla="*/ 56 h 252"/>
                <a:gd name="T84" fmla="*/ 180 w 221"/>
                <a:gd name="T85" fmla="*/ 58 h 252"/>
                <a:gd name="T86" fmla="*/ 188 w 221"/>
                <a:gd name="T87" fmla="*/ 58 h 252"/>
                <a:gd name="T88" fmla="*/ 205 w 221"/>
                <a:gd name="T89" fmla="*/ 42 h 252"/>
                <a:gd name="T90" fmla="*/ 221 w 221"/>
                <a:gd name="T91" fmla="*/ 29 h 252"/>
                <a:gd name="T92" fmla="*/ 219 w 221"/>
                <a:gd name="T93" fmla="*/ 17 h 252"/>
                <a:gd name="T94" fmla="*/ 207 w 221"/>
                <a:gd name="T95" fmla="*/ 23 h 252"/>
                <a:gd name="T96" fmla="*/ 176 w 221"/>
                <a:gd name="T97" fmla="*/ 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1" h="252">
                  <a:moveTo>
                    <a:pt x="4" y="207"/>
                  </a:moveTo>
                  <a:lnTo>
                    <a:pt x="0" y="219"/>
                  </a:lnTo>
                  <a:lnTo>
                    <a:pt x="15" y="240"/>
                  </a:lnTo>
                  <a:lnTo>
                    <a:pt x="25" y="252"/>
                  </a:lnTo>
                  <a:lnTo>
                    <a:pt x="35" y="234"/>
                  </a:lnTo>
                  <a:lnTo>
                    <a:pt x="35" y="221"/>
                  </a:lnTo>
                  <a:lnTo>
                    <a:pt x="17" y="209"/>
                  </a:lnTo>
                  <a:lnTo>
                    <a:pt x="4" y="207"/>
                  </a:lnTo>
                  <a:close/>
                  <a:moveTo>
                    <a:pt x="17" y="188"/>
                  </a:moveTo>
                  <a:lnTo>
                    <a:pt x="11" y="197"/>
                  </a:lnTo>
                  <a:lnTo>
                    <a:pt x="25" y="203"/>
                  </a:lnTo>
                  <a:lnTo>
                    <a:pt x="35" y="197"/>
                  </a:lnTo>
                  <a:lnTo>
                    <a:pt x="52" y="193"/>
                  </a:lnTo>
                  <a:lnTo>
                    <a:pt x="73" y="188"/>
                  </a:lnTo>
                  <a:lnTo>
                    <a:pt x="77" y="201"/>
                  </a:lnTo>
                  <a:lnTo>
                    <a:pt x="89" y="203"/>
                  </a:lnTo>
                  <a:lnTo>
                    <a:pt x="104" y="193"/>
                  </a:lnTo>
                  <a:lnTo>
                    <a:pt x="118" y="188"/>
                  </a:lnTo>
                  <a:lnTo>
                    <a:pt x="149" y="164"/>
                  </a:lnTo>
                  <a:lnTo>
                    <a:pt x="159" y="139"/>
                  </a:lnTo>
                  <a:lnTo>
                    <a:pt x="157" y="120"/>
                  </a:lnTo>
                  <a:lnTo>
                    <a:pt x="166" y="106"/>
                  </a:lnTo>
                  <a:lnTo>
                    <a:pt x="161" y="75"/>
                  </a:lnTo>
                  <a:lnTo>
                    <a:pt x="137" y="93"/>
                  </a:lnTo>
                  <a:lnTo>
                    <a:pt x="130" y="124"/>
                  </a:lnTo>
                  <a:lnTo>
                    <a:pt x="106" y="153"/>
                  </a:lnTo>
                  <a:lnTo>
                    <a:pt x="81" y="172"/>
                  </a:lnTo>
                  <a:lnTo>
                    <a:pt x="56" y="172"/>
                  </a:lnTo>
                  <a:lnTo>
                    <a:pt x="33" y="178"/>
                  </a:lnTo>
                  <a:lnTo>
                    <a:pt x="17" y="188"/>
                  </a:lnTo>
                  <a:close/>
                  <a:moveTo>
                    <a:pt x="42" y="201"/>
                  </a:moveTo>
                  <a:lnTo>
                    <a:pt x="31" y="211"/>
                  </a:lnTo>
                  <a:lnTo>
                    <a:pt x="42" y="215"/>
                  </a:lnTo>
                  <a:lnTo>
                    <a:pt x="52" y="209"/>
                  </a:lnTo>
                  <a:lnTo>
                    <a:pt x="60" y="203"/>
                  </a:lnTo>
                  <a:lnTo>
                    <a:pt x="42" y="201"/>
                  </a:lnTo>
                  <a:close/>
                  <a:moveTo>
                    <a:pt x="176" y="2"/>
                  </a:moveTo>
                  <a:lnTo>
                    <a:pt x="164" y="0"/>
                  </a:lnTo>
                  <a:lnTo>
                    <a:pt x="159" y="23"/>
                  </a:lnTo>
                  <a:lnTo>
                    <a:pt x="141" y="50"/>
                  </a:lnTo>
                  <a:lnTo>
                    <a:pt x="143" y="56"/>
                  </a:lnTo>
                  <a:lnTo>
                    <a:pt x="174" y="56"/>
                  </a:lnTo>
                  <a:lnTo>
                    <a:pt x="180" y="58"/>
                  </a:lnTo>
                  <a:lnTo>
                    <a:pt x="188" y="58"/>
                  </a:lnTo>
                  <a:lnTo>
                    <a:pt x="205" y="42"/>
                  </a:lnTo>
                  <a:lnTo>
                    <a:pt x="221" y="29"/>
                  </a:lnTo>
                  <a:lnTo>
                    <a:pt x="219" y="17"/>
                  </a:lnTo>
                  <a:lnTo>
                    <a:pt x="207" y="23"/>
                  </a:lnTo>
                  <a:lnTo>
                    <a:pt x="176" y="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8" name="Freeform 69"/>
            <p:cNvSpPr>
              <a:spLocks/>
            </p:cNvSpPr>
            <p:nvPr/>
          </p:nvSpPr>
          <p:spPr bwMode="auto">
            <a:xfrm>
              <a:off x="1603" y="2661"/>
              <a:ext cx="212" cy="240"/>
            </a:xfrm>
            <a:custGeom>
              <a:avLst/>
              <a:gdLst>
                <a:gd name="T0" fmla="*/ 0 w 190"/>
                <a:gd name="T1" fmla="*/ 101 h 214"/>
                <a:gd name="T2" fmla="*/ 4 w 190"/>
                <a:gd name="T3" fmla="*/ 99 h 214"/>
                <a:gd name="T4" fmla="*/ 27 w 190"/>
                <a:gd name="T5" fmla="*/ 86 h 214"/>
                <a:gd name="T6" fmla="*/ 27 w 190"/>
                <a:gd name="T7" fmla="*/ 72 h 214"/>
                <a:gd name="T8" fmla="*/ 29 w 190"/>
                <a:gd name="T9" fmla="*/ 47 h 214"/>
                <a:gd name="T10" fmla="*/ 29 w 190"/>
                <a:gd name="T11" fmla="*/ 37 h 214"/>
                <a:gd name="T12" fmla="*/ 18 w 190"/>
                <a:gd name="T13" fmla="*/ 20 h 214"/>
                <a:gd name="T14" fmla="*/ 37 w 190"/>
                <a:gd name="T15" fmla="*/ 18 h 214"/>
                <a:gd name="T16" fmla="*/ 49 w 190"/>
                <a:gd name="T17" fmla="*/ 10 h 214"/>
                <a:gd name="T18" fmla="*/ 66 w 190"/>
                <a:gd name="T19" fmla="*/ 4 h 214"/>
                <a:gd name="T20" fmla="*/ 74 w 190"/>
                <a:gd name="T21" fmla="*/ 0 h 214"/>
                <a:gd name="T22" fmla="*/ 80 w 190"/>
                <a:gd name="T23" fmla="*/ 6 h 214"/>
                <a:gd name="T24" fmla="*/ 93 w 190"/>
                <a:gd name="T25" fmla="*/ 43 h 214"/>
                <a:gd name="T26" fmla="*/ 105 w 190"/>
                <a:gd name="T27" fmla="*/ 47 h 214"/>
                <a:gd name="T28" fmla="*/ 118 w 190"/>
                <a:gd name="T29" fmla="*/ 47 h 214"/>
                <a:gd name="T30" fmla="*/ 134 w 190"/>
                <a:gd name="T31" fmla="*/ 66 h 214"/>
                <a:gd name="T32" fmla="*/ 155 w 190"/>
                <a:gd name="T33" fmla="*/ 93 h 214"/>
                <a:gd name="T34" fmla="*/ 180 w 190"/>
                <a:gd name="T35" fmla="*/ 95 h 214"/>
                <a:gd name="T36" fmla="*/ 180 w 190"/>
                <a:gd name="T37" fmla="*/ 111 h 214"/>
                <a:gd name="T38" fmla="*/ 190 w 190"/>
                <a:gd name="T39" fmla="*/ 124 h 214"/>
                <a:gd name="T40" fmla="*/ 186 w 190"/>
                <a:gd name="T41" fmla="*/ 173 h 214"/>
                <a:gd name="T42" fmla="*/ 147 w 190"/>
                <a:gd name="T43" fmla="*/ 159 h 214"/>
                <a:gd name="T44" fmla="*/ 120 w 190"/>
                <a:gd name="T45" fmla="*/ 192 h 214"/>
                <a:gd name="T46" fmla="*/ 118 w 190"/>
                <a:gd name="T47" fmla="*/ 204 h 214"/>
                <a:gd name="T48" fmla="*/ 97 w 190"/>
                <a:gd name="T49" fmla="*/ 204 h 214"/>
                <a:gd name="T50" fmla="*/ 91 w 190"/>
                <a:gd name="T51" fmla="*/ 212 h 214"/>
                <a:gd name="T52" fmla="*/ 80 w 190"/>
                <a:gd name="T53" fmla="*/ 200 h 214"/>
                <a:gd name="T54" fmla="*/ 64 w 190"/>
                <a:gd name="T55" fmla="*/ 198 h 214"/>
                <a:gd name="T56" fmla="*/ 49 w 190"/>
                <a:gd name="T57" fmla="*/ 214 h 214"/>
                <a:gd name="T58" fmla="*/ 41 w 190"/>
                <a:gd name="T59" fmla="*/ 214 h 214"/>
                <a:gd name="T60" fmla="*/ 37 w 190"/>
                <a:gd name="T61" fmla="*/ 192 h 214"/>
                <a:gd name="T62" fmla="*/ 33 w 190"/>
                <a:gd name="T63" fmla="*/ 169 h 214"/>
                <a:gd name="T64" fmla="*/ 27 w 190"/>
                <a:gd name="T65" fmla="*/ 146 h 214"/>
                <a:gd name="T66" fmla="*/ 12 w 190"/>
                <a:gd name="T67" fmla="*/ 130 h 214"/>
                <a:gd name="T68" fmla="*/ 0 w 190"/>
                <a:gd name="T69" fmla="*/ 101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0" h="214">
                  <a:moveTo>
                    <a:pt x="0" y="101"/>
                  </a:moveTo>
                  <a:lnTo>
                    <a:pt x="4" y="99"/>
                  </a:lnTo>
                  <a:lnTo>
                    <a:pt x="27" y="86"/>
                  </a:lnTo>
                  <a:lnTo>
                    <a:pt x="27" y="72"/>
                  </a:lnTo>
                  <a:lnTo>
                    <a:pt x="29" y="47"/>
                  </a:lnTo>
                  <a:lnTo>
                    <a:pt x="29" y="37"/>
                  </a:lnTo>
                  <a:lnTo>
                    <a:pt x="18" y="20"/>
                  </a:lnTo>
                  <a:lnTo>
                    <a:pt x="37" y="18"/>
                  </a:lnTo>
                  <a:lnTo>
                    <a:pt x="49" y="10"/>
                  </a:lnTo>
                  <a:lnTo>
                    <a:pt x="66" y="4"/>
                  </a:lnTo>
                  <a:lnTo>
                    <a:pt x="74" y="0"/>
                  </a:lnTo>
                  <a:lnTo>
                    <a:pt x="80" y="6"/>
                  </a:lnTo>
                  <a:lnTo>
                    <a:pt x="93" y="43"/>
                  </a:lnTo>
                  <a:lnTo>
                    <a:pt x="105" y="47"/>
                  </a:lnTo>
                  <a:lnTo>
                    <a:pt x="118" y="47"/>
                  </a:lnTo>
                  <a:lnTo>
                    <a:pt x="134" y="66"/>
                  </a:lnTo>
                  <a:lnTo>
                    <a:pt x="155" y="93"/>
                  </a:lnTo>
                  <a:lnTo>
                    <a:pt x="180" y="95"/>
                  </a:lnTo>
                  <a:lnTo>
                    <a:pt x="180" y="111"/>
                  </a:lnTo>
                  <a:lnTo>
                    <a:pt x="190" y="124"/>
                  </a:lnTo>
                  <a:lnTo>
                    <a:pt x="186" y="173"/>
                  </a:lnTo>
                  <a:lnTo>
                    <a:pt x="147" y="159"/>
                  </a:lnTo>
                  <a:lnTo>
                    <a:pt x="120" y="192"/>
                  </a:lnTo>
                  <a:lnTo>
                    <a:pt x="118" y="204"/>
                  </a:lnTo>
                  <a:lnTo>
                    <a:pt x="97" y="204"/>
                  </a:lnTo>
                  <a:lnTo>
                    <a:pt x="91" y="212"/>
                  </a:lnTo>
                  <a:lnTo>
                    <a:pt x="80" y="200"/>
                  </a:lnTo>
                  <a:lnTo>
                    <a:pt x="64" y="198"/>
                  </a:lnTo>
                  <a:lnTo>
                    <a:pt x="49" y="214"/>
                  </a:lnTo>
                  <a:lnTo>
                    <a:pt x="41" y="214"/>
                  </a:lnTo>
                  <a:lnTo>
                    <a:pt x="37" y="192"/>
                  </a:lnTo>
                  <a:lnTo>
                    <a:pt x="33" y="169"/>
                  </a:lnTo>
                  <a:lnTo>
                    <a:pt x="27" y="146"/>
                  </a:lnTo>
                  <a:lnTo>
                    <a:pt x="12" y="130"/>
                  </a:lnTo>
                  <a:lnTo>
                    <a:pt x="0" y="10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9" name="Freeform 71"/>
            <p:cNvSpPr>
              <a:spLocks/>
            </p:cNvSpPr>
            <p:nvPr/>
          </p:nvSpPr>
          <p:spPr bwMode="auto">
            <a:xfrm>
              <a:off x="1573" y="2274"/>
              <a:ext cx="210" cy="206"/>
            </a:xfrm>
            <a:custGeom>
              <a:avLst/>
              <a:gdLst>
                <a:gd name="T0" fmla="*/ 188 w 188"/>
                <a:gd name="T1" fmla="*/ 60 h 184"/>
                <a:gd name="T2" fmla="*/ 180 w 188"/>
                <a:gd name="T3" fmla="*/ 53 h 184"/>
                <a:gd name="T4" fmla="*/ 171 w 188"/>
                <a:gd name="T5" fmla="*/ 45 h 184"/>
                <a:gd name="T6" fmla="*/ 153 w 188"/>
                <a:gd name="T7" fmla="*/ 37 h 184"/>
                <a:gd name="T8" fmla="*/ 140 w 188"/>
                <a:gd name="T9" fmla="*/ 25 h 184"/>
                <a:gd name="T10" fmla="*/ 114 w 188"/>
                <a:gd name="T11" fmla="*/ 29 h 184"/>
                <a:gd name="T12" fmla="*/ 85 w 188"/>
                <a:gd name="T13" fmla="*/ 33 h 184"/>
                <a:gd name="T14" fmla="*/ 66 w 188"/>
                <a:gd name="T15" fmla="*/ 20 h 184"/>
                <a:gd name="T16" fmla="*/ 52 w 188"/>
                <a:gd name="T17" fmla="*/ 6 h 184"/>
                <a:gd name="T18" fmla="*/ 45 w 188"/>
                <a:gd name="T19" fmla="*/ 2 h 184"/>
                <a:gd name="T20" fmla="*/ 45 w 188"/>
                <a:gd name="T21" fmla="*/ 0 h 184"/>
                <a:gd name="T22" fmla="*/ 43 w 188"/>
                <a:gd name="T23" fmla="*/ 2 h 184"/>
                <a:gd name="T24" fmla="*/ 43 w 188"/>
                <a:gd name="T25" fmla="*/ 4 h 184"/>
                <a:gd name="T26" fmla="*/ 41 w 188"/>
                <a:gd name="T27" fmla="*/ 8 h 184"/>
                <a:gd name="T28" fmla="*/ 37 w 188"/>
                <a:gd name="T29" fmla="*/ 10 h 184"/>
                <a:gd name="T30" fmla="*/ 39 w 188"/>
                <a:gd name="T31" fmla="*/ 16 h 184"/>
                <a:gd name="T32" fmla="*/ 35 w 188"/>
                <a:gd name="T33" fmla="*/ 20 h 184"/>
                <a:gd name="T34" fmla="*/ 35 w 188"/>
                <a:gd name="T35" fmla="*/ 14 h 184"/>
                <a:gd name="T36" fmla="*/ 35 w 188"/>
                <a:gd name="T37" fmla="*/ 10 h 184"/>
                <a:gd name="T38" fmla="*/ 33 w 188"/>
                <a:gd name="T39" fmla="*/ 8 h 184"/>
                <a:gd name="T40" fmla="*/ 35 w 188"/>
                <a:gd name="T41" fmla="*/ 4 h 184"/>
                <a:gd name="T42" fmla="*/ 19 w 188"/>
                <a:gd name="T43" fmla="*/ 16 h 184"/>
                <a:gd name="T44" fmla="*/ 0 w 188"/>
                <a:gd name="T45" fmla="*/ 31 h 184"/>
                <a:gd name="T46" fmla="*/ 0 w 188"/>
                <a:gd name="T47" fmla="*/ 49 h 184"/>
                <a:gd name="T48" fmla="*/ 2 w 188"/>
                <a:gd name="T49" fmla="*/ 62 h 184"/>
                <a:gd name="T50" fmla="*/ 10 w 188"/>
                <a:gd name="T51" fmla="*/ 91 h 184"/>
                <a:gd name="T52" fmla="*/ 47 w 188"/>
                <a:gd name="T53" fmla="*/ 95 h 184"/>
                <a:gd name="T54" fmla="*/ 50 w 188"/>
                <a:gd name="T55" fmla="*/ 103 h 184"/>
                <a:gd name="T56" fmla="*/ 64 w 188"/>
                <a:gd name="T57" fmla="*/ 103 h 184"/>
                <a:gd name="T58" fmla="*/ 70 w 188"/>
                <a:gd name="T59" fmla="*/ 107 h 184"/>
                <a:gd name="T60" fmla="*/ 66 w 188"/>
                <a:gd name="T61" fmla="*/ 138 h 184"/>
                <a:gd name="T62" fmla="*/ 72 w 188"/>
                <a:gd name="T63" fmla="*/ 140 h 184"/>
                <a:gd name="T64" fmla="*/ 64 w 188"/>
                <a:gd name="T65" fmla="*/ 148 h 184"/>
                <a:gd name="T66" fmla="*/ 72 w 188"/>
                <a:gd name="T67" fmla="*/ 175 h 184"/>
                <a:gd name="T68" fmla="*/ 85 w 188"/>
                <a:gd name="T69" fmla="*/ 177 h 184"/>
                <a:gd name="T70" fmla="*/ 105 w 188"/>
                <a:gd name="T71" fmla="*/ 184 h 184"/>
                <a:gd name="T72" fmla="*/ 124 w 188"/>
                <a:gd name="T73" fmla="*/ 163 h 184"/>
                <a:gd name="T74" fmla="*/ 132 w 188"/>
                <a:gd name="T75" fmla="*/ 157 h 184"/>
                <a:gd name="T76" fmla="*/ 132 w 188"/>
                <a:gd name="T77" fmla="*/ 148 h 184"/>
                <a:gd name="T78" fmla="*/ 120 w 188"/>
                <a:gd name="T79" fmla="*/ 144 h 184"/>
                <a:gd name="T80" fmla="*/ 114 w 188"/>
                <a:gd name="T81" fmla="*/ 132 h 184"/>
                <a:gd name="T82" fmla="*/ 112 w 188"/>
                <a:gd name="T83" fmla="*/ 132 h 184"/>
                <a:gd name="T84" fmla="*/ 112 w 188"/>
                <a:gd name="T85" fmla="*/ 126 h 184"/>
                <a:gd name="T86" fmla="*/ 124 w 188"/>
                <a:gd name="T87" fmla="*/ 130 h 184"/>
                <a:gd name="T88" fmla="*/ 134 w 188"/>
                <a:gd name="T89" fmla="*/ 132 h 184"/>
                <a:gd name="T90" fmla="*/ 138 w 188"/>
                <a:gd name="T91" fmla="*/ 138 h 184"/>
                <a:gd name="T92" fmla="*/ 153 w 188"/>
                <a:gd name="T93" fmla="*/ 138 h 184"/>
                <a:gd name="T94" fmla="*/ 155 w 188"/>
                <a:gd name="T95" fmla="*/ 132 h 184"/>
                <a:gd name="T96" fmla="*/ 163 w 188"/>
                <a:gd name="T97" fmla="*/ 128 h 184"/>
                <a:gd name="T98" fmla="*/ 176 w 188"/>
                <a:gd name="T99" fmla="*/ 124 h 184"/>
                <a:gd name="T100" fmla="*/ 167 w 188"/>
                <a:gd name="T101" fmla="*/ 105 h 184"/>
                <a:gd name="T102" fmla="*/ 167 w 188"/>
                <a:gd name="T103" fmla="*/ 82 h 184"/>
                <a:gd name="T104" fmla="*/ 178 w 188"/>
                <a:gd name="T105" fmla="*/ 80 h 184"/>
                <a:gd name="T106" fmla="*/ 176 w 188"/>
                <a:gd name="T107" fmla="*/ 68 h 184"/>
                <a:gd name="T108" fmla="*/ 188 w 188"/>
                <a:gd name="T109" fmla="*/ 6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8" h="184">
                  <a:moveTo>
                    <a:pt x="188" y="60"/>
                  </a:moveTo>
                  <a:lnTo>
                    <a:pt x="180" y="53"/>
                  </a:lnTo>
                  <a:lnTo>
                    <a:pt x="171" y="45"/>
                  </a:lnTo>
                  <a:lnTo>
                    <a:pt x="153" y="37"/>
                  </a:lnTo>
                  <a:lnTo>
                    <a:pt x="140" y="25"/>
                  </a:lnTo>
                  <a:lnTo>
                    <a:pt x="114" y="29"/>
                  </a:lnTo>
                  <a:lnTo>
                    <a:pt x="85" y="33"/>
                  </a:lnTo>
                  <a:lnTo>
                    <a:pt x="66" y="20"/>
                  </a:lnTo>
                  <a:lnTo>
                    <a:pt x="52" y="6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3" y="2"/>
                  </a:lnTo>
                  <a:lnTo>
                    <a:pt x="43" y="4"/>
                  </a:lnTo>
                  <a:lnTo>
                    <a:pt x="41" y="8"/>
                  </a:lnTo>
                  <a:lnTo>
                    <a:pt x="37" y="10"/>
                  </a:lnTo>
                  <a:lnTo>
                    <a:pt x="39" y="16"/>
                  </a:lnTo>
                  <a:lnTo>
                    <a:pt x="35" y="20"/>
                  </a:lnTo>
                  <a:lnTo>
                    <a:pt x="35" y="14"/>
                  </a:lnTo>
                  <a:lnTo>
                    <a:pt x="35" y="10"/>
                  </a:lnTo>
                  <a:lnTo>
                    <a:pt x="33" y="8"/>
                  </a:lnTo>
                  <a:lnTo>
                    <a:pt x="35" y="4"/>
                  </a:lnTo>
                  <a:lnTo>
                    <a:pt x="19" y="16"/>
                  </a:lnTo>
                  <a:lnTo>
                    <a:pt x="0" y="31"/>
                  </a:lnTo>
                  <a:lnTo>
                    <a:pt x="0" y="49"/>
                  </a:lnTo>
                  <a:lnTo>
                    <a:pt x="2" y="62"/>
                  </a:lnTo>
                  <a:lnTo>
                    <a:pt x="10" y="91"/>
                  </a:lnTo>
                  <a:lnTo>
                    <a:pt x="47" y="95"/>
                  </a:lnTo>
                  <a:lnTo>
                    <a:pt x="50" y="103"/>
                  </a:lnTo>
                  <a:lnTo>
                    <a:pt x="64" y="103"/>
                  </a:lnTo>
                  <a:lnTo>
                    <a:pt x="70" y="107"/>
                  </a:lnTo>
                  <a:lnTo>
                    <a:pt x="66" y="138"/>
                  </a:lnTo>
                  <a:lnTo>
                    <a:pt x="72" y="140"/>
                  </a:lnTo>
                  <a:lnTo>
                    <a:pt x="64" y="148"/>
                  </a:lnTo>
                  <a:lnTo>
                    <a:pt x="72" y="175"/>
                  </a:lnTo>
                  <a:lnTo>
                    <a:pt x="85" y="177"/>
                  </a:lnTo>
                  <a:lnTo>
                    <a:pt x="105" y="184"/>
                  </a:lnTo>
                  <a:lnTo>
                    <a:pt x="124" y="163"/>
                  </a:lnTo>
                  <a:lnTo>
                    <a:pt x="132" y="157"/>
                  </a:lnTo>
                  <a:lnTo>
                    <a:pt x="132" y="148"/>
                  </a:lnTo>
                  <a:lnTo>
                    <a:pt x="120" y="144"/>
                  </a:lnTo>
                  <a:lnTo>
                    <a:pt x="114" y="132"/>
                  </a:lnTo>
                  <a:lnTo>
                    <a:pt x="112" y="132"/>
                  </a:lnTo>
                  <a:lnTo>
                    <a:pt x="112" y="126"/>
                  </a:lnTo>
                  <a:lnTo>
                    <a:pt x="124" y="130"/>
                  </a:lnTo>
                  <a:lnTo>
                    <a:pt x="134" y="132"/>
                  </a:lnTo>
                  <a:lnTo>
                    <a:pt x="138" y="138"/>
                  </a:lnTo>
                  <a:lnTo>
                    <a:pt x="153" y="138"/>
                  </a:lnTo>
                  <a:lnTo>
                    <a:pt x="155" y="132"/>
                  </a:lnTo>
                  <a:lnTo>
                    <a:pt x="163" y="128"/>
                  </a:lnTo>
                  <a:lnTo>
                    <a:pt x="176" y="124"/>
                  </a:lnTo>
                  <a:lnTo>
                    <a:pt x="167" y="105"/>
                  </a:lnTo>
                  <a:lnTo>
                    <a:pt x="167" y="82"/>
                  </a:lnTo>
                  <a:lnTo>
                    <a:pt x="178" y="80"/>
                  </a:lnTo>
                  <a:lnTo>
                    <a:pt x="176" y="68"/>
                  </a:lnTo>
                  <a:lnTo>
                    <a:pt x="188" y="6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0" name="Freeform 72"/>
            <p:cNvSpPr>
              <a:spLocks/>
            </p:cNvSpPr>
            <p:nvPr/>
          </p:nvSpPr>
          <p:spPr bwMode="auto">
            <a:xfrm>
              <a:off x="1760" y="2341"/>
              <a:ext cx="60" cy="107"/>
            </a:xfrm>
            <a:custGeom>
              <a:avLst/>
              <a:gdLst>
                <a:gd name="T0" fmla="*/ 54 w 54"/>
                <a:gd name="T1" fmla="*/ 33 h 95"/>
                <a:gd name="T2" fmla="*/ 21 w 54"/>
                <a:gd name="T3" fmla="*/ 0 h 95"/>
                <a:gd name="T4" fmla="*/ 9 w 54"/>
                <a:gd name="T5" fmla="*/ 8 h 95"/>
                <a:gd name="T6" fmla="*/ 11 w 54"/>
                <a:gd name="T7" fmla="*/ 20 h 95"/>
                <a:gd name="T8" fmla="*/ 0 w 54"/>
                <a:gd name="T9" fmla="*/ 22 h 95"/>
                <a:gd name="T10" fmla="*/ 0 w 54"/>
                <a:gd name="T11" fmla="*/ 45 h 95"/>
                <a:gd name="T12" fmla="*/ 9 w 54"/>
                <a:gd name="T13" fmla="*/ 64 h 95"/>
                <a:gd name="T14" fmla="*/ 13 w 54"/>
                <a:gd name="T15" fmla="*/ 64 h 95"/>
                <a:gd name="T16" fmla="*/ 17 w 54"/>
                <a:gd name="T17" fmla="*/ 76 h 95"/>
                <a:gd name="T18" fmla="*/ 17 w 54"/>
                <a:gd name="T19" fmla="*/ 95 h 95"/>
                <a:gd name="T20" fmla="*/ 25 w 54"/>
                <a:gd name="T21" fmla="*/ 93 h 95"/>
                <a:gd name="T22" fmla="*/ 27 w 54"/>
                <a:gd name="T23" fmla="*/ 93 h 95"/>
                <a:gd name="T24" fmla="*/ 38 w 54"/>
                <a:gd name="T25" fmla="*/ 91 h 95"/>
                <a:gd name="T26" fmla="*/ 42 w 54"/>
                <a:gd name="T27" fmla="*/ 88 h 95"/>
                <a:gd name="T28" fmla="*/ 48 w 54"/>
                <a:gd name="T29" fmla="*/ 91 h 95"/>
                <a:gd name="T30" fmla="*/ 42 w 54"/>
                <a:gd name="T31" fmla="*/ 80 h 95"/>
                <a:gd name="T32" fmla="*/ 40 w 54"/>
                <a:gd name="T33" fmla="*/ 70 h 95"/>
                <a:gd name="T34" fmla="*/ 38 w 54"/>
                <a:gd name="T35" fmla="*/ 68 h 95"/>
                <a:gd name="T36" fmla="*/ 35 w 54"/>
                <a:gd name="T37" fmla="*/ 45 h 95"/>
                <a:gd name="T38" fmla="*/ 40 w 54"/>
                <a:gd name="T39" fmla="*/ 45 h 95"/>
                <a:gd name="T40" fmla="*/ 46 w 54"/>
                <a:gd name="T41" fmla="*/ 43 h 95"/>
                <a:gd name="T42" fmla="*/ 50 w 54"/>
                <a:gd name="T43" fmla="*/ 35 h 95"/>
                <a:gd name="T44" fmla="*/ 54 w 54"/>
                <a:gd name="T45" fmla="*/ 3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4" h="95">
                  <a:moveTo>
                    <a:pt x="54" y="33"/>
                  </a:moveTo>
                  <a:lnTo>
                    <a:pt x="21" y="0"/>
                  </a:lnTo>
                  <a:lnTo>
                    <a:pt x="9" y="8"/>
                  </a:lnTo>
                  <a:lnTo>
                    <a:pt x="11" y="20"/>
                  </a:lnTo>
                  <a:lnTo>
                    <a:pt x="0" y="22"/>
                  </a:lnTo>
                  <a:lnTo>
                    <a:pt x="0" y="45"/>
                  </a:lnTo>
                  <a:lnTo>
                    <a:pt x="9" y="64"/>
                  </a:lnTo>
                  <a:lnTo>
                    <a:pt x="13" y="64"/>
                  </a:lnTo>
                  <a:lnTo>
                    <a:pt x="17" y="76"/>
                  </a:lnTo>
                  <a:lnTo>
                    <a:pt x="17" y="95"/>
                  </a:lnTo>
                  <a:lnTo>
                    <a:pt x="25" y="93"/>
                  </a:lnTo>
                  <a:lnTo>
                    <a:pt x="27" y="93"/>
                  </a:lnTo>
                  <a:lnTo>
                    <a:pt x="38" y="91"/>
                  </a:lnTo>
                  <a:lnTo>
                    <a:pt x="42" y="88"/>
                  </a:lnTo>
                  <a:lnTo>
                    <a:pt x="48" y="91"/>
                  </a:lnTo>
                  <a:lnTo>
                    <a:pt x="42" y="80"/>
                  </a:lnTo>
                  <a:lnTo>
                    <a:pt x="40" y="70"/>
                  </a:lnTo>
                  <a:lnTo>
                    <a:pt x="38" y="68"/>
                  </a:lnTo>
                  <a:lnTo>
                    <a:pt x="35" y="45"/>
                  </a:lnTo>
                  <a:lnTo>
                    <a:pt x="40" y="45"/>
                  </a:lnTo>
                  <a:lnTo>
                    <a:pt x="46" y="43"/>
                  </a:lnTo>
                  <a:lnTo>
                    <a:pt x="50" y="35"/>
                  </a:lnTo>
                  <a:lnTo>
                    <a:pt x="54" y="3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1" name="Freeform 73"/>
            <p:cNvSpPr>
              <a:spLocks/>
            </p:cNvSpPr>
            <p:nvPr/>
          </p:nvSpPr>
          <p:spPr bwMode="auto">
            <a:xfrm>
              <a:off x="1798" y="2378"/>
              <a:ext cx="53" cy="66"/>
            </a:xfrm>
            <a:custGeom>
              <a:avLst/>
              <a:gdLst>
                <a:gd name="T0" fmla="*/ 19 w 46"/>
                <a:gd name="T1" fmla="*/ 0 h 58"/>
                <a:gd name="T2" fmla="*/ 46 w 46"/>
                <a:gd name="T3" fmla="*/ 8 h 58"/>
                <a:gd name="T4" fmla="*/ 46 w 46"/>
                <a:gd name="T5" fmla="*/ 14 h 58"/>
                <a:gd name="T6" fmla="*/ 38 w 46"/>
                <a:gd name="T7" fmla="*/ 22 h 58"/>
                <a:gd name="T8" fmla="*/ 40 w 46"/>
                <a:gd name="T9" fmla="*/ 31 h 58"/>
                <a:gd name="T10" fmla="*/ 44 w 46"/>
                <a:gd name="T11" fmla="*/ 39 h 58"/>
                <a:gd name="T12" fmla="*/ 40 w 46"/>
                <a:gd name="T13" fmla="*/ 49 h 58"/>
                <a:gd name="T14" fmla="*/ 38 w 46"/>
                <a:gd name="T15" fmla="*/ 53 h 58"/>
                <a:gd name="T16" fmla="*/ 31 w 46"/>
                <a:gd name="T17" fmla="*/ 51 h 58"/>
                <a:gd name="T18" fmla="*/ 27 w 46"/>
                <a:gd name="T19" fmla="*/ 53 h 58"/>
                <a:gd name="T20" fmla="*/ 19 w 46"/>
                <a:gd name="T21" fmla="*/ 53 h 58"/>
                <a:gd name="T22" fmla="*/ 17 w 46"/>
                <a:gd name="T23" fmla="*/ 55 h 58"/>
                <a:gd name="T24" fmla="*/ 19 w 46"/>
                <a:gd name="T25" fmla="*/ 58 h 58"/>
                <a:gd name="T26" fmla="*/ 13 w 46"/>
                <a:gd name="T27" fmla="*/ 58 h 58"/>
                <a:gd name="T28" fmla="*/ 7 w 46"/>
                <a:gd name="T29" fmla="*/ 47 h 58"/>
                <a:gd name="T30" fmla="*/ 5 w 46"/>
                <a:gd name="T31" fmla="*/ 37 h 58"/>
                <a:gd name="T32" fmla="*/ 3 w 46"/>
                <a:gd name="T33" fmla="*/ 35 h 58"/>
                <a:gd name="T34" fmla="*/ 0 w 46"/>
                <a:gd name="T35" fmla="*/ 12 h 58"/>
                <a:gd name="T36" fmla="*/ 5 w 46"/>
                <a:gd name="T37" fmla="*/ 12 h 58"/>
                <a:gd name="T38" fmla="*/ 11 w 46"/>
                <a:gd name="T39" fmla="*/ 10 h 58"/>
                <a:gd name="T40" fmla="*/ 15 w 46"/>
                <a:gd name="T41" fmla="*/ 2 h 58"/>
                <a:gd name="T42" fmla="*/ 19 w 46"/>
                <a:gd name="T43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58">
                  <a:moveTo>
                    <a:pt x="19" y="0"/>
                  </a:moveTo>
                  <a:lnTo>
                    <a:pt x="46" y="8"/>
                  </a:lnTo>
                  <a:lnTo>
                    <a:pt x="46" y="14"/>
                  </a:lnTo>
                  <a:lnTo>
                    <a:pt x="38" y="22"/>
                  </a:lnTo>
                  <a:lnTo>
                    <a:pt x="40" y="31"/>
                  </a:lnTo>
                  <a:lnTo>
                    <a:pt x="44" y="39"/>
                  </a:lnTo>
                  <a:lnTo>
                    <a:pt x="40" y="49"/>
                  </a:lnTo>
                  <a:lnTo>
                    <a:pt x="38" y="53"/>
                  </a:lnTo>
                  <a:lnTo>
                    <a:pt x="31" y="51"/>
                  </a:lnTo>
                  <a:lnTo>
                    <a:pt x="27" y="53"/>
                  </a:lnTo>
                  <a:lnTo>
                    <a:pt x="19" y="53"/>
                  </a:lnTo>
                  <a:lnTo>
                    <a:pt x="17" y="55"/>
                  </a:lnTo>
                  <a:lnTo>
                    <a:pt x="19" y="58"/>
                  </a:lnTo>
                  <a:lnTo>
                    <a:pt x="13" y="58"/>
                  </a:lnTo>
                  <a:lnTo>
                    <a:pt x="7" y="47"/>
                  </a:lnTo>
                  <a:lnTo>
                    <a:pt x="5" y="37"/>
                  </a:lnTo>
                  <a:lnTo>
                    <a:pt x="3" y="35"/>
                  </a:lnTo>
                  <a:lnTo>
                    <a:pt x="0" y="12"/>
                  </a:lnTo>
                  <a:lnTo>
                    <a:pt x="5" y="12"/>
                  </a:lnTo>
                  <a:lnTo>
                    <a:pt x="11" y="10"/>
                  </a:lnTo>
                  <a:lnTo>
                    <a:pt x="15" y="2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2" name="Freeform 74"/>
            <p:cNvSpPr>
              <a:spLocks/>
            </p:cNvSpPr>
            <p:nvPr/>
          </p:nvSpPr>
          <p:spPr bwMode="auto">
            <a:xfrm>
              <a:off x="1842" y="2387"/>
              <a:ext cx="55" cy="51"/>
            </a:xfrm>
            <a:custGeom>
              <a:avLst/>
              <a:gdLst>
                <a:gd name="T0" fmla="*/ 49 w 49"/>
                <a:gd name="T1" fmla="*/ 19 h 45"/>
                <a:gd name="T2" fmla="*/ 33 w 49"/>
                <a:gd name="T3" fmla="*/ 10 h 45"/>
                <a:gd name="T4" fmla="*/ 8 w 49"/>
                <a:gd name="T5" fmla="*/ 0 h 45"/>
                <a:gd name="T6" fmla="*/ 8 w 49"/>
                <a:gd name="T7" fmla="*/ 2 h 45"/>
                <a:gd name="T8" fmla="*/ 8 w 49"/>
                <a:gd name="T9" fmla="*/ 6 h 45"/>
                <a:gd name="T10" fmla="*/ 0 w 49"/>
                <a:gd name="T11" fmla="*/ 14 h 45"/>
                <a:gd name="T12" fmla="*/ 2 w 49"/>
                <a:gd name="T13" fmla="*/ 23 h 45"/>
                <a:gd name="T14" fmla="*/ 6 w 49"/>
                <a:gd name="T15" fmla="*/ 31 h 45"/>
                <a:gd name="T16" fmla="*/ 2 w 49"/>
                <a:gd name="T17" fmla="*/ 41 h 45"/>
                <a:gd name="T18" fmla="*/ 0 w 49"/>
                <a:gd name="T19" fmla="*/ 45 h 45"/>
                <a:gd name="T20" fmla="*/ 6 w 49"/>
                <a:gd name="T21" fmla="*/ 45 h 45"/>
                <a:gd name="T22" fmla="*/ 12 w 49"/>
                <a:gd name="T23" fmla="*/ 43 h 45"/>
                <a:gd name="T24" fmla="*/ 16 w 49"/>
                <a:gd name="T25" fmla="*/ 43 h 45"/>
                <a:gd name="T26" fmla="*/ 22 w 49"/>
                <a:gd name="T27" fmla="*/ 45 h 45"/>
                <a:gd name="T28" fmla="*/ 27 w 49"/>
                <a:gd name="T29" fmla="*/ 45 h 45"/>
                <a:gd name="T30" fmla="*/ 31 w 49"/>
                <a:gd name="T31" fmla="*/ 43 h 45"/>
                <a:gd name="T32" fmla="*/ 37 w 49"/>
                <a:gd name="T33" fmla="*/ 31 h 45"/>
                <a:gd name="T34" fmla="*/ 43 w 49"/>
                <a:gd name="T35" fmla="*/ 25 h 45"/>
                <a:gd name="T36" fmla="*/ 49 w 49"/>
                <a:gd name="T37" fmla="*/ 1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" h="45">
                  <a:moveTo>
                    <a:pt x="49" y="19"/>
                  </a:moveTo>
                  <a:lnTo>
                    <a:pt x="33" y="10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6"/>
                  </a:lnTo>
                  <a:lnTo>
                    <a:pt x="0" y="14"/>
                  </a:lnTo>
                  <a:lnTo>
                    <a:pt x="2" y="23"/>
                  </a:lnTo>
                  <a:lnTo>
                    <a:pt x="6" y="31"/>
                  </a:lnTo>
                  <a:lnTo>
                    <a:pt x="2" y="41"/>
                  </a:lnTo>
                  <a:lnTo>
                    <a:pt x="0" y="45"/>
                  </a:lnTo>
                  <a:lnTo>
                    <a:pt x="6" y="45"/>
                  </a:lnTo>
                  <a:lnTo>
                    <a:pt x="12" y="43"/>
                  </a:lnTo>
                  <a:lnTo>
                    <a:pt x="16" y="43"/>
                  </a:lnTo>
                  <a:lnTo>
                    <a:pt x="22" y="45"/>
                  </a:lnTo>
                  <a:lnTo>
                    <a:pt x="27" y="45"/>
                  </a:lnTo>
                  <a:lnTo>
                    <a:pt x="31" y="43"/>
                  </a:lnTo>
                  <a:lnTo>
                    <a:pt x="37" y="31"/>
                  </a:lnTo>
                  <a:lnTo>
                    <a:pt x="43" y="25"/>
                  </a:lnTo>
                  <a:lnTo>
                    <a:pt x="49" y="1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6" name="Freeform 75"/>
            <p:cNvSpPr>
              <a:spLocks/>
            </p:cNvSpPr>
            <p:nvPr/>
          </p:nvSpPr>
          <p:spPr bwMode="auto">
            <a:xfrm>
              <a:off x="1474" y="2271"/>
              <a:ext cx="179" cy="290"/>
            </a:xfrm>
            <a:custGeom>
              <a:avLst/>
              <a:gdLst>
                <a:gd name="T0" fmla="*/ 134 w 159"/>
                <a:gd name="T1" fmla="*/ 206 h 258"/>
                <a:gd name="T2" fmla="*/ 137 w 159"/>
                <a:gd name="T3" fmla="*/ 227 h 258"/>
                <a:gd name="T4" fmla="*/ 128 w 159"/>
                <a:gd name="T5" fmla="*/ 258 h 258"/>
                <a:gd name="T6" fmla="*/ 120 w 159"/>
                <a:gd name="T7" fmla="*/ 258 h 258"/>
                <a:gd name="T8" fmla="*/ 126 w 159"/>
                <a:gd name="T9" fmla="*/ 241 h 258"/>
                <a:gd name="T10" fmla="*/ 122 w 159"/>
                <a:gd name="T11" fmla="*/ 235 h 258"/>
                <a:gd name="T12" fmla="*/ 103 w 159"/>
                <a:gd name="T13" fmla="*/ 233 h 258"/>
                <a:gd name="T14" fmla="*/ 87 w 159"/>
                <a:gd name="T15" fmla="*/ 217 h 258"/>
                <a:gd name="T16" fmla="*/ 54 w 159"/>
                <a:gd name="T17" fmla="*/ 202 h 258"/>
                <a:gd name="T18" fmla="*/ 42 w 159"/>
                <a:gd name="T19" fmla="*/ 196 h 258"/>
                <a:gd name="T20" fmla="*/ 27 w 159"/>
                <a:gd name="T21" fmla="*/ 184 h 258"/>
                <a:gd name="T22" fmla="*/ 0 w 159"/>
                <a:gd name="T23" fmla="*/ 177 h 258"/>
                <a:gd name="T24" fmla="*/ 4 w 159"/>
                <a:gd name="T25" fmla="*/ 171 h 258"/>
                <a:gd name="T26" fmla="*/ 11 w 159"/>
                <a:gd name="T27" fmla="*/ 165 h 258"/>
                <a:gd name="T28" fmla="*/ 15 w 159"/>
                <a:gd name="T29" fmla="*/ 153 h 258"/>
                <a:gd name="T30" fmla="*/ 19 w 159"/>
                <a:gd name="T31" fmla="*/ 122 h 258"/>
                <a:gd name="T32" fmla="*/ 21 w 159"/>
                <a:gd name="T33" fmla="*/ 78 h 258"/>
                <a:gd name="T34" fmla="*/ 21 w 159"/>
                <a:gd name="T35" fmla="*/ 70 h 258"/>
                <a:gd name="T36" fmla="*/ 23 w 159"/>
                <a:gd name="T37" fmla="*/ 66 h 258"/>
                <a:gd name="T38" fmla="*/ 21 w 159"/>
                <a:gd name="T39" fmla="*/ 58 h 258"/>
                <a:gd name="T40" fmla="*/ 35 w 159"/>
                <a:gd name="T41" fmla="*/ 53 h 258"/>
                <a:gd name="T42" fmla="*/ 48 w 159"/>
                <a:gd name="T43" fmla="*/ 35 h 258"/>
                <a:gd name="T44" fmla="*/ 54 w 159"/>
                <a:gd name="T45" fmla="*/ 24 h 258"/>
                <a:gd name="T46" fmla="*/ 72 w 159"/>
                <a:gd name="T47" fmla="*/ 22 h 258"/>
                <a:gd name="T48" fmla="*/ 81 w 159"/>
                <a:gd name="T49" fmla="*/ 14 h 258"/>
                <a:gd name="T50" fmla="*/ 91 w 159"/>
                <a:gd name="T51" fmla="*/ 8 h 258"/>
                <a:gd name="T52" fmla="*/ 101 w 159"/>
                <a:gd name="T53" fmla="*/ 6 h 258"/>
                <a:gd name="T54" fmla="*/ 120 w 159"/>
                <a:gd name="T55" fmla="*/ 0 h 258"/>
                <a:gd name="T56" fmla="*/ 124 w 159"/>
                <a:gd name="T57" fmla="*/ 4 h 258"/>
                <a:gd name="T58" fmla="*/ 122 w 159"/>
                <a:gd name="T59" fmla="*/ 4 h 258"/>
                <a:gd name="T60" fmla="*/ 106 w 159"/>
                <a:gd name="T61" fmla="*/ 18 h 258"/>
                <a:gd name="T62" fmla="*/ 87 w 159"/>
                <a:gd name="T63" fmla="*/ 33 h 258"/>
                <a:gd name="T64" fmla="*/ 87 w 159"/>
                <a:gd name="T65" fmla="*/ 51 h 258"/>
                <a:gd name="T66" fmla="*/ 89 w 159"/>
                <a:gd name="T67" fmla="*/ 64 h 258"/>
                <a:gd name="T68" fmla="*/ 97 w 159"/>
                <a:gd name="T69" fmla="*/ 93 h 258"/>
                <a:gd name="T70" fmla="*/ 134 w 159"/>
                <a:gd name="T71" fmla="*/ 97 h 258"/>
                <a:gd name="T72" fmla="*/ 137 w 159"/>
                <a:gd name="T73" fmla="*/ 105 h 258"/>
                <a:gd name="T74" fmla="*/ 151 w 159"/>
                <a:gd name="T75" fmla="*/ 105 h 258"/>
                <a:gd name="T76" fmla="*/ 157 w 159"/>
                <a:gd name="T77" fmla="*/ 109 h 258"/>
                <a:gd name="T78" fmla="*/ 153 w 159"/>
                <a:gd name="T79" fmla="*/ 140 h 258"/>
                <a:gd name="T80" fmla="*/ 159 w 159"/>
                <a:gd name="T81" fmla="*/ 142 h 258"/>
                <a:gd name="T82" fmla="*/ 151 w 159"/>
                <a:gd name="T83" fmla="*/ 150 h 258"/>
                <a:gd name="T84" fmla="*/ 159 w 159"/>
                <a:gd name="T85" fmla="*/ 177 h 258"/>
                <a:gd name="T86" fmla="*/ 157 w 159"/>
                <a:gd name="T87" fmla="*/ 177 h 258"/>
                <a:gd name="T88" fmla="*/ 153 w 159"/>
                <a:gd name="T89" fmla="*/ 167 h 258"/>
                <a:gd name="T90" fmla="*/ 128 w 159"/>
                <a:gd name="T91" fmla="*/ 171 h 258"/>
                <a:gd name="T92" fmla="*/ 130 w 159"/>
                <a:gd name="T93" fmla="*/ 179 h 258"/>
                <a:gd name="T94" fmla="*/ 137 w 159"/>
                <a:gd name="T95" fmla="*/ 179 h 258"/>
                <a:gd name="T96" fmla="*/ 139 w 159"/>
                <a:gd name="T97" fmla="*/ 190 h 258"/>
                <a:gd name="T98" fmla="*/ 130 w 159"/>
                <a:gd name="T99" fmla="*/ 188 h 258"/>
                <a:gd name="T100" fmla="*/ 130 w 159"/>
                <a:gd name="T101" fmla="*/ 198 h 258"/>
                <a:gd name="T102" fmla="*/ 134 w 159"/>
                <a:gd name="T103" fmla="*/ 206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9" h="258">
                  <a:moveTo>
                    <a:pt x="134" y="206"/>
                  </a:moveTo>
                  <a:lnTo>
                    <a:pt x="137" y="227"/>
                  </a:lnTo>
                  <a:lnTo>
                    <a:pt x="128" y="258"/>
                  </a:lnTo>
                  <a:lnTo>
                    <a:pt x="120" y="258"/>
                  </a:lnTo>
                  <a:lnTo>
                    <a:pt x="126" y="241"/>
                  </a:lnTo>
                  <a:lnTo>
                    <a:pt x="122" y="235"/>
                  </a:lnTo>
                  <a:lnTo>
                    <a:pt x="103" y="233"/>
                  </a:lnTo>
                  <a:lnTo>
                    <a:pt x="87" y="217"/>
                  </a:lnTo>
                  <a:lnTo>
                    <a:pt x="54" y="202"/>
                  </a:lnTo>
                  <a:lnTo>
                    <a:pt x="42" y="196"/>
                  </a:lnTo>
                  <a:lnTo>
                    <a:pt x="27" y="184"/>
                  </a:lnTo>
                  <a:lnTo>
                    <a:pt x="0" y="177"/>
                  </a:lnTo>
                  <a:lnTo>
                    <a:pt x="4" y="171"/>
                  </a:lnTo>
                  <a:lnTo>
                    <a:pt x="11" y="165"/>
                  </a:lnTo>
                  <a:lnTo>
                    <a:pt x="15" y="153"/>
                  </a:lnTo>
                  <a:lnTo>
                    <a:pt x="19" y="122"/>
                  </a:lnTo>
                  <a:lnTo>
                    <a:pt x="21" y="78"/>
                  </a:lnTo>
                  <a:lnTo>
                    <a:pt x="21" y="70"/>
                  </a:lnTo>
                  <a:lnTo>
                    <a:pt x="23" y="66"/>
                  </a:lnTo>
                  <a:lnTo>
                    <a:pt x="21" y="58"/>
                  </a:lnTo>
                  <a:lnTo>
                    <a:pt x="35" y="53"/>
                  </a:lnTo>
                  <a:lnTo>
                    <a:pt x="48" y="35"/>
                  </a:lnTo>
                  <a:lnTo>
                    <a:pt x="54" y="24"/>
                  </a:lnTo>
                  <a:lnTo>
                    <a:pt x="72" y="22"/>
                  </a:lnTo>
                  <a:lnTo>
                    <a:pt x="81" y="14"/>
                  </a:lnTo>
                  <a:lnTo>
                    <a:pt x="91" y="8"/>
                  </a:lnTo>
                  <a:lnTo>
                    <a:pt x="101" y="6"/>
                  </a:lnTo>
                  <a:lnTo>
                    <a:pt x="120" y="0"/>
                  </a:lnTo>
                  <a:lnTo>
                    <a:pt x="124" y="4"/>
                  </a:lnTo>
                  <a:lnTo>
                    <a:pt x="122" y="4"/>
                  </a:lnTo>
                  <a:lnTo>
                    <a:pt x="106" y="18"/>
                  </a:lnTo>
                  <a:lnTo>
                    <a:pt x="87" y="33"/>
                  </a:lnTo>
                  <a:lnTo>
                    <a:pt x="87" y="51"/>
                  </a:lnTo>
                  <a:lnTo>
                    <a:pt x="89" y="64"/>
                  </a:lnTo>
                  <a:lnTo>
                    <a:pt x="97" y="93"/>
                  </a:lnTo>
                  <a:lnTo>
                    <a:pt x="134" y="97"/>
                  </a:lnTo>
                  <a:lnTo>
                    <a:pt x="137" y="105"/>
                  </a:lnTo>
                  <a:lnTo>
                    <a:pt x="151" y="105"/>
                  </a:lnTo>
                  <a:lnTo>
                    <a:pt x="157" y="109"/>
                  </a:lnTo>
                  <a:lnTo>
                    <a:pt x="153" y="140"/>
                  </a:lnTo>
                  <a:lnTo>
                    <a:pt x="159" y="142"/>
                  </a:lnTo>
                  <a:lnTo>
                    <a:pt x="151" y="150"/>
                  </a:lnTo>
                  <a:lnTo>
                    <a:pt x="159" y="177"/>
                  </a:lnTo>
                  <a:lnTo>
                    <a:pt x="157" y="177"/>
                  </a:lnTo>
                  <a:lnTo>
                    <a:pt x="153" y="167"/>
                  </a:lnTo>
                  <a:lnTo>
                    <a:pt x="128" y="171"/>
                  </a:lnTo>
                  <a:lnTo>
                    <a:pt x="130" y="179"/>
                  </a:lnTo>
                  <a:lnTo>
                    <a:pt x="137" y="179"/>
                  </a:lnTo>
                  <a:lnTo>
                    <a:pt x="139" y="190"/>
                  </a:lnTo>
                  <a:lnTo>
                    <a:pt x="130" y="188"/>
                  </a:lnTo>
                  <a:lnTo>
                    <a:pt x="130" y="198"/>
                  </a:lnTo>
                  <a:lnTo>
                    <a:pt x="134" y="20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7" name="Freeform 76"/>
            <p:cNvSpPr>
              <a:spLocks/>
            </p:cNvSpPr>
            <p:nvPr/>
          </p:nvSpPr>
          <p:spPr bwMode="auto">
            <a:xfrm>
              <a:off x="1427" y="2470"/>
              <a:ext cx="94" cy="100"/>
            </a:xfrm>
            <a:custGeom>
              <a:avLst/>
              <a:gdLst>
                <a:gd name="T0" fmla="*/ 10 w 85"/>
                <a:gd name="T1" fmla="*/ 85 h 89"/>
                <a:gd name="T2" fmla="*/ 10 w 85"/>
                <a:gd name="T3" fmla="*/ 79 h 89"/>
                <a:gd name="T4" fmla="*/ 0 w 85"/>
                <a:gd name="T5" fmla="*/ 73 h 89"/>
                <a:gd name="T6" fmla="*/ 31 w 85"/>
                <a:gd name="T7" fmla="*/ 38 h 89"/>
                <a:gd name="T8" fmla="*/ 31 w 85"/>
                <a:gd name="T9" fmla="*/ 23 h 89"/>
                <a:gd name="T10" fmla="*/ 41 w 85"/>
                <a:gd name="T11" fmla="*/ 9 h 89"/>
                <a:gd name="T12" fmla="*/ 41 w 85"/>
                <a:gd name="T13" fmla="*/ 2 h 89"/>
                <a:gd name="T14" fmla="*/ 43 w 85"/>
                <a:gd name="T15" fmla="*/ 0 h 89"/>
                <a:gd name="T16" fmla="*/ 70 w 85"/>
                <a:gd name="T17" fmla="*/ 7 h 89"/>
                <a:gd name="T18" fmla="*/ 72 w 85"/>
                <a:gd name="T19" fmla="*/ 7 h 89"/>
                <a:gd name="T20" fmla="*/ 85 w 85"/>
                <a:gd name="T21" fmla="*/ 19 h 89"/>
                <a:gd name="T22" fmla="*/ 85 w 85"/>
                <a:gd name="T23" fmla="*/ 31 h 89"/>
                <a:gd name="T24" fmla="*/ 47 w 85"/>
                <a:gd name="T25" fmla="*/ 68 h 89"/>
                <a:gd name="T26" fmla="*/ 41 w 85"/>
                <a:gd name="T27" fmla="*/ 75 h 89"/>
                <a:gd name="T28" fmla="*/ 35 w 85"/>
                <a:gd name="T29" fmla="*/ 87 h 89"/>
                <a:gd name="T30" fmla="*/ 25 w 85"/>
                <a:gd name="T31" fmla="*/ 87 h 89"/>
                <a:gd name="T32" fmla="*/ 14 w 85"/>
                <a:gd name="T33" fmla="*/ 89 h 89"/>
                <a:gd name="T34" fmla="*/ 10 w 85"/>
                <a:gd name="T35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5" h="89">
                  <a:moveTo>
                    <a:pt x="10" y="85"/>
                  </a:moveTo>
                  <a:lnTo>
                    <a:pt x="10" y="79"/>
                  </a:lnTo>
                  <a:lnTo>
                    <a:pt x="0" y="73"/>
                  </a:lnTo>
                  <a:lnTo>
                    <a:pt x="31" y="38"/>
                  </a:lnTo>
                  <a:lnTo>
                    <a:pt x="31" y="23"/>
                  </a:lnTo>
                  <a:lnTo>
                    <a:pt x="41" y="9"/>
                  </a:lnTo>
                  <a:lnTo>
                    <a:pt x="41" y="2"/>
                  </a:lnTo>
                  <a:lnTo>
                    <a:pt x="43" y="0"/>
                  </a:lnTo>
                  <a:lnTo>
                    <a:pt x="70" y="7"/>
                  </a:lnTo>
                  <a:lnTo>
                    <a:pt x="72" y="7"/>
                  </a:lnTo>
                  <a:lnTo>
                    <a:pt x="85" y="19"/>
                  </a:lnTo>
                  <a:lnTo>
                    <a:pt x="85" y="31"/>
                  </a:lnTo>
                  <a:lnTo>
                    <a:pt x="47" y="68"/>
                  </a:lnTo>
                  <a:lnTo>
                    <a:pt x="41" y="75"/>
                  </a:lnTo>
                  <a:lnTo>
                    <a:pt x="35" y="87"/>
                  </a:lnTo>
                  <a:lnTo>
                    <a:pt x="25" y="87"/>
                  </a:lnTo>
                  <a:lnTo>
                    <a:pt x="14" y="89"/>
                  </a:lnTo>
                  <a:lnTo>
                    <a:pt x="10" y="8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" name="Freeform 77"/>
            <p:cNvSpPr>
              <a:spLocks/>
            </p:cNvSpPr>
            <p:nvPr/>
          </p:nvSpPr>
          <p:spPr bwMode="auto">
            <a:xfrm>
              <a:off x="1559" y="2884"/>
              <a:ext cx="319" cy="793"/>
            </a:xfrm>
            <a:custGeom>
              <a:avLst/>
              <a:gdLst>
                <a:gd name="T0" fmla="*/ 88 w 285"/>
                <a:gd name="T1" fmla="*/ 37 h 708"/>
                <a:gd name="T2" fmla="*/ 53 w 285"/>
                <a:gd name="T3" fmla="*/ 103 h 708"/>
                <a:gd name="T4" fmla="*/ 49 w 285"/>
                <a:gd name="T5" fmla="*/ 250 h 708"/>
                <a:gd name="T6" fmla="*/ 26 w 285"/>
                <a:gd name="T7" fmla="*/ 299 h 708"/>
                <a:gd name="T8" fmla="*/ 24 w 285"/>
                <a:gd name="T9" fmla="*/ 306 h 708"/>
                <a:gd name="T10" fmla="*/ 22 w 285"/>
                <a:gd name="T11" fmla="*/ 322 h 708"/>
                <a:gd name="T12" fmla="*/ 22 w 285"/>
                <a:gd name="T13" fmla="*/ 345 h 708"/>
                <a:gd name="T14" fmla="*/ 20 w 285"/>
                <a:gd name="T15" fmla="*/ 355 h 708"/>
                <a:gd name="T16" fmla="*/ 22 w 285"/>
                <a:gd name="T17" fmla="*/ 397 h 708"/>
                <a:gd name="T18" fmla="*/ 22 w 285"/>
                <a:gd name="T19" fmla="*/ 417 h 708"/>
                <a:gd name="T20" fmla="*/ 4 w 285"/>
                <a:gd name="T21" fmla="*/ 485 h 708"/>
                <a:gd name="T22" fmla="*/ 0 w 285"/>
                <a:gd name="T23" fmla="*/ 570 h 708"/>
                <a:gd name="T24" fmla="*/ 4 w 285"/>
                <a:gd name="T25" fmla="*/ 582 h 708"/>
                <a:gd name="T26" fmla="*/ 16 w 285"/>
                <a:gd name="T27" fmla="*/ 609 h 708"/>
                <a:gd name="T28" fmla="*/ 59 w 285"/>
                <a:gd name="T29" fmla="*/ 630 h 708"/>
                <a:gd name="T30" fmla="*/ 64 w 285"/>
                <a:gd name="T31" fmla="*/ 686 h 708"/>
                <a:gd name="T32" fmla="*/ 124 w 285"/>
                <a:gd name="T33" fmla="*/ 708 h 708"/>
                <a:gd name="T34" fmla="*/ 128 w 285"/>
                <a:gd name="T35" fmla="*/ 696 h 708"/>
                <a:gd name="T36" fmla="*/ 115 w 285"/>
                <a:gd name="T37" fmla="*/ 671 h 708"/>
                <a:gd name="T38" fmla="*/ 62 w 285"/>
                <a:gd name="T39" fmla="*/ 609 h 708"/>
                <a:gd name="T40" fmla="*/ 80 w 285"/>
                <a:gd name="T41" fmla="*/ 545 h 708"/>
                <a:gd name="T42" fmla="*/ 99 w 285"/>
                <a:gd name="T43" fmla="*/ 494 h 708"/>
                <a:gd name="T44" fmla="*/ 97 w 285"/>
                <a:gd name="T45" fmla="*/ 454 h 708"/>
                <a:gd name="T46" fmla="*/ 121 w 285"/>
                <a:gd name="T47" fmla="*/ 409 h 708"/>
                <a:gd name="T48" fmla="*/ 134 w 285"/>
                <a:gd name="T49" fmla="*/ 394 h 708"/>
                <a:gd name="T50" fmla="*/ 121 w 285"/>
                <a:gd name="T51" fmla="*/ 374 h 708"/>
                <a:gd name="T52" fmla="*/ 150 w 285"/>
                <a:gd name="T53" fmla="*/ 359 h 708"/>
                <a:gd name="T54" fmla="*/ 173 w 285"/>
                <a:gd name="T55" fmla="*/ 314 h 708"/>
                <a:gd name="T56" fmla="*/ 229 w 285"/>
                <a:gd name="T57" fmla="*/ 250 h 708"/>
                <a:gd name="T58" fmla="*/ 217 w 285"/>
                <a:gd name="T59" fmla="*/ 207 h 708"/>
                <a:gd name="T60" fmla="*/ 229 w 285"/>
                <a:gd name="T61" fmla="*/ 142 h 708"/>
                <a:gd name="T62" fmla="*/ 285 w 285"/>
                <a:gd name="T63" fmla="*/ 87 h 708"/>
                <a:gd name="T64" fmla="*/ 279 w 285"/>
                <a:gd name="T65" fmla="*/ 58 h 708"/>
                <a:gd name="T66" fmla="*/ 270 w 285"/>
                <a:gd name="T67" fmla="*/ 78 h 708"/>
                <a:gd name="T68" fmla="*/ 210 w 285"/>
                <a:gd name="T69" fmla="*/ 93 h 708"/>
                <a:gd name="T70" fmla="*/ 190 w 285"/>
                <a:gd name="T71" fmla="*/ 35 h 708"/>
                <a:gd name="T72" fmla="*/ 167 w 285"/>
                <a:gd name="T73" fmla="*/ 21 h 708"/>
                <a:gd name="T74" fmla="*/ 157 w 285"/>
                <a:gd name="T75" fmla="*/ 6 h 708"/>
                <a:gd name="T76" fmla="*/ 130 w 285"/>
                <a:gd name="T77" fmla="*/ 14 h 708"/>
                <a:gd name="T78" fmla="*/ 103 w 285"/>
                <a:gd name="T79" fmla="*/ 0 h 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5" h="708">
                  <a:moveTo>
                    <a:pt x="88" y="16"/>
                  </a:moveTo>
                  <a:lnTo>
                    <a:pt x="88" y="37"/>
                  </a:lnTo>
                  <a:lnTo>
                    <a:pt x="74" y="60"/>
                  </a:lnTo>
                  <a:lnTo>
                    <a:pt x="53" y="103"/>
                  </a:lnTo>
                  <a:lnTo>
                    <a:pt x="51" y="155"/>
                  </a:lnTo>
                  <a:lnTo>
                    <a:pt x="49" y="250"/>
                  </a:lnTo>
                  <a:lnTo>
                    <a:pt x="31" y="281"/>
                  </a:lnTo>
                  <a:lnTo>
                    <a:pt x="26" y="299"/>
                  </a:lnTo>
                  <a:lnTo>
                    <a:pt x="24" y="302"/>
                  </a:lnTo>
                  <a:lnTo>
                    <a:pt x="24" y="306"/>
                  </a:lnTo>
                  <a:lnTo>
                    <a:pt x="26" y="312"/>
                  </a:lnTo>
                  <a:lnTo>
                    <a:pt x="22" y="322"/>
                  </a:lnTo>
                  <a:lnTo>
                    <a:pt x="24" y="330"/>
                  </a:lnTo>
                  <a:lnTo>
                    <a:pt x="22" y="345"/>
                  </a:lnTo>
                  <a:lnTo>
                    <a:pt x="18" y="347"/>
                  </a:lnTo>
                  <a:lnTo>
                    <a:pt x="20" y="355"/>
                  </a:lnTo>
                  <a:lnTo>
                    <a:pt x="22" y="355"/>
                  </a:lnTo>
                  <a:lnTo>
                    <a:pt x="22" y="397"/>
                  </a:lnTo>
                  <a:lnTo>
                    <a:pt x="20" y="409"/>
                  </a:lnTo>
                  <a:lnTo>
                    <a:pt x="22" y="417"/>
                  </a:lnTo>
                  <a:lnTo>
                    <a:pt x="22" y="461"/>
                  </a:lnTo>
                  <a:lnTo>
                    <a:pt x="4" y="485"/>
                  </a:lnTo>
                  <a:lnTo>
                    <a:pt x="2" y="568"/>
                  </a:lnTo>
                  <a:lnTo>
                    <a:pt x="0" y="570"/>
                  </a:lnTo>
                  <a:lnTo>
                    <a:pt x="0" y="574"/>
                  </a:lnTo>
                  <a:lnTo>
                    <a:pt x="4" y="582"/>
                  </a:lnTo>
                  <a:lnTo>
                    <a:pt x="4" y="595"/>
                  </a:lnTo>
                  <a:lnTo>
                    <a:pt x="16" y="609"/>
                  </a:lnTo>
                  <a:lnTo>
                    <a:pt x="57" y="611"/>
                  </a:lnTo>
                  <a:lnTo>
                    <a:pt x="59" y="630"/>
                  </a:lnTo>
                  <a:lnTo>
                    <a:pt x="59" y="657"/>
                  </a:lnTo>
                  <a:lnTo>
                    <a:pt x="64" y="686"/>
                  </a:lnTo>
                  <a:lnTo>
                    <a:pt x="109" y="688"/>
                  </a:lnTo>
                  <a:lnTo>
                    <a:pt x="124" y="708"/>
                  </a:lnTo>
                  <a:lnTo>
                    <a:pt x="126" y="702"/>
                  </a:lnTo>
                  <a:lnTo>
                    <a:pt x="128" y="696"/>
                  </a:lnTo>
                  <a:lnTo>
                    <a:pt x="128" y="686"/>
                  </a:lnTo>
                  <a:lnTo>
                    <a:pt x="115" y="671"/>
                  </a:lnTo>
                  <a:lnTo>
                    <a:pt x="103" y="661"/>
                  </a:lnTo>
                  <a:lnTo>
                    <a:pt x="62" y="609"/>
                  </a:lnTo>
                  <a:lnTo>
                    <a:pt x="68" y="564"/>
                  </a:lnTo>
                  <a:lnTo>
                    <a:pt x="80" y="545"/>
                  </a:lnTo>
                  <a:lnTo>
                    <a:pt x="103" y="520"/>
                  </a:lnTo>
                  <a:lnTo>
                    <a:pt x="99" y="494"/>
                  </a:lnTo>
                  <a:lnTo>
                    <a:pt x="80" y="469"/>
                  </a:lnTo>
                  <a:lnTo>
                    <a:pt x="97" y="454"/>
                  </a:lnTo>
                  <a:lnTo>
                    <a:pt x="113" y="432"/>
                  </a:lnTo>
                  <a:lnTo>
                    <a:pt x="121" y="409"/>
                  </a:lnTo>
                  <a:lnTo>
                    <a:pt x="121" y="397"/>
                  </a:lnTo>
                  <a:lnTo>
                    <a:pt x="134" y="394"/>
                  </a:lnTo>
                  <a:lnTo>
                    <a:pt x="134" y="380"/>
                  </a:lnTo>
                  <a:lnTo>
                    <a:pt x="121" y="374"/>
                  </a:lnTo>
                  <a:lnTo>
                    <a:pt x="128" y="355"/>
                  </a:lnTo>
                  <a:lnTo>
                    <a:pt x="150" y="359"/>
                  </a:lnTo>
                  <a:lnTo>
                    <a:pt x="155" y="335"/>
                  </a:lnTo>
                  <a:lnTo>
                    <a:pt x="173" y="314"/>
                  </a:lnTo>
                  <a:lnTo>
                    <a:pt x="235" y="283"/>
                  </a:lnTo>
                  <a:lnTo>
                    <a:pt x="229" y="250"/>
                  </a:lnTo>
                  <a:lnTo>
                    <a:pt x="223" y="231"/>
                  </a:lnTo>
                  <a:lnTo>
                    <a:pt x="217" y="207"/>
                  </a:lnTo>
                  <a:lnTo>
                    <a:pt x="217" y="161"/>
                  </a:lnTo>
                  <a:lnTo>
                    <a:pt x="229" y="142"/>
                  </a:lnTo>
                  <a:lnTo>
                    <a:pt x="250" y="116"/>
                  </a:lnTo>
                  <a:lnTo>
                    <a:pt x="285" y="87"/>
                  </a:lnTo>
                  <a:lnTo>
                    <a:pt x="281" y="64"/>
                  </a:lnTo>
                  <a:lnTo>
                    <a:pt x="279" y="58"/>
                  </a:lnTo>
                  <a:lnTo>
                    <a:pt x="272" y="60"/>
                  </a:lnTo>
                  <a:lnTo>
                    <a:pt x="270" y="78"/>
                  </a:lnTo>
                  <a:lnTo>
                    <a:pt x="264" y="93"/>
                  </a:lnTo>
                  <a:lnTo>
                    <a:pt x="210" y="93"/>
                  </a:lnTo>
                  <a:lnTo>
                    <a:pt x="227" y="54"/>
                  </a:lnTo>
                  <a:lnTo>
                    <a:pt x="190" y="35"/>
                  </a:lnTo>
                  <a:lnTo>
                    <a:pt x="183" y="27"/>
                  </a:lnTo>
                  <a:lnTo>
                    <a:pt x="167" y="21"/>
                  </a:lnTo>
                  <a:lnTo>
                    <a:pt x="155" y="14"/>
                  </a:lnTo>
                  <a:lnTo>
                    <a:pt x="157" y="6"/>
                  </a:lnTo>
                  <a:lnTo>
                    <a:pt x="136" y="6"/>
                  </a:lnTo>
                  <a:lnTo>
                    <a:pt x="130" y="14"/>
                  </a:lnTo>
                  <a:lnTo>
                    <a:pt x="119" y="2"/>
                  </a:lnTo>
                  <a:lnTo>
                    <a:pt x="103" y="0"/>
                  </a:lnTo>
                  <a:lnTo>
                    <a:pt x="88" y="1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3" name="Freeform 78"/>
            <p:cNvSpPr>
              <a:spLocks/>
            </p:cNvSpPr>
            <p:nvPr/>
          </p:nvSpPr>
          <p:spPr bwMode="auto">
            <a:xfrm>
              <a:off x="1556" y="2408"/>
              <a:ext cx="640" cy="693"/>
            </a:xfrm>
            <a:custGeom>
              <a:avLst/>
              <a:gdLst>
                <a:gd name="T0" fmla="*/ 317 w 571"/>
                <a:gd name="T1" fmla="*/ 596 h 617"/>
                <a:gd name="T2" fmla="*/ 447 w 571"/>
                <a:gd name="T3" fmla="*/ 437 h 617"/>
                <a:gd name="T4" fmla="*/ 552 w 571"/>
                <a:gd name="T5" fmla="*/ 235 h 617"/>
                <a:gd name="T6" fmla="*/ 540 w 571"/>
                <a:gd name="T7" fmla="*/ 144 h 617"/>
                <a:gd name="T8" fmla="*/ 426 w 571"/>
                <a:gd name="T9" fmla="*/ 101 h 617"/>
                <a:gd name="T10" fmla="*/ 412 w 571"/>
                <a:gd name="T11" fmla="*/ 88 h 617"/>
                <a:gd name="T12" fmla="*/ 362 w 571"/>
                <a:gd name="T13" fmla="*/ 78 h 617"/>
                <a:gd name="T14" fmla="*/ 298 w 571"/>
                <a:gd name="T15" fmla="*/ 107 h 617"/>
                <a:gd name="T16" fmla="*/ 337 w 571"/>
                <a:gd name="T17" fmla="*/ 68 h 617"/>
                <a:gd name="T18" fmla="*/ 319 w 571"/>
                <a:gd name="T19" fmla="*/ 12 h 617"/>
                <a:gd name="T20" fmla="*/ 302 w 571"/>
                <a:gd name="T21" fmla="*/ 0 h 617"/>
                <a:gd name="T22" fmla="*/ 290 w 571"/>
                <a:gd name="T23" fmla="*/ 12 h 617"/>
                <a:gd name="T24" fmla="*/ 279 w 571"/>
                <a:gd name="T25" fmla="*/ 26 h 617"/>
                <a:gd name="T26" fmla="*/ 269 w 571"/>
                <a:gd name="T27" fmla="*/ 24 h 617"/>
                <a:gd name="T28" fmla="*/ 259 w 571"/>
                <a:gd name="T29" fmla="*/ 26 h 617"/>
                <a:gd name="T30" fmla="*/ 248 w 571"/>
                <a:gd name="T31" fmla="*/ 24 h 617"/>
                <a:gd name="T32" fmla="*/ 240 w 571"/>
                <a:gd name="T33" fmla="*/ 26 h 617"/>
                <a:gd name="T34" fmla="*/ 232 w 571"/>
                <a:gd name="T35" fmla="*/ 28 h 617"/>
                <a:gd name="T36" fmla="*/ 224 w 571"/>
                <a:gd name="T37" fmla="*/ 28 h 617"/>
                <a:gd name="T38" fmla="*/ 205 w 571"/>
                <a:gd name="T39" fmla="*/ 33 h 617"/>
                <a:gd name="T40" fmla="*/ 199 w 571"/>
                <a:gd name="T41" fmla="*/ 16 h 617"/>
                <a:gd name="T42" fmla="*/ 191 w 571"/>
                <a:gd name="T43" fmla="*/ 4 h 617"/>
                <a:gd name="T44" fmla="*/ 178 w 571"/>
                <a:gd name="T45" fmla="*/ 8 h 617"/>
                <a:gd name="T46" fmla="*/ 168 w 571"/>
                <a:gd name="T47" fmla="*/ 18 h 617"/>
                <a:gd name="T48" fmla="*/ 147 w 571"/>
                <a:gd name="T49" fmla="*/ 12 h 617"/>
                <a:gd name="T50" fmla="*/ 124 w 571"/>
                <a:gd name="T51" fmla="*/ 12 h 617"/>
                <a:gd name="T52" fmla="*/ 145 w 571"/>
                <a:gd name="T53" fmla="*/ 28 h 617"/>
                <a:gd name="T54" fmla="*/ 139 w 571"/>
                <a:gd name="T55" fmla="*/ 43 h 617"/>
                <a:gd name="T56" fmla="*/ 98 w 571"/>
                <a:gd name="T57" fmla="*/ 57 h 617"/>
                <a:gd name="T58" fmla="*/ 81 w 571"/>
                <a:gd name="T59" fmla="*/ 49 h 617"/>
                <a:gd name="T60" fmla="*/ 54 w 571"/>
                <a:gd name="T61" fmla="*/ 49 h 617"/>
                <a:gd name="T62" fmla="*/ 62 w 571"/>
                <a:gd name="T63" fmla="*/ 57 h 617"/>
                <a:gd name="T64" fmla="*/ 56 w 571"/>
                <a:gd name="T65" fmla="*/ 66 h 617"/>
                <a:gd name="T66" fmla="*/ 65 w 571"/>
                <a:gd name="T67" fmla="*/ 101 h 617"/>
                <a:gd name="T68" fmla="*/ 54 w 571"/>
                <a:gd name="T69" fmla="*/ 136 h 617"/>
                <a:gd name="T70" fmla="*/ 48 w 571"/>
                <a:gd name="T71" fmla="*/ 142 h 617"/>
                <a:gd name="T72" fmla="*/ 11 w 571"/>
                <a:gd name="T73" fmla="*/ 159 h 617"/>
                <a:gd name="T74" fmla="*/ 0 w 571"/>
                <a:gd name="T75" fmla="*/ 204 h 617"/>
                <a:gd name="T76" fmla="*/ 15 w 571"/>
                <a:gd name="T77" fmla="*/ 218 h 617"/>
                <a:gd name="T78" fmla="*/ 31 w 571"/>
                <a:gd name="T79" fmla="*/ 223 h 617"/>
                <a:gd name="T80" fmla="*/ 44 w 571"/>
                <a:gd name="T81" fmla="*/ 239 h 617"/>
                <a:gd name="T82" fmla="*/ 79 w 571"/>
                <a:gd name="T83" fmla="*/ 243 h 617"/>
                <a:gd name="T84" fmla="*/ 106 w 571"/>
                <a:gd name="T85" fmla="*/ 229 h 617"/>
                <a:gd name="T86" fmla="*/ 120 w 571"/>
                <a:gd name="T87" fmla="*/ 231 h 617"/>
                <a:gd name="T88" fmla="*/ 145 w 571"/>
                <a:gd name="T89" fmla="*/ 272 h 617"/>
                <a:gd name="T90" fmla="*/ 174 w 571"/>
                <a:gd name="T91" fmla="*/ 291 h 617"/>
                <a:gd name="T92" fmla="*/ 220 w 571"/>
                <a:gd name="T93" fmla="*/ 320 h 617"/>
                <a:gd name="T94" fmla="*/ 230 w 571"/>
                <a:gd name="T95" fmla="*/ 349 h 617"/>
                <a:gd name="T96" fmla="*/ 230 w 571"/>
                <a:gd name="T97" fmla="*/ 411 h 617"/>
                <a:gd name="T98" fmla="*/ 242 w 571"/>
                <a:gd name="T99" fmla="*/ 454 h 617"/>
                <a:gd name="T100" fmla="*/ 267 w 571"/>
                <a:gd name="T101" fmla="*/ 458 h 617"/>
                <a:gd name="T102" fmla="*/ 284 w 571"/>
                <a:gd name="T103" fmla="*/ 487 h 617"/>
                <a:gd name="T104" fmla="*/ 251 w 571"/>
                <a:gd name="T105" fmla="*/ 539 h 617"/>
                <a:gd name="T106" fmla="*/ 246 w 571"/>
                <a:gd name="T107" fmla="*/ 572 h 617"/>
                <a:gd name="T108" fmla="*/ 284 w 571"/>
                <a:gd name="T109" fmla="*/ 594 h 617"/>
                <a:gd name="T110" fmla="*/ 304 w 571"/>
                <a:gd name="T111" fmla="*/ 617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71" h="617">
                  <a:moveTo>
                    <a:pt x="310" y="605"/>
                  </a:moveTo>
                  <a:lnTo>
                    <a:pt x="317" y="596"/>
                  </a:lnTo>
                  <a:lnTo>
                    <a:pt x="362" y="495"/>
                  </a:lnTo>
                  <a:lnTo>
                    <a:pt x="447" y="437"/>
                  </a:lnTo>
                  <a:lnTo>
                    <a:pt x="509" y="307"/>
                  </a:lnTo>
                  <a:lnTo>
                    <a:pt x="552" y="235"/>
                  </a:lnTo>
                  <a:lnTo>
                    <a:pt x="571" y="185"/>
                  </a:lnTo>
                  <a:lnTo>
                    <a:pt x="540" y="144"/>
                  </a:lnTo>
                  <a:lnTo>
                    <a:pt x="482" y="119"/>
                  </a:lnTo>
                  <a:lnTo>
                    <a:pt x="426" y="101"/>
                  </a:lnTo>
                  <a:lnTo>
                    <a:pt x="408" y="107"/>
                  </a:lnTo>
                  <a:lnTo>
                    <a:pt x="412" y="88"/>
                  </a:lnTo>
                  <a:lnTo>
                    <a:pt x="393" y="84"/>
                  </a:lnTo>
                  <a:lnTo>
                    <a:pt x="362" y="78"/>
                  </a:lnTo>
                  <a:lnTo>
                    <a:pt x="329" y="93"/>
                  </a:lnTo>
                  <a:lnTo>
                    <a:pt x="298" y="107"/>
                  </a:lnTo>
                  <a:lnTo>
                    <a:pt x="317" y="90"/>
                  </a:lnTo>
                  <a:lnTo>
                    <a:pt x="337" y="68"/>
                  </a:lnTo>
                  <a:lnTo>
                    <a:pt x="346" y="49"/>
                  </a:lnTo>
                  <a:lnTo>
                    <a:pt x="319" y="12"/>
                  </a:lnTo>
                  <a:lnTo>
                    <a:pt x="304" y="0"/>
                  </a:lnTo>
                  <a:lnTo>
                    <a:pt x="302" y="0"/>
                  </a:lnTo>
                  <a:lnTo>
                    <a:pt x="296" y="6"/>
                  </a:lnTo>
                  <a:lnTo>
                    <a:pt x="290" y="12"/>
                  </a:lnTo>
                  <a:lnTo>
                    <a:pt x="284" y="24"/>
                  </a:lnTo>
                  <a:lnTo>
                    <a:pt x="279" y="26"/>
                  </a:lnTo>
                  <a:lnTo>
                    <a:pt x="275" y="26"/>
                  </a:lnTo>
                  <a:lnTo>
                    <a:pt x="269" y="24"/>
                  </a:lnTo>
                  <a:lnTo>
                    <a:pt x="265" y="24"/>
                  </a:lnTo>
                  <a:lnTo>
                    <a:pt x="259" y="26"/>
                  </a:lnTo>
                  <a:lnTo>
                    <a:pt x="255" y="26"/>
                  </a:lnTo>
                  <a:lnTo>
                    <a:pt x="248" y="24"/>
                  </a:lnTo>
                  <a:lnTo>
                    <a:pt x="246" y="24"/>
                  </a:lnTo>
                  <a:lnTo>
                    <a:pt x="240" y="26"/>
                  </a:lnTo>
                  <a:lnTo>
                    <a:pt x="234" y="26"/>
                  </a:lnTo>
                  <a:lnTo>
                    <a:pt x="232" y="28"/>
                  </a:lnTo>
                  <a:lnTo>
                    <a:pt x="236" y="31"/>
                  </a:lnTo>
                  <a:lnTo>
                    <a:pt x="224" y="28"/>
                  </a:lnTo>
                  <a:lnTo>
                    <a:pt x="209" y="33"/>
                  </a:lnTo>
                  <a:lnTo>
                    <a:pt x="205" y="33"/>
                  </a:lnTo>
                  <a:lnTo>
                    <a:pt x="199" y="35"/>
                  </a:lnTo>
                  <a:lnTo>
                    <a:pt x="199" y="16"/>
                  </a:lnTo>
                  <a:lnTo>
                    <a:pt x="195" y="4"/>
                  </a:lnTo>
                  <a:lnTo>
                    <a:pt x="191" y="4"/>
                  </a:lnTo>
                  <a:lnTo>
                    <a:pt x="184" y="6"/>
                  </a:lnTo>
                  <a:lnTo>
                    <a:pt x="178" y="8"/>
                  </a:lnTo>
                  <a:lnTo>
                    <a:pt x="168" y="12"/>
                  </a:lnTo>
                  <a:lnTo>
                    <a:pt x="168" y="18"/>
                  </a:lnTo>
                  <a:lnTo>
                    <a:pt x="151" y="18"/>
                  </a:lnTo>
                  <a:lnTo>
                    <a:pt x="147" y="12"/>
                  </a:lnTo>
                  <a:lnTo>
                    <a:pt x="124" y="6"/>
                  </a:lnTo>
                  <a:lnTo>
                    <a:pt x="124" y="12"/>
                  </a:lnTo>
                  <a:lnTo>
                    <a:pt x="133" y="22"/>
                  </a:lnTo>
                  <a:lnTo>
                    <a:pt x="145" y="28"/>
                  </a:lnTo>
                  <a:lnTo>
                    <a:pt x="145" y="37"/>
                  </a:lnTo>
                  <a:lnTo>
                    <a:pt x="139" y="43"/>
                  </a:lnTo>
                  <a:lnTo>
                    <a:pt x="118" y="64"/>
                  </a:lnTo>
                  <a:lnTo>
                    <a:pt x="98" y="57"/>
                  </a:lnTo>
                  <a:lnTo>
                    <a:pt x="83" y="55"/>
                  </a:lnTo>
                  <a:lnTo>
                    <a:pt x="81" y="49"/>
                  </a:lnTo>
                  <a:lnTo>
                    <a:pt x="79" y="45"/>
                  </a:lnTo>
                  <a:lnTo>
                    <a:pt x="54" y="49"/>
                  </a:lnTo>
                  <a:lnTo>
                    <a:pt x="56" y="57"/>
                  </a:lnTo>
                  <a:lnTo>
                    <a:pt x="62" y="57"/>
                  </a:lnTo>
                  <a:lnTo>
                    <a:pt x="67" y="68"/>
                  </a:lnTo>
                  <a:lnTo>
                    <a:pt x="56" y="66"/>
                  </a:lnTo>
                  <a:lnTo>
                    <a:pt x="56" y="76"/>
                  </a:lnTo>
                  <a:lnTo>
                    <a:pt x="65" y="101"/>
                  </a:lnTo>
                  <a:lnTo>
                    <a:pt x="65" y="105"/>
                  </a:lnTo>
                  <a:lnTo>
                    <a:pt x="54" y="136"/>
                  </a:lnTo>
                  <a:lnTo>
                    <a:pt x="54" y="142"/>
                  </a:lnTo>
                  <a:lnTo>
                    <a:pt x="48" y="142"/>
                  </a:lnTo>
                  <a:lnTo>
                    <a:pt x="38" y="142"/>
                  </a:lnTo>
                  <a:lnTo>
                    <a:pt x="11" y="159"/>
                  </a:lnTo>
                  <a:lnTo>
                    <a:pt x="7" y="173"/>
                  </a:lnTo>
                  <a:lnTo>
                    <a:pt x="0" y="204"/>
                  </a:lnTo>
                  <a:lnTo>
                    <a:pt x="3" y="216"/>
                  </a:lnTo>
                  <a:lnTo>
                    <a:pt x="15" y="218"/>
                  </a:lnTo>
                  <a:lnTo>
                    <a:pt x="21" y="221"/>
                  </a:lnTo>
                  <a:lnTo>
                    <a:pt x="31" y="223"/>
                  </a:lnTo>
                  <a:lnTo>
                    <a:pt x="44" y="212"/>
                  </a:lnTo>
                  <a:lnTo>
                    <a:pt x="44" y="239"/>
                  </a:lnTo>
                  <a:lnTo>
                    <a:pt x="52" y="245"/>
                  </a:lnTo>
                  <a:lnTo>
                    <a:pt x="79" y="243"/>
                  </a:lnTo>
                  <a:lnTo>
                    <a:pt x="91" y="235"/>
                  </a:lnTo>
                  <a:lnTo>
                    <a:pt x="106" y="229"/>
                  </a:lnTo>
                  <a:lnTo>
                    <a:pt x="114" y="225"/>
                  </a:lnTo>
                  <a:lnTo>
                    <a:pt x="120" y="231"/>
                  </a:lnTo>
                  <a:lnTo>
                    <a:pt x="133" y="268"/>
                  </a:lnTo>
                  <a:lnTo>
                    <a:pt x="145" y="272"/>
                  </a:lnTo>
                  <a:lnTo>
                    <a:pt x="158" y="272"/>
                  </a:lnTo>
                  <a:lnTo>
                    <a:pt x="174" y="291"/>
                  </a:lnTo>
                  <a:lnTo>
                    <a:pt x="195" y="318"/>
                  </a:lnTo>
                  <a:lnTo>
                    <a:pt x="220" y="320"/>
                  </a:lnTo>
                  <a:lnTo>
                    <a:pt x="222" y="336"/>
                  </a:lnTo>
                  <a:lnTo>
                    <a:pt x="230" y="349"/>
                  </a:lnTo>
                  <a:lnTo>
                    <a:pt x="226" y="398"/>
                  </a:lnTo>
                  <a:lnTo>
                    <a:pt x="230" y="411"/>
                  </a:lnTo>
                  <a:lnTo>
                    <a:pt x="234" y="450"/>
                  </a:lnTo>
                  <a:lnTo>
                    <a:pt x="242" y="454"/>
                  </a:lnTo>
                  <a:lnTo>
                    <a:pt x="255" y="456"/>
                  </a:lnTo>
                  <a:lnTo>
                    <a:pt x="267" y="458"/>
                  </a:lnTo>
                  <a:lnTo>
                    <a:pt x="275" y="483"/>
                  </a:lnTo>
                  <a:lnTo>
                    <a:pt x="284" y="487"/>
                  </a:lnTo>
                  <a:lnTo>
                    <a:pt x="286" y="510"/>
                  </a:lnTo>
                  <a:lnTo>
                    <a:pt x="251" y="539"/>
                  </a:lnTo>
                  <a:lnTo>
                    <a:pt x="232" y="565"/>
                  </a:lnTo>
                  <a:lnTo>
                    <a:pt x="246" y="572"/>
                  </a:lnTo>
                  <a:lnTo>
                    <a:pt x="257" y="582"/>
                  </a:lnTo>
                  <a:lnTo>
                    <a:pt x="284" y="594"/>
                  </a:lnTo>
                  <a:lnTo>
                    <a:pt x="298" y="611"/>
                  </a:lnTo>
                  <a:lnTo>
                    <a:pt x="304" y="617"/>
                  </a:lnTo>
                  <a:lnTo>
                    <a:pt x="310" y="60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4" name="Freeform 79"/>
            <p:cNvSpPr>
              <a:spLocks/>
            </p:cNvSpPr>
            <p:nvPr/>
          </p:nvSpPr>
          <p:spPr bwMode="auto">
            <a:xfrm>
              <a:off x="1519" y="2774"/>
              <a:ext cx="179" cy="913"/>
            </a:xfrm>
            <a:custGeom>
              <a:avLst/>
              <a:gdLst>
                <a:gd name="T0" fmla="*/ 153 w 160"/>
                <a:gd name="T1" fmla="*/ 810 h 814"/>
                <a:gd name="T2" fmla="*/ 139 w 160"/>
                <a:gd name="T3" fmla="*/ 799 h 814"/>
                <a:gd name="T4" fmla="*/ 118 w 160"/>
                <a:gd name="T5" fmla="*/ 807 h 814"/>
                <a:gd name="T6" fmla="*/ 108 w 160"/>
                <a:gd name="T7" fmla="*/ 805 h 814"/>
                <a:gd name="T8" fmla="*/ 108 w 160"/>
                <a:gd name="T9" fmla="*/ 789 h 814"/>
                <a:gd name="T10" fmla="*/ 98 w 160"/>
                <a:gd name="T11" fmla="*/ 805 h 814"/>
                <a:gd name="T12" fmla="*/ 73 w 160"/>
                <a:gd name="T13" fmla="*/ 785 h 814"/>
                <a:gd name="T14" fmla="*/ 56 w 160"/>
                <a:gd name="T15" fmla="*/ 772 h 814"/>
                <a:gd name="T16" fmla="*/ 75 w 160"/>
                <a:gd name="T17" fmla="*/ 746 h 814"/>
                <a:gd name="T18" fmla="*/ 33 w 160"/>
                <a:gd name="T19" fmla="*/ 739 h 814"/>
                <a:gd name="T20" fmla="*/ 7 w 160"/>
                <a:gd name="T21" fmla="*/ 576 h 814"/>
                <a:gd name="T22" fmla="*/ 29 w 160"/>
                <a:gd name="T23" fmla="*/ 522 h 814"/>
                <a:gd name="T24" fmla="*/ 15 w 160"/>
                <a:gd name="T25" fmla="*/ 467 h 814"/>
                <a:gd name="T26" fmla="*/ 36 w 160"/>
                <a:gd name="T27" fmla="*/ 427 h 814"/>
                <a:gd name="T28" fmla="*/ 31 w 160"/>
                <a:gd name="T29" fmla="*/ 419 h 814"/>
                <a:gd name="T30" fmla="*/ 48 w 160"/>
                <a:gd name="T31" fmla="*/ 413 h 814"/>
                <a:gd name="T32" fmla="*/ 50 w 160"/>
                <a:gd name="T33" fmla="*/ 384 h 814"/>
                <a:gd name="T34" fmla="*/ 56 w 160"/>
                <a:gd name="T35" fmla="*/ 357 h 814"/>
                <a:gd name="T36" fmla="*/ 44 w 160"/>
                <a:gd name="T37" fmla="*/ 370 h 814"/>
                <a:gd name="T38" fmla="*/ 29 w 160"/>
                <a:gd name="T39" fmla="*/ 409 h 814"/>
                <a:gd name="T40" fmla="*/ 50 w 160"/>
                <a:gd name="T41" fmla="*/ 258 h 814"/>
                <a:gd name="T42" fmla="*/ 69 w 160"/>
                <a:gd name="T43" fmla="*/ 175 h 814"/>
                <a:gd name="T44" fmla="*/ 73 w 160"/>
                <a:gd name="T45" fmla="*/ 126 h 814"/>
                <a:gd name="T46" fmla="*/ 71 w 160"/>
                <a:gd name="T47" fmla="*/ 39 h 814"/>
                <a:gd name="T48" fmla="*/ 46 w 160"/>
                <a:gd name="T49" fmla="*/ 10 h 814"/>
                <a:gd name="T50" fmla="*/ 95 w 160"/>
                <a:gd name="T51" fmla="*/ 37 h 814"/>
                <a:gd name="T52" fmla="*/ 108 w 160"/>
                <a:gd name="T53" fmla="*/ 64 h 814"/>
                <a:gd name="T54" fmla="*/ 124 w 160"/>
                <a:gd name="T55" fmla="*/ 113 h 814"/>
                <a:gd name="T56" fmla="*/ 110 w 160"/>
                <a:gd name="T57" fmla="*/ 157 h 814"/>
                <a:gd name="T58" fmla="*/ 87 w 160"/>
                <a:gd name="T59" fmla="*/ 252 h 814"/>
                <a:gd name="T60" fmla="*/ 67 w 160"/>
                <a:gd name="T61" fmla="*/ 378 h 814"/>
                <a:gd name="T62" fmla="*/ 60 w 160"/>
                <a:gd name="T63" fmla="*/ 399 h 814"/>
                <a:gd name="T64" fmla="*/ 62 w 160"/>
                <a:gd name="T65" fmla="*/ 409 h 814"/>
                <a:gd name="T66" fmla="*/ 60 w 160"/>
                <a:gd name="T67" fmla="*/ 427 h 814"/>
                <a:gd name="T68" fmla="*/ 54 w 160"/>
                <a:gd name="T69" fmla="*/ 444 h 814"/>
                <a:gd name="T70" fmla="*/ 58 w 160"/>
                <a:gd name="T71" fmla="*/ 452 h 814"/>
                <a:gd name="T72" fmla="*/ 56 w 160"/>
                <a:gd name="T73" fmla="*/ 506 h 814"/>
                <a:gd name="T74" fmla="*/ 58 w 160"/>
                <a:gd name="T75" fmla="*/ 558 h 814"/>
                <a:gd name="T76" fmla="*/ 38 w 160"/>
                <a:gd name="T77" fmla="*/ 665 h 814"/>
                <a:gd name="T78" fmla="*/ 36 w 160"/>
                <a:gd name="T79" fmla="*/ 671 h 814"/>
                <a:gd name="T80" fmla="*/ 40 w 160"/>
                <a:gd name="T81" fmla="*/ 692 h 814"/>
                <a:gd name="T82" fmla="*/ 93 w 160"/>
                <a:gd name="T83" fmla="*/ 708 h 814"/>
                <a:gd name="T84" fmla="*/ 95 w 160"/>
                <a:gd name="T85" fmla="*/ 754 h 814"/>
                <a:gd name="T86" fmla="*/ 145 w 160"/>
                <a:gd name="T87" fmla="*/ 785 h 8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0" h="814">
                  <a:moveTo>
                    <a:pt x="160" y="805"/>
                  </a:moveTo>
                  <a:lnTo>
                    <a:pt x="153" y="810"/>
                  </a:lnTo>
                  <a:lnTo>
                    <a:pt x="145" y="805"/>
                  </a:lnTo>
                  <a:lnTo>
                    <a:pt x="139" y="799"/>
                  </a:lnTo>
                  <a:lnTo>
                    <a:pt x="129" y="801"/>
                  </a:lnTo>
                  <a:lnTo>
                    <a:pt x="118" y="807"/>
                  </a:lnTo>
                  <a:lnTo>
                    <a:pt x="112" y="814"/>
                  </a:lnTo>
                  <a:lnTo>
                    <a:pt x="108" y="805"/>
                  </a:lnTo>
                  <a:lnTo>
                    <a:pt x="110" y="795"/>
                  </a:lnTo>
                  <a:lnTo>
                    <a:pt x="108" y="789"/>
                  </a:lnTo>
                  <a:lnTo>
                    <a:pt x="98" y="793"/>
                  </a:lnTo>
                  <a:lnTo>
                    <a:pt x="98" y="805"/>
                  </a:lnTo>
                  <a:lnTo>
                    <a:pt x="79" y="805"/>
                  </a:lnTo>
                  <a:lnTo>
                    <a:pt x="73" y="785"/>
                  </a:lnTo>
                  <a:lnTo>
                    <a:pt x="56" y="787"/>
                  </a:lnTo>
                  <a:lnTo>
                    <a:pt x="56" y="772"/>
                  </a:lnTo>
                  <a:lnTo>
                    <a:pt x="69" y="768"/>
                  </a:lnTo>
                  <a:lnTo>
                    <a:pt x="75" y="746"/>
                  </a:lnTo>
                  <a:lnTo>
                    <a:pt x="58" y="729"/>
                  </a:lnTo>
                  <a:lnTo>
                    <a:pt x="33" y="739"/>
                  </a:lnTo>
                  <a:lnTo>
                    <a:pt x="0" y="704"/>
                  </a:lnTo>
                  <a:lnTo>
                    <a:pt x="7" y="576"/>
                  </a:lnTo>
                  <a:lnTo>
                    <a:pt x="25" y="549"/>
                  </a:lnTo>
                  <a:lnTo>
                    <a:pt x="29" y="522"/>
                  </a:lnTo>
                  <a:lnTo>
                    <a:pt x="29" y="487"/>
                  </a:lnTo>
                  <a:lnTo>
                    <a:pt x="15" y="467"/>
                  </a:lnTo>
                  <a:lnTo>
                    <a:pt x="33" y="446"/>
                  </a:lnTo>
                  <a:lnTo>
                    <a:pt x="36" y="427"/>
                  </a:lnTo>
                  <a:lnTo>
                    <a:pt x="27" y="427"/>
                  </a:lnTo>
                  <a:lnTo>
                    <a:pt x="31" y="419"/>
                  </a:lnTo>
                  <a:lnTo>
                    <a:pt x="38" y="419"/>
                  </a:lnTo>
                  <a:lnTo>
                    <a:pt x="48" y="413"/>
                  </a:lnTo>
                  <a:lnTo>
                    <a:pt x="50" y="396"/>
                  </a:lnTo>
                  <a:lnTo>
                    <a:pt x="50" y="384"/>
                  </a:lnTo>
                  <a:lnTo>
                    <a:pt x="52" y="374"/>
                  </a:lnTo>
                  <a:lnTo>
                    <a:pt x="56" y="357"/>
                  </a:lnTo>
                  <a:lnTo>
                    <a:pt x="48" y="361"/>
                  </a:lnTo>
                  <a:lnTo>
                    <a:pt x="44" y="370"/>
                  </a:lnTo>
                  <a:lnTo>
                    <a:pt x="38" y="396"/>
                  </a:lnTo>
                  <a:lnTo>
                    <a:pt x="29" y="409"/>
                  </a:lnTo>
                  <a:lnTo>
                    <a:pt x="27" y="378"/>
                  </a:lnTo>
                  <a:lnTo>
                    <a:pt x="50" y="258"/>
                  </a:lnTo>
                  <a:lnTo>
                    <a:pt x="69" y="200"/>
                  </a:lnTo>
                  <a:lnTo>
                    <a:pt x="69" y="175"/>
                  </a:lnTo>
                  <a:lnTo>
                    <a:pt x="73" y="153"/>
                  </a:lnTo>
                  <a:lnTo>
                    <a:pt x="73" y="126"/>
                  </a:lnTo>
                  <a:lnTo>
                    <a:pt x="75" y="103"/>
                  </a:lnTo>
                  <a:lnTo>
                    <a:pt x="71" y="39"/>
                  </a:lnTo>
                  <a:lnTo>
                    <a:pt x="50" y="12"/>
                  </a:lnTo>
                  <a:lnTo>
                    <a:pt x="46" y="10"/>
                  </a:lnTo>
                  <a:lnTo>
                    <a:pt x="75" y="0"/>
                  </a:lnTo>
                  <a:lnTo>
                    <a:pt x="95" y="37"/>
                  </a:lnTo>
                  <a:lnTo>
                    <a:pt x="104" y="49"/>
                  </a:lnTo>
                  <a:lnTo>
                    <a:pt x="108" y="64"/>
                  </a:lnTo>
                  <a:lnTo>
                    <a:pt x="116" y="113"/>
                  </a:lnTo>
                  <a:lnTo>
                    <a:pt x="124" y="113"/>
                  </a:lnTo>
                  <a:lnTo>
                    <a:pt x="124" y="134"/>
                  </a:lnTo>
                  <a:lnTo>
                    <a:pt x="110" y="157"/>
                  </a:lnTo>
                  <a:lnTo>
                    <a:pt x="89" y="200"/>
                  </a:lnTo>
                  <a:lnTo>
                    <a:pt x="87" y="252"/>
                  </a:lnTo>
                  <a:lnTo>
                    <a:pt x="85" y="347"/>
                  </a:lnTo>
                  <a:lnTo>
                    <a:pt x="67" y="378"/>
                  </a:lnTo>
                  <a:lnTo>
                    <a:pt x="62" y="396"/>
                  </a:lnTo>
                  <a:lnTo>
                    <a:pt x="60" y="399"/>
                  </a:lnTo>
                  <a:lnTo>
                    <a:pt x="60" y="403"/>
                  </a:lnTo>
                  <a:lnTo>
                    <a:pt x="62" y="409"/>
                  </a:lnTo>
                  <a:lnTo>
                    <a:pt x="58" y="419"/>
                  </a:lnTo>
                  <a:lnTo>
                    <a:pt x="60" y="427"/>
                  </a:lnTo>
                  <a:lnTo>
                    <a:pt x="58" y="442"/>
                  </a:lnTo>
                  <a:lnTo>
                    <a:pt x="54" y="444"/>
                  </a:lnTo>
                  <a:lnTo>
                    <a:pt x="56" y="452"/>
                  </a:lnTo>
                  <a:lnTo>
                    <a:pt x="58" y="452"/>
                  </a:lnTo>
                  <a:lnTo>
                    <a:pt x="58" y="494"/>
                  </a:lnTo>
                  <a:lnTo>
                    <a:pt x="56" y="506"/>
                  </a:lnTo>
                  <a:lnTo>
                    <a:pt x="58" y="514"/>
                  </a:lnTo>
                  <a:lnTo>
                    <a:pt x="58" y="558"/>
                  </a:lnTo>
                  <a:lnTo>
                    <a:pt x="40" y="582"/>
                  </a:lnTo>
                  <a:lnTo>
                    <a:pt x="38" y="665"/>
                  </a:lnTo>
                  <a:lnTo>
                    <a:pt x="36" y="667"/>
                  </a:lnTo>
                  <a:lnTo>
                    <a:pt x="36" y="671"/>
                  </a:lnTo>
                  <a:lnTo>
                    <a:pt x="40" y="679"/>
                  </a:lnTo>
                  <a:lnTo>
                    <a:pt x="40" y="692"/>
                  </a:lnTo>
                  <a:lnTo>
                    <a:pt x="52" y="706"/>
                  </a:lnTo>
                  <a:lnTo>
                    <a:pt x="93" y="708"/>
                  </a:lnTo>
                  <a:lnTo>
                    <a:pt x="95" y="727"/>
                  </a:lnTo>
                  <a:lnTo>
                    <a:pt x="95" y="754"/>
                  </a:lnTo>
                  <a:lnTo>
                    <a:pt x="100" y="783"/>
                  </a:lnTo>
                  <a:lnTo>
                    <a:pt x="145" y="785"/>
                  </a:lnTo>
                  <a:lnTo>
                    <a:pt x="160" y="80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5" name="Freeform 80"/>
            <p:cNvSpPr>
              <a:spLocks/>
            </p:cNvSpPr>
            <p:nvPr/>
          </p:nvSpPr>
          <p:spPr bwMode="auto">
            <a:xfrm>
              <a:off x="1733" y="2839"/>
              <a:ext cx="131" cy="148"/>
            </a:xfrm>
            <a:custGeom>
              <a:avLst/>
              <a:gdLst>
                <a:gd name="T0" fmla="*/ 117 w 117"/>
                <a:gd name="T1" fmla="*/ 99 h 132"/>
                <a:gd name="T2" fmla="*/ 109 w 117"/>
                <a:gd name="T3" fmla="*/ 74 h 132"/>
                <a:gd name="T4" fmla="*/ 97 w 117"/>
                <a:gd name="T5" fmla="*/ 72 h 132"/>
                <a:gd name="T6" fmla="*/ 84 w 117"/>
                <a:gd name="T7" fmla="*/ 70 h 132"/>
                <a:gd name="T8" fmla="*/ 78 w 117"/>
                <a:gd name="T9" fmla="*/ 64 h 132"/>
                <a:gd name="T10" fmla="*/ 74 w 117"/>
                <a:gd name="T11" fmla="*/ 27 h 132"/>
                <a:gd name="T12" fmla="*/ 74 w 117"/>
                <a:gd name="T13" fmla="*/ 16 h 132"/>
                <a:gd name="T14" fmla="*/ 31 w 117"/>
                <a:gd name="T15" fmla="*/ 0 h 132"/>
                <a:gd name="T16" fmla="*/ 4 w 117"/>
                <a:gd name="T17" fmla="*/ 33 h 132"/>
                <a:gd name="T18" fmla="*/ 2 w 117"/>
                <a:gd name="T19" fmla="*/ 45 h 132"/>
                <a:gd name="T20" fmla="*/ 0 w 117"/>
                <a:gd name="T21" fmla="*/ 53 h 132"/>
                <a:gd name="T22" fmla="*/ 12 w 117"/>
                <a:gd name="T23" fmla="*/ 60 h 132"/>
                <a:gd name="T24" fmla="*/ 28 w 117"/>
                <a:gd name="T25" fmla="*/ 66 h 132"/>
                <a:gd name="T26" fmla="*/ 35 w 117"/>
                <a:gd name="T27" fmla="*/ 74 h 132"/>
                <a:gd name="T28" fmla="*/ 72 w 117"/>
                <a:gd name="T29" fmla="*/ 93 h 132"/>
                <a:gd name="T30" fmla="*/ 55 w 117"/>
                <a:gd name="T31" fmla="*/ 132 h 132"/>
                <a:gd name="T32" fmla="*/ 109 w 117"/>
                <a:gd name="T33" fmla="*/ 132 h 132"/>
                <a:gd name="T34" fmla="*/ 115 w 117"/>
                <a:gd name="T35" fmla="*/ 117 h 132"/>
                <a:gd name="T36" fmla="*/ 117 w 117"/>
                <a:gd name="T37" fmla="*/ 9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7" h="132">
                  <a:moveTo>
                    <a:pt x="117" y="99"/>
                  </a:moveTo>
                  <a:lnTo>
                    <a:pt x="109" y="74"/>
                  </a:lnTo>
                  <a:lnTo>
                    <a:pt x="97" y="72"/>
                  </a:lnTo>
                  <a:lnTo>
                    <a:pt x="84" y="70"/>
                  </a:lnTo>
                  <a:lnTo>
                    <a:pt x="78" y="64"/>
                  </a:lnTo>
                  <a:lnTo>
                    <a:pt x="74" y="27"/>
                  </a:lnTo>
                  <a:lnTo>
                    <a:pt x="74" y="16"/>
                  </a:lnTo>
                  <a:lnTo>
                    <a:pt x="31" y="0"/>
                  </a:lnTo>
                  <a:lnTo>
                    <a:pt x="4" y="33"/>
                  </a:lnTo>
                  <a:lnTo>
                    <a:pt x="2" y="45"/>
                  </a:lnTo>
                  <a:lnTo>
                    <a:pt x="0" y="53"/>
                  </a:lnTo>
                  <a:lnTo>
                    <a:pt x="12" y="60"/>
                  </a:lnTo>
                  <a:lnTo>
                    <a:pt x="28" y="66"/>
                  </a:lnTo>
                  <a:lnTo>
                    <a:pt x="35" y="74"/>
                  </a:lnTo>
                  <a:lnTo>
                    <a:pt x="72" y="93"/>
                  </a:lnTo>
                  <a:lnTo>
                    <a:pt x="55" y="132"/>
                  </a:lnTo>
                  <a:lnTo>
                    <a:pt x="109" y="132"/>
                  </a:lnTo>
                  <a:lnTo>
                    <a:pt x="115" y="117"/>
                  </a:lnTo>
                  <a:lnTo>
                    <a:pt x="117" y="9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6" name="Freeform 81"/>
            <p:cNvSpPr>
              <a:spLocks/>
            </p:cNvSpPr>
            <p:nvPr/>
          </p:nvSpPr>
          <p:spPr bwMode="auto">
            <a:xfrm>
              <a:off x="1342" y="2260"/>
              <a:ext cx="63" cy="84"/>
            </a:xfrm>
            <a:custGeom>
              <a:avLst/>
              <a:gdLst>
                <a:gd name="T0" fmla="*/ 56 w 56"/>
                <a:gd name="T1" fmla="*/ 75 h 75"/>
                <a:gd name="T2" fmla="*/ 50 w 56"/>
                <a:gd name="T3" fmla="*/ 66 h 75"/>
                <a:gd name="T4" fmla="*/ 48 w 56"/>
                <a:gd name="T5" fmla="*/ 50 h 75"/>
                <a:gd name="T6" fmla="*/ 52 w 56"/>
                <a:gd name="T7" fmla="*/ 40 h 75"/>
                <a:gd name="T8" fmla="*/ 56 w 56"/>
                <a:gd name="T9" fmla="*/ 11 h 75"/>
                <a:gd name="T10" fmla="*/ 56 w 56"/>
                <a:gd name="T11" fmla="*/ 5 h 75"/>
                <a:gd name="T12" fmla="*/ 56 w 56"/>
                <a:gd name="T13" fmla="*/ 0 h 75"/>
                <a:gd name="T14" fmla="*/ 48 w 56"/>
                <a:gd name="T15" fmla="*/ 0 h 75"/>
                <a:gd name="T16" fmla="*/ 40 w 56"/>
                <a:gd name="T17" fmla="*/ 2 h 75"/>
                <a:gd name="T18" fmla="*/ 31 w 56"/>
                <a:gd name="T19" fmla="*/ 11 h 75"/>
                <a:gd name="T20" fmla="*/ 21 w 56"/>
                <a:gd name="T21" fmla="*/ 25 h 75"/>
                <a:gd name="T22" fmla="*/ 15 w 56"/>
                <a:gd name="T23" fmla="*/ 31 h 75"/>
                <a:gd name="T24" fmla="*/ 9 w 56"/>
                <a:gd name="T25" fmla="*/ 40 h 75"/>
                <a:gd name="T26" fmla="*/ 7 w 56"/>
                <a:gd name="T27" fmla="*/ 42 h 75"/>
                <a:gd name="T28" fmla="*/ 5 w 56"/>
                <a:gd name="T29" fmla="*/ 44 h 75"/>
                <a:gd name="T30" fmla="*/ 7 w 56"/>
                <a:gd name="T31" fmla="*/ 44 h 75"/>
                <a:gd name="T32" fmla="*/ 2 w 56"/>
                <a:gd name="T33" fmla="*/ 48 h 75"/>
                <a:gd name="T34" fmla="*/ 0 w 56"/>
                <a:gd name="T35" fmla="*/ 50 h 75"/>
                <a:gd name="T36" fmla="*/ 9 w 56"/>
                <a:gd name="T37" fmla="*/ 56 h 75"/>
                <a:gd name="T38" fmla="*/ 15 w 56"/>
                <a:gd name="T39" fmla="*/ 71 h 75"/>
                <a:gd name="T40" fmla="*/ 27 w 56"/>
                <a:gd name="T41" fmla="*/ 71 h 75"/>
                <a:gd name="T42" fmla="*/ 42 w 56"/>
                <a:gd name="T43" fmla="*/ 71 h 75"/>
                <a:gd name="T44" fmla="*/ 52 w 56"/>
                <a:gd name="T45" fmla="*/ 75 h 75"/>
                <a:gd name="T46" fmla="*/ 56 w 56"/>
                <a:gd name="T47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6" h="75">
                  <a:moveTo>
                    <a:pt x="56" y="75"/>
                  </a:moveTo>
                  <a:lnTo>
                    <a:pt x="50" y="66"/>
                  </a:lnTo>
                  <a:lnTo>
                    <a:pt x="48" y="50"/>
                  </a:lnTo>
                  <a:lnTo>
                    <a:pt x="52" y="40"/>
                  </a:lnTo>
                  <a:lnTo>
                    <a:pt x="56" y="11"/>
                  </a:lnTo>
                  <a:lnTo>
                    <a:pt x="56" y="5"/>
                  </a:lnTo>
                  <a:lnTo>
                    <a:pt x="56" y="0"/>
                  </a:lnTo>
                  <a:lnTo>
                    <a:pt x="48" y="0"/>
                  </a:lnTo>
                  <a:lnTo>
                    <a:pt x="40" y="2"/>
                  </a:lnTo>
                  <a:lnTo>
                    <a:pt x="31" y="11"/>
                  </a:lnTo>
                  <a:lnTo>
                    <a:pt x="21" y="25"/>
                  </a:lnTo>
                  <a:lnTo>
                    <a:pt x="15" y="31"/>
                  </a:lnTo>
                  <a:lnTo>
                    <a:pt x="9" y="40"/>
                  </a:lnTo>
                  <a:lnTo>
                    <a:pt x="7" y="42"/>
                  </a:lnTo>
                  <a:lnTo>
                    <a:pt x="5" y="44"/>
                  </a:lnTo>
                  <a:lnTo>
                    <a:pt x="7" y="44"/>
                  </a:lnTo>
                  <a:lnTo>
                    <a:pt x="2" y="48"/>
                  </a:lnTo>
                  <a:lnTo>
                    <a:pt x="0" y="50"/>
                  </a:lnTo>
                  <a:lnTo>
                    <a:pt x="9" y="56"/>
                  </a:lnTo>
                  <a:lnTo>
                    <a:pt x="15" y="71"/>
                  </a:lnTo>
                  <a:lnTo>
                    <a:pt x="27" y="71"/>
                  </a:lnTo>
                  <a:lnTo>
                    <a:pt x="42" y="71"/>
                  </a:lnTo>
                  <a:lnTo>
                    <a:pt x="52" y="75"/>
                  </a:lnTo>
                  <a:lnTo>
                    <a:pt x="56" y="7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7" name="Freeform 82"/>
            <p:cNvSpPr>
              <a:spLocks/>
            </p:cNvSpPr>
            <p:nvPr/>
          </p:nvSpPr>
          <p:spPr bwMode="auto">
            <a:xfrm>
              <a:off x="1271" y="2202"/>
              <a:ext cx="69" cy="90"/>
            </a:xfrm>
            <a:custGeom>
              <a:avLst/>
              <a:gdLst>
                <a:gd name="T0" fmla="*/ 62 w 62"/>
                <a:gd name="T1" fmla="*/ 43 h 80"/>
                <a:gd name="T2" fmla="*/ 50 w 62"/>
                <a:gd name="T3" fmla="*/ 56 h 80"/>
                <a:gd name="T4" fmla="*/ 42 w 62"/>
                <a:gd name="T5" fmla="*/ 62 h 80"/>
                <a:gd name="T6" fmla="*/ 33 w 62"/>
                <a:gd name="T7" fmla="*/ 66 h 80"/>
                <a:gd name="T8" fmla="*/ 25 w 62"/>
                <a:gd name="T9" fmla="*/ 74 h 80"/>
                <a:gd name="T10" fmla="*/ 17 w 62"/>
                <a:gd name="T11" fmla="*/ 80 h 80"/>
                <a:gd name="T12" fmla="*/ 2 w 62"/>
                <a:gd name="T13" fmla="*/ 66 h 80"/>
                <a:gd name="T14" fmla="*/ 0 w 62"/>
                <a:gd name="T15" fmla="*/ 60 h 80"/>
                <a:gd name="T16" fmla="*/ 7 w 62"/>
                <a:gd name="T17" fmla="*/ 45 h 80"/>
                <a:gd name="T18" fmla="*/ 7 w 62"/>
                <a:gd name="T19" fmla="*/ 37 h 80"/>
                <a:gd name="T20" fmla="*/ 9 w 62"/>
                <a:gd name="T21" fmla="*/ 31 h 80"/>
                <a:gd name="T22" fmla="*/ 33 w 62"/>
                <a:gd name="T23" fmla="*/ 29 h 80"/>
                <a:gd name="T24" fmla="*/ 33 w 62"/>
                <a:gd name="T25" fmla="*/ 20 h 80"/>
                <a:gd name="T26" fmla="*/ 23 w 62"/>
                <a:gd name="T27" fmla="*/ 8 h 80"/>
                <a:gd name="T28" fmla="*/ 25 w 62"/>
                <a:gd name="T29" fmla="*/ 8 h 80"/>
                <a:gd name="T30" fmla="*/ 25 w 62"/>
                <a:gd name="T31" fmla="*/ 0 h 80"/>
                <a:gd name="T32" fmla="*/ 50 w 62"/>
                <a:gd name="T33" fmla="*/ 0 h 80"/>
                <a:gd name="T34" fmla="*/ 50 w 62"/>
                <a:gd name="T35" fmla="*/ 2 h 80"/>
                <a:gd name="T36" fmla="*/ 50 w 62"/>
                <a:gd name="T37" fmla="*/ 35 h 80"/>
                <a:gd name="T38" fmla="*/ 56 w 62"/>
                <a:gd name="T39" fmla="*/ 35 h 80"/>
                <a:gd name="T40" fmla="*/ 62 w 62"/>
                <a:gd name="T41" fmla="*/ 4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2" h="80">
                  <a:moveTo>
                    <a:pt x="62" y="43"/>
                  </a:moveTo>
                  <a:lnTo>
                    <a:pt x="50" y="56"/>
                  </a:lnTo>
                  <a:lnTo>
                    <a:pt x="42" y="62"/>
                  </a:lnTo>
                  <a:lnTo>
                    <a:pt x="33" y="66"/>
                  </a:lnTo>
                  <a:lnTo>
                    <a:pt x="25" y="74"/>
                  </a:lnTo>
                  <a:lnTo>
                    <a:pt x="17" y="80"/>
                  </a:lnTo>
                  <a:lnTo>
                    <a:pt x="2" y="66"/>
                  </a:lnTo>
                  <a:lnTo>
                    <a:pt x="0" y="60"/>
                  </a:lnTo>
                  <a:lnTo>
                    <a:pt x="7" y="45"/>
                  </a:lnTo>
                  <a:lnTo>
                    <a:pt x="7" y="37"/>
                  </a:lnTo>
                  <a:lnTo>
                    <a:pt x="9" y="31"/>
                  </a:lnTo>
                  <a:lnTo>
                    <a:pt x="33" y="29"/>
                  </a:lnTo>
                  <a:lnTo>
                    <a:pt x="33" y="20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0"/>
                  </a:lnTo>
                  <a:lnTo>
                    <a:pt x="50" y="0"/>
                  </a:lnTo>
                  <a:lnTo>
                    <a:pt x="50" y="2"/>
                  </a:lnTo>
                  <a:lnTo>
                    <a:pt x="50" y="35"/>
                  </a:lnTo>
                  <a:lnTo>
                    <a:pt x="56" y="35"/>
                  </a:lnTo>
                  <a:lnTo>
                    <a:pt x="62" y="4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8" name="Freeform 83"/>
            <p:cNvSpPr>
              <a:spLocks/>
            </p:cNvSpPr>
            <p:nvPr/>
          </p:nvSpPr>
          <p:spPr bwMode="auto">
            <a:xfrm>
              <a:off x="1326" y="2192"/>
              <a:ext cx="16" cy="49"/>
            </a:xfrm>
            <a:custGeom>
              <a:avLst/>
              <a:gdLst>
                <a:gd name="T0" fmla="*/ 14 w 14"/>
                <a:gd name="T1" fmla="*/ 0 h 44"/>
                <a:gd name="T2" fmla="*/ 10 w 14"/>
                <a:gd name="T3" fmla="*/ 3 h 44"/>
                <a:gd name="T4" fmla="*/ 4 w 14"/>
                <a:gd name="T5" fmla="*/ 7 h 44"/>
                <a:gd name="T6" fmla="*/ 0 w 14"/>
                <a:gd name="T7" fmla="*/ 5 h 44"/>
                <a:gd name="T8" fmla="*/ 0 w 14"/>
                <a:gd name="T9" fmla="*/ 9 h 44"/>
                <a:gd name="T10" fmla="*/ 0 w 14"/>
                <a:gd name="T11" fmla="*/ 44 h 44"/>
                <a:gd name="T12" fmla="*/ 6 w 14"/>
                <a:gd name="T13" fmla="*/ 44 h 44"/>
                <a:gd name="T14" fmla="*/ 12 w 14"/>
                <a:gd name="T15" fmla="*/ 36 h 44"/>
                <a:gd name="T16" fmla="*/ 10 w 14"/>
                <a:gd name="T17" fmla="*/ 13 h 44"/>
                <a:gd name="T18" fmla="*/ 14 w 14"/>
                <a:gd name="T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44">
                  <a:moveTo>
                    <a:pt x="14" y="0"/>
                  </a:moveTo>
                  <a:lnTo>
                    <a:pt x="10" y="3"/>
                  </a:lnTo>
                  <a:lnTo>
                    <a:pt x="4" y="7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44"/>
                  </a:lnTo>
                  <a:lnTo>
                    <a:pt x="6" y="44"/>
                  </a:lnTo>
                  <a:lnTo>
                    <a:pt x="12" y="36"/>
                  </a:lnTo>
                  <a:lnTo>
                    <a:pt x="10" y="13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9" name="Freeform 84"/>
            <p:cNvSpPr>
              <a:spLocks/>
            </p:cNvSpPr>
            <p:nvPr/>
          </p:nvSpPr>
          <p:spPr bwMode="auto">
            <a:xfrm>
              <a:off x="1359" y="2339"/>
              <a:ext cx="59" cy="46"/>
            </a:xfrm>
            <a:custGeom>
              <a:avLst/>
              <a:gdLst>
                <a:gd name="T0" fmla="*/ 52 w 52"/>
                <a:gd name="T1" fmla="*/ 16 h 41"/>
                <a:gd name="T2" fmla="*/ 43 w 52"/>
                <a:gd name="T3" fmla="*/ 10 h 41"/>
                <a:gd name="T4" fmla="*/ 41 w 52"/>
                <a:gd name="T5" fmla="*/ 4 h 41"/>
                <a:gd name="T6" fmla="*/ 37 w 52"/>
                <a:gd name="T7" fmla="*/ 6 h 41"/>
                <a:gd name="T8" fmla="*/ 27 w 52"/>
                <a:gd name="T9" fmla="*/ 2 h 41"/>
                <a:gd name="T10" fmla="*/ 12 w 52"/>
                <a:gd name="T11" fmla="*/ 0 h 41"/>
                <a:gd name="T12" fmla="*/ 0 w 52"/>
                <a:gd name="T13" fmla="*/ 0 h 41"/>
                <a:gd name="T14" fmla="*/ 2 w 52"/>
                <a:gd name="T15" fmla="*/ 2 h 41"/>
                <a:gd name="T16" fmla="*/ 2 w 52"/>
                <a:gd name="T17" fmla="*/ 6 h 41"/>
                <a:gd name="T18" fmla="*/ 8 w 52"/>
                <a:gd name="T19" fmla="*/ 24 h 41"/>
                <a:gd name="T20" fmla="*/ 10 w 52"/>
                <a:gd name="T21" fmla="*/ 22 h 41"/>
                <a:gd name="T22" fmla="*/ 8 w 52"/>
                <a:gd name="T23" fmla="*/ 16 h 41"/>
                <a:gd name="T24" fmla="*/ 25 w 52"/>
                <a:gd name="T25" fmla="*/ 31 h 41"/>
                <a:gd name="T26" fmla="*/ 25 w 52"/>
                <a:gd name="T27" fmla="*/ 37 h 41"/>
                <a:gd name="T28" fmla="*/ 27 w 52"/>
                <a:gd name="T29" fmla="*/ 37 h 41"/>
                <a:gd name="T30" fmla="*/ 29 w 52"/>
                <a:gd name="T31" fmla="*/ 35 h 41"/>
                <a:gd name="T32" fmla="*/ 35 w 52"/>
                <a:gd name="T33" fmla="*/ 41 h 41"/>
                <a:gd name="T34" fmla="*/ 41 w 52"/>
                <a:gd name="T35" fmla="*/ 33 h 41"/>
                <a:gd name="T36" fmla="*/ 47 w 52"/>
                <a:gd name="T37" fmla="*/ 24 h 41"/>
                <a:gd name="T38" fmla="*/ 52 w 52"/>
                <a:gd name="T39" fmla="*/ 1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2" h="41">
                  <a:moveTo>
                    <a:pt x="52" y="16"/>
                  </a:moveTo>
                  <a:lnTo>
                    <a:pt x="43" y="10"/>
                  </a:lnTo>
                  <a:lnTo>
                    <a:pt x="41" y="4"/>
                  </a:lnTo>
                  <a:lnTo>
                    <a:pt x="37" y="6"/>
                  </a:lnTo>
                  <a:lnTo>
                    <a:pt x="27" y="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8" y="24"/>
                  </a:lnTo>
                  <a:lnTo>
                    <a:pt x="10" y="22"/>
                  </a:lnTo>
                  <a:lnTo>
                    <a:pt x="8" y="16"/>
                  </a:lnTo>
                  <a:lnTo>
                    <a:pt x="25" y="31"/>
                  </a:lnTo>
                  <a:lnTo>
                    <a:pt x="25" y="37"/>
                  </a:lnTo>
                  <a:lnTo>
                    <a:pt x="27" y="37"/>
                  </a:lnTo>
                  <a:lnTo>
                    <a:pt x="29" y="35"/>
                  </a:lnTo>
                  <a:lnTo>
                    <a:pt x="35" y="41"/>
                  </a:lnTo>
                  <a:lnTo>
                    <a:pt x="41" y="33"/>
                  </a:lnTo>
                  <a:lnTo>
                    <a:pt x="47" y="24"/>
                  </a:lnTo>
                  <a:lnTo>
                    <a:pt x="52" y="1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0" name="Freeform 85"/>
            <p:cNvSpPr>
              <a:spLocks/>
            </p:cNvSpPr>
            <p:nvPr/>
          </p:nvSpPr>
          <p:spPr bwMode="auto">
            <a:xfrm>
              <a:off x="1398" y="2359"/>
              <a:ext cx="102" cy="35"/>
            </a:xfrm>
            <a:custGeom>
              <a:avLst/>
              <a:gdLst>
                <a:gd name="T0" fmla="*/ 19 w 91"/>
                <a:gd name="T1" fmla="*/ 0 h 31"/>
                <a:gd name="T2" fmla="*/ 12 w 91"/>
                <a:gd name="T3" fmla="*/ 6 h 31"/>
                <a:gd name="T4" fmla="*/ 8 w 91"/>
                <a:gd name="T5" fmla="*/ 15 h 31"/>
                <a:gd name="T6" fmla="*/ 0 w 91"/>
                <a:gd name="T7" fmla="*/ 23 h 31"/>
                <a:gd name="T8" fmla="*/ 8 w 91"/>
                <a:gd name="T9" fmla="*/ 23 h 31"/>
                <a:gd name="T10" fmla="*/ 12 w 91"/>
                <a:gd name="T11" fmla="*/ 23 h 31"/>
                <a:gd name="T12" fmla="*/ 33 w 91"/>
                <a:gd name="T13" fmla="*/ 21 h 31"/>
                <a:gd name="T14" fmla="*/ 48 w 91"/>
                <a:gd name="T15" fmla="*/ 23 h 31"/>
                <a:gd name="T16" fmla="*/ 54 w 91"/>
                <a:gd name="T17" fmla="*/ 31 h 31"/>
                <a:gd name="T18" fmla="*/ 62 w 91"/>
                <a:gd name="T19" fmla="*/ 29 h 31"/>
                <a:gd name="T20" fmla="*/ 60 w 91"/>
                <a:gd name="T21" fmla="*/ 25 h 31"/>
                <a:gd name="T22" fmla="*/ 60 w 91"/>
                <a:gd name="T23" fmla="*/ 21 h 31"/>
                <a:gd name="T24" fmla="*/ 68 w 91"/>
                <a:gd name="T25" fmla="*/ 17 h 31"/>
                <a:gd name="T26" fmla="*/ 72 w 91"/>
                <a:gd name="T27" fmla="*/ 13 h 31"/>
                <a:gd name="T28" fmla="*/ 83 w 91"/>
                <a:gd name="T29" fmla="*/ 15 h 31"/>
                <a:gd name="T30" fmla="*/ 89 w 91"/>
                <a:gd name="T31" fmla="*/ 19 h 31"/>
                <a:gd name="T32" fmla="*/ 91 w 91"/>
                <a:gd name="T33" fmla="*/ 15 h 31"/>
                <a:gd name="T34" fmla="*/ 89 w 91"/>
                <a:gd name="T35" fmla="*/ 11 h 31"/>
                <a:gd name="T36" fmla="*/ 74 w 91"/>
                <a:gd name="T37" fmla="*/ 6 h 31"/>
                <a:gd name="T38" fmla="*/ 68 w 91"/>
                <a:gd name="T39" fmla="*/ 4 h 31"/>
                <a:gd name="T40" fmla="*/ 62 w 91"/>
                <a:gd name="T41" fmla="*/ 6 h 31"/>
                <a:gd name="T42" fmla="*/ 48 w 91"/>
                <a:gd name="T43" fmla="*/ 11 h 31"/>
                <a:gd name="T44" fmla="*/ 37 w 91"/>
                <a:gd name="T45" fmla="*/ 8 h 31"/>
                <a:gd name="T46" fmla="*/ 29 w 91"/>
                <a:gd name="T47" fmla="*/ 6 h 31"/>
                <a:gd name="T48" fmla="*/ 19 w 91"/>
                <a:gd name="T4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1" h="31">
                  <a:moveTo>
                    <a:pt x="19" y="0"/>
                  </a:moveTo>
                  <a:lnTo>
                    <a:pt x="12" y="6"/>
                  </a:lnTo>
                  <a:lnTo>
                    <a:pt x="8" y="15"/>
                  </a:lnTo>
                  <a:lnTo>
                    <a:pt x="0" y="23"/>
                  </a:lnTo>
                  <a:lnTo>
                    <a:pt x="8" y="23"/>
                  </a:lnTo>
                  <a:lnTo>
                    <a:pt x="12" y="23"/>
                  </a:lnTo>
                  <a:lnTo>
                    <a:pt x="33" y="21"/>
                  </a:lnTo>
                  <a:lnTo>
                    <a:pt x="48" y="23"/>
                  </a:lnTo>
                  <a:lnTo>
                    <a:pt x="54" y="31"/>
                  </a:lnTo>
                  <a:lnTo>
                    <a:pt x="62" y="29"/>
                  </a:lnTo>
                  <a:lnTo>
                    <a:pt x="60" y="25"/>
                  </a:lnTo>
                  <a:lnTo>
                    <a:pt x="60" y="21"/>
                  </a:lnTo>
                  <a:lnTo>
                    <a:pt x="68" y="17"/>
                  </a:lnTo>
                  <a:lnTo>
                    <a:pt x="72" y="13"/>
                  </a:lnTo>
                  <a:lnTo>
                    <a:pt x="83" y="15"/>
                  </a:lnTo>
                  <a:lnTo>
                    <a:pt x="89" y="19"/>
                  </a:lnTo>
                  <a:lnTo>
                    <a:pt x="91" y="15"/>
                  </a:lnTo>
                  <a:lnTo>
                    <a:pt x="89" y="11"/>
                  </a:lnTo>
                  <a:lnTo>
                    <a:pt x="74" y="6"/>
                  </a:lnTo>
                  <a:lnTo>
                    <a:pt x="68" y="4"/>
                  </a:lnTo>
                  <a:lnTo>
                    <a:pt x="62" y="6"/>
                  </a:lnTo>
                  <a:lnTo>
                    <a:pt x="48" y="11"/>
                  </a:lnTo>
                  <a:lnTo>
                    <a:pt x="37" y="8"/>
                  </a:lnTo>
                  <a:lnTo>
                    <a:pt x="29" y="6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3" name="Freeform 86"/>
            <p:cNvSpPr>
              <a:spLocks/>
            </p:cNvSpPr>
            <p:nvPr/>
          </p:nvSpPr>
          <p:spPr bwMode="auto">
            <a:xfrm>
              <a:off x="888" y="1973"/>
              <a:ext cx="469" cy="296"/>
            </a:xfrm>
            <a:custGeom>
              <a:avLst/>
              <a:gdLst>
                <a:gd name="T0" fmla="*/ 405 w 418"/>
                <a:gd name="T1" fmla="*/ 196 h 265"/>
                <a:gd name="T2" fmla="*/ 410 w 418"/>
                <a:gd name="T3" fmla="*/ 188 h 265"/>
                <a:gd name="T4" fmla="*/ 416 w 418"/>
                <a:gd name="T5" fmla="*/ 180 h 265"/>
                <a:gd name="T6" fmla="*/ 418 w 418"/>
                <a:gd name="T7" fmla="*/ 174 h 265"/>
                <a:gd name="T8" fmla="*/ 407 w 418"/>
                <a:gd name="T9" fmla="*/ 170 h 265"/>
                <a:gd name="T10" fmla="*/ 381 w 418"/>
                <a:gd name="T11" fmla="*/ 174 h 265"/>
                <a:gd name="T12" fmla="*/ 370 w 418"/>
                <a:gd name="T13" fmla="*/ 174 h 265"/>
                <a:gd name="T14" fmla="*/ 362 w 418"/>
                <a:gd name="T15" fmla="*/ 178 h 265"/>
                <a:gd name="T16" fmla="*/ 360 w 418"/>
                <a:gd name="T17" fmla="*/ 192 h 265"/>
                <a:gd name="T18" fmla="*/ 352 w 418"/>
                <a:gd name="T19" fmla="*/ 203 h 265"/>
                <a:gd name="T20" fmla="*/ 341 w 418"/>
                <a:gd name="T21" fmla="*/ 207 h 265"/>
                <a:gd name="T22" fmla="*/ 319 w 418"/>
                <a:gd name="T23" fmla="*/ 209 h 265"/>
                <a:gd name="T24" fmla="*/ 286 w 418"/>
                <a:gd name="T25" fmla="*/ 199 h 265"/>
                <a:gd name="T26" fmla="*/ 277 w 418"/>
                <a:gd name="T27" fmla="*/ 184 h 265"/>
                <a:gd name="T28" fmla="*/ 265 w 418"/>
                <a:gd name="T29" fmla="*/ 149 h 265"/>
                <a:gd name="T30" fmla="*/ 265 w 418"/>
                <a:gd name="T31" fmla="*/ 118 h 265"/>
                <a:gd name="T32" fmla="*/ 263 w 418"/>
                <a:gd name="T33" fmla="*/ 101 h 265"/>
                <a:gd name="T34" fmla="*/ 230 w 418"/>
                <a:gd name="T35" fmla="*/ 66 h 265"/>
                <a:gd name="T36" fmla="*/ 205 w 418"/>
                <a:gd name="T37" fmla="*/ 52 h 265"/>
                <a:gd name="T38" fmla="*/ 182 w 418"/>
                <a:gd name="T39" fmla="*/ 52 h 265"/>
                <a:gd name="T40" fmla="*/ 155 w 418"/>
                <a:gd name="T41" fmla="*/ 11 h 265"/>
                <a:gd name="T42" fmla="*/ 126 w 418"/>
                <a:gd name="T43" fmla="*/ 11 h 265"/>
                <a:gd name="T44" fmla="*/ 91 w 418"/>
                <a:gd name="T45" fmla="*/ 19 h 265"/>
                <a:gd name="T46" fmla="*/ 38 w 418"/>
                <a:gd name="T47" fmla="*/ 0 h 265"/>
                <a:gd name="T48" fmla="*/ 0 w 418"/>
                <a:gd name="T49" fmla="*/ 6 h 265"/>
                <a:gd name="T50" fmla="*/ 25 w 418"/>
                <a:gd name="T51" fmla="*/ 58 h 265"/>
                <a:gd name="T52" fmla="*/ 36 w 418"/>
                <a:gd name="T53" fmla="*/ 83 h 265"/>
                <a:gd name="T54" fmla="*/ 62 w 418"/>
                <a:gd name="T55" fmla="*/ 110 h 265"/>
                <a:gd name="T56" fmla="*/ 89 w 418"/>
                <a:gd name="T57" fmla="*/ 151 h 265"/>
                <a:gd name="T58" fmla="*/ 106 w 418"/>
                <a:gd name="T59" fmla="*/ 151 h 265"/>
                <a:gd name="T60" fmla="*/ 87 w 418"/>
                <a:gd name="T61" fmla="*/ 122 h 265"/>
                <a:gd name="T62" fmla="*/ 69 w 418"/>
                <a:gd name="T63" fmla="*/ 85 h 265"/>
                <a:gd name="T64" fmla="*/ 33 w 418"/>
                <a:gd name="T65" fmla="*/ 21 h 265"/>
                <a:gd name="T66" fmla="*/ 48 w 418"/>
                <a:gd name="T67" fmla="*/ 17 h 265"/>
                <a:gd name="T68" fmla="*/ 85 w 418"/>
                <a:gd name="T69" fmla="*/ 79 h 265"/>
                <a:gd name="T70" fmla="*/ 106 w 418"/>
                <a:gd name="T71" fmla="*/ 99 h 265"/>
                <a:gd name="T72" fmla="*/ 153 w 418"/>
                <a:gd name="T73" fmla="*/ 151 h 265"/>
                <a:gd name="T74" fmla="*/ 162 w 418"/>
                <a:gd name="T75" fmla="*/ 209 h 265"/>
                <a:gd name="T76" fmla="*/ 184 w 418"/>
                <a:gd name="T77" fmla="*/ 215 h 265"/>
                <a:gd name="T78" fmla="*/ 228 w 418"/>
                <a:gd name="T79" fmla="*/ 238 h 265"/>
                <a:gd name="T80" fmla="*/ 244 w 418"/>
                <a:gd name="T81" fmla="*/ 238 h 265"/>
                <a:gd name="T82" fmla="*/ 294 w 418"/>
                <a:gd name="T83" fmla="*/ 254 h 265"/>
                <a:gd name="T84" fmla="*/ 329 w 418"/>
                <a:gd name="T85" fmla="*/ 254 h 265"/>
                <a:gd name="T86" fmla="*/ 341 w 418"/>
                <a:gd name="T87" fmla="*/ 265 h 265"/>
                <a:gd name="T88" fmla="*/ 348 w 418"/>
                <a:gd name="T89" fmla="*/ 250 h 265"/>
                <a:gd name="T90" fmla="*/ 348 w 418"/>
                <a:gd name="T91" fmla="*/ 242 h 265"/>
                <a:gd name="T92" fmla="*/ 350 w 418"/>
                <a:gd name="T93" fmla="*/ 236 h 265"/>
                <a:gd name="T94" fmla="*/ 374 w 418"/>
                <a:gd name="T95" fmla="*/ 234 h 265"/>
                <a:gd name="T96" fmla="*/ 374 w 418"/>
                <a:gd name="T97" fmla="*/ 225 h 265"/>
                <a:gd name="T98" fmla="*/ 364 w 418"/>
                <a:gd name="T99" fmla="*/ 213 h 265"/>
                <a:gd name="T100" fmla="*/ 366 w 418"/>
                <a:gd name="T101" fmla="*/ 213 h 265"/>
                <a:gd name="T102" fmla="*/ 366 w 418"/>
                <a:gd name="T103" fmla="*/ 205 h 265"/>
                <a:gd name="T104" fmla="*/ 391 w 418"/>
                <a:gd name="T105" fmla="*/ 205 h 265"/>
                <a:gd name="T106" fmla="*/ 391 w 418"/>
                <a:gd name="T107" fmla="*/ 201 h 265"/>
                <a:gd name="T108" fmla="*/ 395 w 418"/>
                <a:gd name="T109" fmla="*/ 203 h 265"/>
                <a:gd name="T110" fmla="*/ 401 w 418"/>
                <a:gd name="T111" fmla="*/ 199 h 265"/>
                <a:gd name="T112" fmla="*/ 405 w 418"/>
                <a:gd name="T113" fmla="*/ 19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8" h="265">
                  <a:moveTo>
                    <a:pt x="405" y="196"/>
                  </a:moveTo>
                  <a:lnTo>
                    <a:pt x="410" y="188"/>
                  </a:lnTo>
                  <a:lnTo>
                    <a:pt x="416" y="180"/>
                  </a:lnTo>
                  <a:lnTo>
                    <a:pt x="418" y="174"/>
                  </a:lnTo>
                  <a:lnTo>
                    <a:pt x="407" y="170"/>
                  </a:lnTo>
                  <a:lnTo>
                    <a:pt x="381" y="174"/>
                  </a:lnTo>
                  <a:lnTo>
                    <a:pt x="370" y="174"/>
                  </a:lnTo>
                  <a:lnTo>
                    <a:pt x="362" y="178"/>
                  </a:lnTo>
                  <a:lnTo>
                    <a:pt x="360" y="192"/>
                  </a:lnTo>
                  <a:lnTo>
                    <a:pt x="352" y="203"/>
                  </a:lnTo>
                  <a:lnTo>
                    <a:pt x="341" y="207"/>
                  </a:lnTo>
                  <a:lnTo>
                    <a:pt x="319" y="209"/>
                  </a:lnTo>
                  <a:lnTo>
                    <a:pt x="286" y="199"/>
                  </a:lnTo>
                  <a:lnTo>
                    <a:pt x="277" y="184"/>
                  </a:lnTo>
                  <a:lnTo>
                    <a:pt x="265" y="149"/>
                  </a:lnTo>
                  <a:lnTo>
                    <a:pt x="265" y="118"/>
                  </a:lnTo>
                  <a:lnTo>
                    <a:pt x="263" y="101"/>
                  </a:lnTo>
                  <a:lnTo>
                    <a:pt x="230" y="66"/>
                  </a:lnTo>
                  <a:lnTo>
                    <a:pt x="205" y="52"/>
                  </a:lnTo>
                  <a:lnTo>
                    <a:pt x="182" y="52"/>
                  </a:lnTo>
                  <a:lnTo>
                    <a:pt x="155" y="11"/>
                  </a:lnTo>
                  <a:lnTo>
                    <a:pt x="126" y="11"/>
                  </a:lnTo>
                  <a:lnTo>
                    <a:pt x="91" y="19"/>
                  </a:lnTo>
                  <a:lnTo>
                    <a:pt x="38" y="0"/>
                  </a:lnTo>
                  <a:lnTo>
                    <a:pt x="0" y="6"/>
                  </a:lnTo>
                  <a:lnTo>
                    <a:pt x="25" y="58"/>
                  </a:lnTo>
                  <a:lnTo>
                    <a:pt x="36" y="83"/>
                  </a:lnTo>
                  <a:lnTo>
                    <a:pt x="62" y="110"/>
                  </a:lnTo>
                  <a:lnTo>
                    <a:pt x="89" y="151"/>
                  </a:lnTo>
                  <a:lnTo>
                    <a:pt x="106" y="151"/>
                  </a:lnTo>
                  <a:lnTo>
                    <a:pt x="87" y="122"/>
                  </a:lnTo>
                  <a:lnTo>
                    <a:pt x="69" y="85"/>
                  </a:lnTo>
                  <a:lnTo>
                    <a:pt x="33" y="21"/>
                  </a:lnTo>
                  <a:lnTo>
                    <a:pt x="48" y="17"/>
                  </a:lnTo>
                  <a:lnTo>
                    <a:pt x="85" y="79"/>
                  </a:lnTo>
                  <a:lnTo>
                    <a:pt x="106" y="99"/>
                  </a:lnTo>
                  <a:lnTo>
                    <a:pt x="153" y="151"/>
                  </a:lnTo>
                  <a:lnTo>
                    <a:pt x="162" y="209"/>
                  </a:lnTo>
                  <a:lnTo>
                    <a:pt x="184" y="215"/>
                  </a:lnTo>
                  <a:lnTo>
                    <a:pt x="228" y="238"/>
                  </a:lnTo>
                  <a:lnTo>
                    <a:pt x="244" y="238"/>
                  </a:lnTo>
                  <a:lnTo>
                    <a:pt x="294" y="254"/>
                  </a:lnTo>
                  <a:lnTo>
                    <a:pt x="329" y="254"/>
                  </a:lnTo>
                  <a:lnTo>
                    <a:pt x="341" y="265"/>
                  </a:lnTo>
                  <a:lnTo>
                    <a:pt x="348" y="250"/>
                  </a:lnTo>
                  <a:lnTo>
                    <a:pt x="348" y="242"/>
                  </a:lnTo>
                  <a:lnTo>
                    <a:pt x="350" y="236"/>
                  </a:lnTo>
                  <a:lnTo>
                    <a:pt x="374" y="234"/>
                  </a:lnTo>
                  <a:lnTo>
                    <a:pt x="374" y="225"/>
                  </a:lnTo>
                  <a:lnTo>
                    <a:pt x="364" y="213"/>
                  </a:lnTo>
                  <a:lnTo>
                    <a:pt x="366" y="213"/>
                  </a:lnTo>
                  <a:lnTo>
                    <a:pt x="366" y="205"/>
                  </a:lnTo>
                  <a:lnTo>
                    <a:pt x="391" y="205"/>
                  </a:lnTo>
                  <a:lnTo>
                    <a:pt x="391" y="201"/>
                  </a:lnTo>
                  <a:lnTo>
                    <a:pt x="395" y="203"/>
                  </a:lnTo>
                  <a:lnTo>
                    <a:pt x="401" y="199"/>
                  </a:lnTo>
                  <a:lnTo>
                    <a:pt x="405" y="19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4" name="Freeform 87"/>
            <p:cNvSpPr>
              <a:spLocks/>
            </p:cNvSpPr>
            <p:nvPr/>
          </p:nvSpPr>
          <p:spPr bwMode="auto">
            <a:xfrm>
              <a:off x="1305" y="2251"/>
              <a:ext cx="100" cy="56"/>
            </a:xfrm>
            <a:custGeom>
              <a:avLst/>
              <a:gdLst>
                <a:gd name="T0" fmla="*/ 89 w 89"/>
                <a:gd name="T1" fmla="*/ 8 h 50"/>
                <a:gd name="T2" fmla="*/ 81 w 89"/>
                <a:gd name="T3" fmla="*/ 8 h 50"/>
                <a:gd name="T4" fmla="*/ 73 w 89"/>
                <a:gd name="T5" fmla="*/ 10 h 50"/>
                <a:gd name="T6" fmla="*/ 64 w 89"/>
                <a:gd name="T7" fmla="*/ 19 h 50"/>
                <a:gd name="T8" fmla="*/ 54 w 89"/>
                <a:gd name="T9" fmla="*/ 33 h 50"/>
                <a:gd name="T10" fmla="*/ 48 w 89"/>
                <a:gd name="T11" fmla="*/ 39 h 50"/>
                <a:gd name="T12" fmla="*/ 42 w 89"/>
                <a:gd name="T13" fmla="*/ 48 h 50"/>
                <a:gd name="T14" fmla="*/ 40 w 89"/>
                <a:gd name="T15" fmla="*/ 50 h 50"/>
                <a:gd name="T16" fmla="*/ 38 w 89"/>
                <a:gd name="T17" fmla="*/ 50 h 50"/>
                <a:gd name="T18" fmla="*/ 35 w 89"/>
                <a:gd name="T19" fmla="*/ 46 h 50"/>
                <a:gd name="T20" fmla="*/ 33 w 89"/>
                <a:gd name="T21" fmla="*/ 48 h 50"/>
                <a:gd name="T22" fmla="*/ 31 w 89"/>
                <a:gd name="T23" fmla="*/ 46 h 50"/>
                <a:gd name="T24" fmla="*/ 33 w 89"/>
                <a:gd name="T25" fmla="*/ 46 h 50"/>
                <a:gd name="T26" fmla="*/ 33 w 89"/>
                <a:gd name="T27" fmla="*/ 39 h 50"/>
                <a:gd name="T28" fmla="*/ 25 w 89"/>
                <a:gd name="T29" fmla="*/ 33 h 50"/>
                <a:gd name="T30" fmla="*/ 19 w 89"/>
                <a:gd name="T31" fmla="*/ 35 h 50"/>
                <a:gd name="T32" fmla="*/ 13 w 89"/>
                <a:gd name="T33" fmla="*/ 31 h 50"/>
                <a:gd name="T34" fmla="*/ 0 w 89"/>
                <a:gd name="T35" fmla="*/ 25 h 50"/>
                <a:gd name="T36" fmla="*/ 2 w 89"/>
                <a:gd name="T37" fmla="*/ 25 h 50"/>
                <a:gd name="T38" fmla="*/ 2 w 89"/>
                <a:gd name="T39" fmla="*/ 23 h 50"/>
                <a:gd name="T40" fmla="*/ 11 w 89"/>
                <a:gd name="T41" fmla="*/ 19 h 50"/>
                <a:gd name="T42" fmla="*/ 19 w 89"/>
                <a:gd name="T43" fmla="*/ 13 h 50"/>
                <a:gd name="T44" fmla="*/ 31 w 89"/>
                <a:gd name="T45" fmla="*/ 2 h 50"/>
                <a:gd name="T46" fmla="*/ 33 w 89"/>
                <a:gd name="T47" fmla="*/ 0 h 50"/>
                <a:gd name="T48" fmla="*/ 38 w 89"/>
                <a:gd name="T49" fmla="*/ 0 h 50"/>
                <a:gd name="T50" fmla="*/ 46 w 89"/>
                <a:gd name="T51" fmla="*/ 0 h 50"/>
                <a:gd name="T52" fmla="*/ 69 w 89"/>
                <a:gd name="T53" fmla="*/ 0 h 50"/>
                <a:gd name="T54" fmla="*/ 87 w 89"/>
                <a:gd name="T55" fmla="*/ 4 h 50"/>
                <a:gd name="T56" fmla="*/ 89 w 89"/>
                <a:gd name="T57" fmla="*/ 6 h 50"/>
                <a:gd name="T58" fmla="*/ 89 w 89"/>
                <a:gd name="T59" fmla="*/ 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" h="50">
                  <a:moveTo>
                    <a:pt x="89" y="8"/>
                  </a:moveTo>
                  <a:lnTo>
                    <a:pt x="81" y="8"/>
                  </a:lnTo>
                  <a:lnTo>
                    <a:pt x="73" y="10"/>
                  </a:lnTo>
                  <a:lnTo>
                    <a:pt x="64" y="19"/>
                  </a:lnTo>
                  <a:lnTo>
                    <a:pt x="54" y="33"/>
                  </a:lnTo>
                  <a:lnTo>
                    <a:pt x="48" y="39"/>
                  </a:lnTo>
                  <a:lnTo>
                    <a:pt x="42" y="48"/>
                  </a:lnTo>
                  <a:lnTo>
                    <a:pt x="40" y="50"/>
                  </a:lnTo>
                  <a:lnTo>
                    <a:pt x="38" y="50"/>
                  </a:lnTo>
                  <a:lnTo>
                    <a:pt x="35" y="46"/>
                  </a:lnTo>
                  <a:lnTo>
                    <a:pt x="33" y="48"/>
                  </a:lnTo>
                  <a:lnTo>
                    <a:pt x="31" y="46"/>
                  </a:lnTo>
                  <a:lnTo>
                    <a:pt x="33" y="46"/>
                  </a:lnTo>
                  <a:lnTo>
                    <a:pt x="33" y="39"/>
                  </a:lnTo>
                  <a:lnTo>
                    <a:pt x="25" y="33"/>
                  </a:lnTo>
                  <a:lnTo>
                    <a:pt x="19" y="35"/>
                  </a:lnTo>
                  <a:lnTo>
                    <a:pt x="13" y="31"/>
                  </a:lnTo>
                  <a:lnTo>
                    <a:pt x="0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11" y="19"/>
                  </a:lnTo>
                  <a:lnTo>
                    <a:pt x="19" y="13"/>
                  </a:lnTo>
                  <a:lnTo>
                    <a:pt x="31" y="2"/>
                  </a:lnTo>
                  <a:lnTo>
                    <a:pt x="33" y="0"/>
                  </a:lnTo>
                  <a:lnTo>
                    <a:pt x="38" y="0"/>
                  </a:lnTo>
                  <a:lnTo>
                    <a:pt x="46" y="0"/>
                  </a:lnTo>
                  <a:lnTo>
                    <a:pt x="69" y="0"/>
                  </a:lnTo>
                  <a:lnTo>
                    <a:pt x="87" y="4"/>
                  </a:lnTo>
                  <a:lnTo>
                    <a:pt x="89" y="6"/>
                  </a:lnTo>
                  <a:lnTo>
                    <a:pt x="89" y="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5" name="Freeform 88"/>
            <p:cNvSpPr>
              <a:spLocks/>
            </p:cNvSpPr>
            <p:nvPr/>
          </p:nvSpPr>
          <p:spPr bwMode="auto">
            <a:xfrm>
              <a:off x="1289" y="2281"/>
              <a:ext cx="55" cy="28"/>
            </a:xfrm>
            <a:custGeom>
              <a:avLst/>
              <a:gdLst>
                <a:gd name="T0" fmla="*/ 47 w 49"/>
                <a:gd name="T1" fmla="*/ 21 h 25"/>
                <a:gd name="T2" fmla="*/ 45 w 49"/>
                <a:gd name="T3" fmla="*/ 25 h 25"/>
                <a:gd name="T4" fmla="*/ 14 w 49"/>
                <a:gd name="T5" fmla="*/ 16 h 25"/>
                <a:gd name="T6" fmla="*/ 2 w 49"/>
                <a:gd name="T7" fmla="*/ 10 h 25"/>
                <a:gd name="T8" fmla="*/ 0 w 49"/>
                <a:gd name="T9" fmla="*/ 10 h 25"/>
                <a:gd name="T10" fmla="*/ 8 w 49"/>
                <a:gd name="T11" fmla="*/ 4 h 25"/>
                <a:gd name="T12" fmla="*/ 14 w 49"/>
                <a:gd name="T13" fmla="*/ 0 h 25"/>
                <a:gd name="T14" fmla="*/ 27 w 49"/>
                <a:gd name="T15" fmla="*/ 4 h 25"/>
                <a:gd name="T16" fmla="*/ 33 w 49"/>
                <a:gd name="T17" fmla="*/ 8 h 25"/>
                <a:gd name="T18" fmla="*/ 41 w 49"/>
                <a:gd name="T19" fmla="*/ 6 h 25"/>
                <a:gd name="T20" fmla="*/ 49 w 49"/>
                <a:gd name="T21" fmla="*/ 12 h 25"/>
                <a:gd name="T22" fmla="*/ 47 w 49"/>
                <a:gd name="T23" fmla="*/ 19 h 25"/>
                <a:gd name="T24" fmla="*/ 47 w 49"/>
                <a:gd name="T25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25">
                  <a:moveTo>
                    <a:pt x="47" y="21"/>
                  </a:moveTo>
                  <a:lnTo>
                    <a:pt x="45" y="25"/>
                  </a:lnTo>
                  <a:lnTo>
                    <a:pt x="14" y="16"/>
                  </a:lnTo>
                  <a:lnTo>
                    <a:pt x="2" y="10"/>
                  </a:lnTo>
                  <a:lnTo>
                    <a:pt x="0" y="10"/>
                  </a:lnTo>
                  <a:lnTo>
                    <a:pt x="8" y="4"/>
                  </a:lnTo>
                  <a:lnTo>
                    <a:pt x="14" y="0"/>
                  </a:lnTo>
                  <a:lnTo>
                    <a:pt x="27" y="4"/>
                  </a:lnTo>
                  <a:lnTo>
                    <a:pt x="33" y="8"/>
                  </a:lnTo>
                  <a:lnTo>
                    <a:pt x="41" y="6"/>
                  </a:lnTo>
                  <a:lnTo>
                    <a:pt x="49" y="12"/>
                  </a:lnTo>
                  <a:lnTo>
                    <a:pt x="47" y="19"/>
                  </a:lnTo>
                  <a:lnTo>
                    <a:pt x="47" y="2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6" name="Freeform 89"/>
            <p:cNvSpPr>
              <a:spLocks noEditPoints="1"/>
            </p:cNvSpPr>
            <p:nvPr/>
          </p:nvSpPr>
          <p:spPr bwMode="auto">
            <a:xfrm>
              <a:off x="1382" y="2065"/>
              <a:ext cx="387" cy="234"/>
            </a:xfrm>
            <a:custGeom>
              <a:avLst/>
              <a:gdLst>
                <a:gd name="T0" fmla="*/ 340 w 345"/>
                <a:gd name="T1" fmla="*/ 200 h 208"/>
                <a:gd name="T2" fmla="*/ 340 w 345"/>
                <a:gd name="T3" fmla="*/ 194 h 208"/>
                <a:gd name="T4" fmla="*/ 336 w 345"/>
                <a:gd name="T5" fmla="*/ 190 h 208"/>
                <a:gd name="T6" fmla="*/ 330 w 345"/>
                <a:gd name="T7" fmla="*/ 138 h 208"/>
                <a:gd name="T8" fmla="*/ 326 w 345"/>
                <a:gd name="T9" fmla="*/ 140 h 208"/>
                <a:gd name="T10" fmla="*/ 343 w 345"/>
                <a:gd name="T11" fmla="*/ 155 h 208"/>
                <a:gd name="T12" fmla="*/ 289 w 345"/>
                <a:gd name="T13" fmla="*/ 138 h 208"/>
                <a:gd name="T14" fmla="*/ 283 w 345"/>
                <a:gd name="T15" fmla="*/ 134 h 208"/>
                <a:gd name="T16" fmla="*/ 243 w 345"/>
                <a:gd name="T17" fmla="*/ 136 h 208"/>
                <a:gd name="T18" fmla="*/ 256 w 345"/>
                <a:gd name="T19" fmla="*/ 142 h 208"/>
                <a:gd name="T20" fmla="*/ 272 w 345"/>
                <a:gd name="T21" fmla="*/ 132 h 208"/>
                <a:gd name="T22" fmla="*/ 247 w 345"/>
                <a:gd name="T23" fmla="*/ 132 h 208"/>
                <a:gd name="T24" fmla="*/ 177 w 345"/>
                <a:gd name="T25" fmla="*/ 49 h 208"/>
                <a:gd name="T26" fmla="*/ 161 w 345"/>
                <a:gd name="T27" fmla="*/ 56 h 208"/>
                <a:gd name="T28" fmla="*/ 157 w 345"/>
                <a:gd name="T29" fmla="*/ 52 h 208"/>
                <a:gd name="T30" fmla="*/ 115 w 345"/>
                <a:gd name="T31" fmla="*/ 2 h 208"/>
                <a:gd name="T32" fmla="*/ 105 w 345"/>
                <a:gd name="T33" fmla="*/ 6 h 208"/>
                <a:gd name="T34" fmla="*/ 136 w 345"/>
                <a:gd name="T35" fmla="*/ 0 h 208"/>
                <a:gd name="T36" fmla="*/ 130 w 345"/>
                <a:gd name="T37" fmla="*/ 47 h 208"/>
                <a:gd name="T38" fmla="*/ 132 w 345"/>
                <a:gd name="T39" fmla="*/ 68 h 208"/>
                <a:gd name="T40" fmla="*/ 130 w 345"/>
                <a:gd name="T41" fmla="*/ 47 h 208"/>
                <a:gd name="T42" fmla="*/ 177 w 345"/>
                <a:gd name="T43" fmla="*/ 89 h 208"/>
                <a:gd name="T44" fmla="*/ 175 w 345"/>
                <a:gd name="T45" fmla="*/ 99 h 208"/>
                <a:gd name="T46" fmla="*/ 101 w 345"/>
                <a:gd name="T47" fmla="*/ 134 h 208"/>
                <a:gd name="T48" fmla="*/ 115 w 345"/>
                <a:gd name="T49" fmla="*/ 142 h 208"/>
                <a:gd name="T50" fmla="*/ 107 w 345"/>
                <a:gd name="T51" fmla="*/ 132 h 208"/>
                <a:gd name="T52" fmla="*/ 192 w 345"/>
                <a:gd name="T53" fmla="*/ 140 h 208"/>
                <a:gd name="T54" fmla="*/ 212 w 345"/>
                <a:gd name="T55" fmla="*/ 138 h 208"/>
                <a:gd name="T56" fmla="*/ 229 w 345"/>
                <a:gd name="T57" fmla="*/ 128 h 208"/>
                <a:gd name="T58" fmla="*/ 219 w 345"/>
                <a:gd name="T59" fmla="*/ 120 h 208"/>
                <a:gd name="T60" fmla="*/ 192 w 345"/>
                <a:gd name="T61" fmla="*/ 113 h 208"/>
                <a:gd name="T62" fmla="*/ 161 w 345"/>
                <a:gd name="T63" fmla="*/ 118 h 208"/>
                <a:gd name="T64" fmla="*/ 157 w 345"/>
                <a:gd name="T65" fmla="*/ 126 h 208"/>
                <a:gd name="T66" fmla="*/ 152 w 345"/>
                <a:gd name="T67" fmla="*/ 134 h 208"/>
                <a:gd name="T68" fmla="*/ 192 w 345"/>
                <a:gd name="T69" fmla="*/ 140 h 208"/>
                <a:gd name="T70" fmla="*/ 177 w 345"/>
                <a:gd name="T71" fmla="*/ 109 h 208"/>
                <a:gd name="T72" fmla="*/ 20 w 345"/>
                <a:gd name="T73" fmla="*/ 60 h 208"/>
                <a:gd name="T74" fmla="*/ 35 w 345"/>
                <a:gd name="T75" fmla="*/ 76 h 208"/>
                <a:gd name="T76" fmla="*/ 95 w 345"/>
                <a:gd name="T77" fmla="*/ 101 h 208"/>
                <a:gd name="T78" fmla="*/ 97 w 345"/>
                <a:gd name="T79" fmla="*/ 111 h 208"/>
                <a:gd name="T80" fmla="*/ 148 w 345"/>
                <a:gd name="T81" fmla="*/ 113 h 208"/>
                <a:gd name="T82" fmla="*/ 126 w 345"/>
                <a:gd name="T83" fmla="*/ 91 h 208"/>
                <a:gd name="T84" fmla="*/ 62 w 345"/>
                <a:gd name="T85" fmla="*/ 66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5" h="208">
                  <a:moveTo>
                    <a:pt x="340" y="208"/>
                  </a:moveTo>
                  <a:lnTo>
                    <a:pt x="343" y="206"/>
                  </a:lnTo>
                  <a:lnTo>
                    <a:pt x="340" y="200"/>
                  </a:lnTo>
                  <a:lnTo>
                    <a:pt x="336" y="206"/>
                  </a:lnTo>
                  <a:lnTo>
                    <a:pt x="340" y="208"/>
                  </a:lnTo>
                  <a:close/>
                  <a:moveTo>
                    <a:pt x="340" y="194"/>
                  </a:moveTo>
                  <a:lnTo>
                    <a:pt x="345" y="190"/>
                  </a:lnTo>
                  <a:lnTo>
                    <a:pt x="340" y="186"/>
                  </a:lnTo>
                  <a:lnTo>
                    <a:pt x="336" y="190"/>
                  </a:lnTo>
                  <a:lnTo>
                    <a:pt x="340" y="194"/>
                  </a:lnTo>
                  <a:close/>
                  <a:moveTo>
                    <a:pt x="326" y="140"/>
                  </a:moveTo>
                  <a:lnTo>
                    <a:pt x="330" y="138"/>
                  </a:lnTo>
                  <a:lnTo>
                    <a:pt x="326" y="134"/>
                  </a:lnTo>
                  <a:lnTo>
                    <a:pt x="322" y="138"/>
                  </a:lnTo>
                  <a:lnTo>
                    <a:pt x="326" y="140"/>
                  </a:lnTo>
                  <a:close/>
                  <a:moveTo>
                    <a:pt x="343" y="163"/>
                  </a:moveTo>
                  <a:lnTo>
                    <a:pt x="345" y="159"/>
                  </a:lnTo>
                  <a:lnTo>
                    <a:pt x="343" y="155"/>
                  </a:lnTo>
                  <a:lnTo>
                    <a:pt x="336" y="159"/>
                  </a:lnTo>
                  <a:lnTo>
                    <a:pt x="343" y="163"/>
                  </a:lnTo>
                  <a:close/>
                  <a:moveTo>
                    <a:pt x="289" y="138"/>
                  </a:moveTo>
                  <a:lnTo>
                    <a:pt x="297" y="134"/>
                  </a:lnTo>
                  <a:lnTo>
                    <a:pt x="289" y="130"/>
                  </a:lnTo>
                  <a:lnTo>
                    <a:pt x="283" y="134"/>
                  </a:lnTo>
                  <a:lnTo>
                    <a:pt x="289" y="138"/>
                  </a:lnTo>
                  <a:close/>
                  <a:moveTo>
                    <a:pt x="247" y="132"/>
                  </a:moveTo>
                  <a:lnTo>
                    <a:pt x="243" y="136"/>
                  </a:lnTo>
                  <a:lnTo>
                    <a:pt x="243" y="140"/>
                  </a:lnTo>
                  <a:lnTo>
                    <a:pt x="250" y="144"/>
                  </a:lnTo>
                  <a:lnTo>
                    <a:pt x="256" y="142"/>
                  </a:lnTo>
                  <a:lnTo>
                    <a:pt x="266" y="142"/>
                  </a:lnTo>
                  <a:lnTo>
                    <a:pt x="268" y="138"/>
                  </a:lnTo>
                  <a:lnTo>
                    <a:pt x="272" y="132"/>
                  </a:lnTo>
                  <a:lnTo>
                    <a:pt x="262" y="130"/>
                  </a:lnTo>
                  <a:lnTo>
                    <a:pt x="254" y="130"/>
                  </a:lnTo>
                  <a:lnTo>
                    <a:pt x="247" y="132"/>
                  </a:lnTo>
                  <a:close/>
                  <a:moveTo>
                    <a:pt x="177" y="56"/>
                  </a:moveTo>
                  <a:lnTo>
                    <a:pt x="179" y="54"/>
                  </a:lnTo>
                  <a:lnTo>
                    <a:pt x="177" y="49"/>
                  </a:lnTo>
                  <a:lnTo>
                    <a:pt x="173" y="54"/>
                  </a:lnTo>
                  <a:lnTo>
                    <a:pt x="177" y="56"/>
                  </a:lnTo>
                  <a:close/>
                  <a:moveTo>
                    <a:pt x="161" y="56"/>
                  </a:moveTo>
                  <a:lnTo>
                    <a:pt x="163" y="52"/>
                  </a:lnTo>
                  <a:lnTo>
                    <a:pt x="161" y="47"/>
                  </a:lnTo>
                  <a:lnTo>
                    <a:pt x="157" y="52"/>
                  </a:lnTo>
                  <a:lnTo>
                    <a:pt x="161" y="56"/>
                  </a:lnTo>
                  <a:close/>
                  <a:moveTo>
                    <a:pt x="105" y="6"/>
                  </a:moveTo>
                  <a:lnTo>
                    <a:pt x="115" y="2"/>
                  </a:lnTo>
                  <a:lnTo>
                    <a:pt x="105" y="0"/>
                  </a:lnTo>
                  <a:lnTo>
                    <a:pt x="93" y="2"/>
                  </a:lnTo>
                  <a:lnTo>
                    <a:pt x="105" y="6"/>
                  </a:lnTo>
                  <a:close/>
                  <a:moveTo>
                    <a:pt x="136" y="27"/>
                  </a:moveTo>
                  <a:lnTo>
                    <a:pt x="140" y="12"/>
                  </a:lnTo>
                  <a:lnTo>
                    <a:pt x="136" y="0"/>
                  </a:lnTo>
                  <a:lnTo>
                    <a:pt x="134" y="12"/>
                  </a:lnTo>
                  <a:lnTo>
                    <a:pt x="136" y="27"/>
                  </a:lnTo>
                  <a:close/>
                  <a:moveTo>
                    <a:pt x="130" y="47"/>
                  </a:moveTo>
                  <a:lnTo>
                    <a:pt x="124" y="52"/>
                  </a:lnTo>
                  <a:lnTo>
                    <a:pt x="128" y="58"/>
                  </a:lnTo>
                  <a:lnTo>
                    <a:pt x="132" y="68"/>
                  </a:lnTo>
                  <a:lnTo>
                    <a:pt x="138" y="66"/>
                  </a:lnTo>
                  <a:lnTo>
                    <a:pt x="136" y="56"/>
                  </a:lnTo>
                  <a:lnTo>
                    <a:pt x="130" y="47"/>
                  </a:lnTo>
                  <a:close/>
                  <a:moveTo>
                    <a:pt x="167" y="95"/>
                  </a:moveTo>
                  <a:lnTo>
                    <a:pt x="169" y="91"/>
                  </a:lnTo>
                  <a:lnTo>
                    <a:pt x="177" y="89"/>
                  </a:lnTo>
                  <a:lnTo>
                    <a:pt x="181" y="93"/>
                  </a:lnTo>
                  <a:lnTo>
                    <a:pt x="185" y="99"/>
                  </a:lnTo>
                  <a:lnTo>
                    <a:pt x="175" y="99"/>
                  </a:lnTo>
                  <a:lnTo>
                    <a:pt x="167" y="95"/>
                  </a:lnTo>
                  <a:close/>
                  <a:moveTo>
                    <a:pt x="107" y="132"/>
                  </a:moveTo>
                  <a:lnTo>
                    <a:pt x="101" y="134"/>
                  </a:lnTo>
                  <a:lnTo>
                    <a:pt x="95" y="138"/>
                  </a:lnTo>
                  <a:lnTo>
                    <a:pt x="101" y="140"/>
                  </a:lnTo>
                  <a:lnTo>
                    <a:pt x="115" y="142"/>
                  </a:lnTo>
                  <a:lnTo>
                    <a:pt x="121" y="142"/>
                  </a:lnTo>
                  <a:lnTo>
                    <a:pt x="117" y="134"/>
                  </a:lnTo>
                  <a:lnTo>
                    <a:pt x="107" y="132"/>
                  </a:lnTo>
                  <a:close/>
                  <a:moveTo>
                    <a:pt x="192" y="113"/>
                  </a:moveTo>
                  <a:lnTo>
                    <a:pt x="188" y="128"/>
                  </a:lnTo>
                  <a:lnTo>
                    <a:pt x="192" y="140"/>
                  </a:lnTo>
                  <a:lnTo>
                    <a:pt x="192" y="144"/>
                  </a:lnTo>
                  <a:lnTo>
                    <a:pt x="202" y="140"/>
                  </a:lnTo>
                  <a:lnTo>
                    <a:pt x="212" y="138"/>
                  </a:lnTo>
                  <a:lnTo>
                    <a:pt x="223" y="138"/>
                  </a:lnTo>
                  <a:lnTo>
                    <a:pt x="229" y="134"/>
                  </a:lnTo>
                  <a:lnTo>
                    <a:pt x="229" y="128"/>
                  </a:lnTo>
                  <a:lnTo>
                    <a:pt x="223" y="124"/>
                  </a:lnTo>
                  <a:lnTo>
                    <a:pt x="212" y="124"/>
                  </a:lnTo>
                  <a:lnTo>
                    <a:pt x="219" y="120"/>
                  </a:lnTo>
                  <a:lnTo>
                    <a:pt x="210" y="120"/>
                  </a:lnTo>
                  <a:lnTo>
                    <a:pt x="202" y="116"/>
                  </a:lnTo>
                  <a:lnTo>
                    <a:pt x="192" y="113"/>
                  </a:lnTo>
                  <a:close/>
                  <a:moveTo>
                    <a:pt x="159" y="109"/>
                  </a:moveTo>
                  <a:lnTo>
                    <a:pt x="154" y="113"/>
                  </a:lnTo>
                  <a:lnTo>
                    <a:pt x="161" y="118"/>
                  </a:lnTo>
                  <a:lnTo>
                    <a:pt x="175" y="122"/>
                  </a:lnTo>
                  <a:lnTo>
                    <a:pt x="167" y="130"/>
                  </a:lnTo>
                  <a:lnTo>
                    <a:pt x="157" y="126"/>
                  </a:lnTo>
                  <a:lnTo>
                    <a:pt x="150" y="126"/>
                  </a:lnTo>
                  <a:lnTo>
                    <a:pt x="146" y="132"/>
                  </a:lnTo>
                  <a:lnTo>
                    <a:pt x="152" y="134"/>
                  </a:lnTo>
                  <a:lnTo>
                    <a:pt x="167" y="138"/>
                  </a:lnTo>
                  <a:lnTo>
                    <a:pt x="181" y="147"/>
                  </a:lnTo>
                  <a:lnTo>
                    <a:pt x="192" y="140"/>
                  </a:lnTo>
                  <a:lnTo>
                    <a:pt x="188" y="128"/>
                  </a:lnTo>
                  <a:lnTo>
                    <a:pt x="192" y="111"/>
                  </a:lnTo>
                  <a:lnTo>
                    <a:pt x="177" y="109"/>
                  </a:lnTo>
                  <a:lnTo>
                    <a:pt x="167" y="107"/>
                  </a:lnTo>
                  <a:lnTo>
                    <a:pt x="159" y="109"/>
                  </a:lnTo>
                  <a:close/>
                  <a:moveTo>
                    <a:pt x="20" y="60"/>
                  </a:moveTo>
                  <a:lnTo>
                    <a:pt x="0" y="76"/>
                  </a:lnTo>
                  <a:lnTo>
                    <a:pt x="12" y="80"/>
                  </a:lnTo>
                  <a:lnTo>
                    <a:pt x="35" y="76"/>
                  </a:lnTo>
                  <a:lnTo>
                    <a:pt x="57" y="82"/>
                  </a:lnTo>
                  <a:lnTo>
                    <a:pt x="72" y="91"/>
                  </a:lnTo>
                  <a:lnTo>
                    <a:pt x="95" y="101"/>
                  </a:lnTo>
                  <a:lnTo>
                    <a:pt x="105" y="101"/>
                  </a:lnTo>
                  <a:lnTo>
                    <a:pt x="105" y="105"/>
                  </a:lnTo>
                  <a:lnTo>
                    <a:pt x="97" y="111"/>
                  </a:lnTo>
                  <a:lnTo>
                    <a:pt x="99" y="116"/>
                  </a:lnTo>
                  <a:lnTo>
                    <a:pt x="132" y="116"/>
                  </a:lnTo>
                  <a:lnTo>
                    <a:pt x="148" y="113"/>
                  </a:lnTo>
                  <a:lnTo>
                    <a:pt x="148" y="103"/>
                  </a:lnTo>
                  <a:lnTo>
                    <a:pt x="130" y="93"/>
                  </a:lnTo>
                  <a:lnTo>
                    <a:pt x="126" y="91"/>
                  </a:lnTo>
                  <a:lnTo>
                    <a:pt x="93" y="80"/>
                  </a:lnTo>
                  <a:lnTo>
                    <a:pt x="82" y="78"/>
                  </a:lnTo>
                  <a:lnTo>
                    <a:pt x="62" y="66"/>
                  </a:lnTo>
                  <a:lnTo>
                    <a:pt x="35" y="58"/>
                  </a:lnTo>
                  <a:lnTo>
                    <a:pt x="20" y="6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7" name="Freeform 90"/>
            <p:cNvSpPr>
              <a:spLocks/>
            </p:cNvSpPr>
            <p:nvPr/>
          </p:nvSpPr>
          <p:spPr bwMode="auto">
            <a:xfrm>
              <a:off x="1765" y="2255"/>
              <a:ext cx="2" cy="12"/>
            </a:xfrm>
            <a:custGeom>
              <a:avLst/>
              <a:gdLst>
                <a:gd name="T0" fmla="*/ 3 w 3"/>
                <a:gd name="T1" fmla="*/ 11 h 11"/>
                <a:gd name="T2" fmla="*/ 3 w 3"/>
                <a:gd name="T3" fmla="*/ 9 h 11"/>
                <a:gd name="T4" fmla="*/ 3 w 3"/>
                <a:gd name="T5" fmla="*/ 6 h 11"/>
                <a:gd name="T6" fmla="*/ 3 w 3"/>
                <a:gd name="T7" fmla="*/ 4 h 11"/>
                <a:gd name="T8" fmla="*/ 3 w 3"/>
                <a:gd name="T9" fmla="*/ 2 h 11"/>
                <a:gd name="T10" fmla="*/ 3 w 3"/>
                <a:gd name="T11" fmla="*/ 0 h 11"/>
                <a:gd name="T12" fmla="*/ 0 w 3"/>
                <a:gd name="T13" fmla="*/ 0 h 11"/>
                <a:gd name="T14" fmla="*/ 0 w 3"/>
                <a:gd name="T15" fmla="*/ 2 h 11"/>
                <a:gd name="T16" fmla="*/ 0 w 3"/>
                <a:gd name="T17" fmla="*/ 4 h 11"/>
                <a:gd name="T18" fmla="*/ 0 w 3"/>
                <a:gd name="T19" fmla="*/ 6 h 11"/>
                <a:gd name="T20" fmla="*/ 0 w 3"/>
                <a:gd name="T21" fmla="*/ 9 h 11"/>
                <a:gd name="T22" fmla="*/ 3 w 3"/>
                <a:gd name="T23" fmla="*/ 9 h 11"/>
                <a:gd name="T24" fmla="*/ 3 w 3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11">
                  <a:moveTo>
                    <a:pt x="3" y="11"/>
                  </a:moveTo>
                  <a:lnTo>
                    <a:pt x="3" y="9"/>
                  </a:lnTo>
                  <a:lnTo>
                    <a:pt x="3" y="6"/>
                  </a:lnTo>
                  <a:lnTo>
                    <a:pt x="3" y="4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1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8" name="Freeform 91"/>
            <p:cNvSpPr>
              <a:spLocks/>
            </p:cNvSpPr>
            <p:nvPr/>
          </p:nvSpPr>
          <p:spPr bwMode="auto">
            <a:xfrm>
              <a:off x="2214" y="1109"/>
              <a:ext cx="163" cy="112"/>
            </a:xfrm>
            <a:custGeom>
              <a:avLst/>
              <a:gdLst>
                <a:gd name="T0" fmla="*/ 13 w 145"/>
                <a:gd name="T1" fmla="*/ 0 h 101"/>
                <a:gd name="T2" fmla="*/ 0 w 145"/>
                <a:gd name="T3" fmla="*/ 31 h 101"/>
                <a:gd name="T4" fmla="*/ 17 w 145"/>
                <a:gd name="T5" fmla="*/ 35 h 101"/>
                <a:gd name="T6" fmla="*/ 23 w 145"/>
                <a:gd name="T7" fmla="*/ 47 h 101"/>
                <a:gd name="T8" fmla="*/ 7 w 145"/>
                <a:gd name="T9" fmla="*/ 54 h 101"/>
                <a:gd name="T10" fmla="*/ 7 w 145"/>
                <a:gd name="T11" fmla="*/ 68 h 101"/>
                <a:gd name="T12" fmla="*/ 21 w 145"/>
                <a:gd name="T13" fmla="*/ 68 h 101"/>
                <a:gd name="T14" fmla="*/ 40 w 145"/>
                <a:gd name="T15" fmla="*/ 87 h 101"/>
                <a:gd name="T16" fmla="*/ 60 w 145"/>
                <a:gd name="T17" fmla="*/ 101 h 101"/>
                <a:gd name="T18" fmla="*/ 79 w 145"/>
                <a:gd name="T19" fmla="*/ 93 h 101"/>
                <a:gd name="T20" fmla="*/ 102 w 145"/>
                <a:gd name="T21" fmla="*/ 91 h 101"/>
                <a:gd name="T22" fmla="*/ 145 w 145"/>
                <a:gd name="T23" fmla="*/ 43 h 101"/>
                <a:gd name="T24" fmla="*/ 126 w 145"/>
                <a:gd name="T25" fmla="*/ 18 h 101"/>
                <a:gd name="T26" fmla="*/ 114 w 145"/>
                <a:gd name="T27" fmla="*/ 6 h 101"/>
                <a:gd name="T28" fmla="*/ 91 w 145"/>
                <a:gd name="T29" fmla="*/ 18 h 101"/>
                <a:gd name="T30" fmla="*/ 75 w 145"/>
                <a:gd name="T31" fmla="*/ 14 h 101"/>
                <a:gd name="T32" fmla="*/ 54 w 145"/>
                <a:gd name="T33" fmla="*/ 6 h 101"/>
                <a:gd name="T34" fmla="*/ 48 w 145"/>
                <a:gd name="T35" fmla="*/ 25 h 101"/>
                <a:gd name="T36" fmla="*/ 38 w 145"/>
                <a:gd name="T37" fmla="*/ 18 h 101"/>
                <a:gd name="T38" fmla="*/ 13 w 145"/>
                <a:gd name="T3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5" h="101">
                  <a:moveTo>
                    <a:pt x="13" y="0"/>
                  </a:moveTo>
                  <a:lnTo>
                    <a:pt x="0" y="31"/>
                  </a:lnTo>
                  <a:lnTo>
                    <a:pt x="17" y="35"/>
                  </a:lnTo>
                  <a:lnTo>
                    <a:pt x="23" y="47"/>
                  </a:lnTo>
                  <a:lnTo>
                    <a:pt x="7" y="54"/>
                  </a:lnTo>
                  <a:lnTo>
                    <a:pt x="7" y="68"/>
                  </a:lnTo>
                  <a:lnTo>
                    <a:pt x="21" y="68"/>
                  </a:lnTo>
                  <a:lnTo>
                    <a:pt x="40" y="87"/>
                  </a:lnTo>
                  <a:lnTo>
                    <a:pt x="60" y="101"/>
                  </a:lnTo>
                  <a:lnTo>
                    <a:pt x="79" y="93"/>
                  </a:lnTo>
                  <a:lnTo>
                    <a:pt x="102" y="91"/>
                  </a:lnTo>
                  <a:lnTo>
                    <a:pt x="145" y="43"/>
                  </a:lnTo>
                  <a:lnTo>
                    <a:pt x="126" y="18"/>
                  </a:lnTo>
                  <a:lnTo>
                    <a:pt x="114" y="6"/>
                  </a:lnTo>
                  <a:lnTo>
                    <a:pt x="91" y="18"/>
                  </a:lnTo>
                  <a:lnTo>
                    <a:pt x="75" y="14"/>
                  </a:lnTo>
                  <a:lnTo>
                    <a:pt x="54" y="6"/>
                  </a:lnTo>
                  <a:lnTo>
                    <a:pt x="48" y="25"/>
                  </a:lnTo>
                  <a:lnTo>
                    <a:pt x="38" y="18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9" name="Freeform 92"/>
            <p:cNvSpPr>
              <a:spLocks/>
            </p:cNvSpPr>
            <p:nvPr/>
          </p:nvSpPr>
          <p:spPr bwMode="auto">
            <a:xfrm>
              <a:off x="1670" y="495"/>
              <a:ext cx="528" cy="785"/>
            </a:xfrm>
            <a:custGeom>
              <a:avLst/>
              <a:gdLst>
                <a:gd name="T0" fmla="*/ 103 w 471"/>
                <a:gd name="T1" fmla="*/ 115 h 700"/>
                <a:gd name="T2" fmla="*/ 70 w 471"/>
                <a:gd name="T3" fmla="*/ 134 h 700"/>
                <a:gd name="T4" fmla="*/ 51 w 471"/>
                <a:gd name="T5" fmla="*/ 161 h 700"/>
                <a:gd name="T6" fmla="*/ 72 w 471"/>
                <a:gd name="T7" fmla="*/ 190 h 700"/>
                <a:gd name="T8" fmla="*/ 49 w 471"/>
                <a:gd name="T9" fmla="*/ 214 h 700"/>
                <a:gd name="T10" fmla="*/ 8 w 471"/>
                <a:gd name="T11" fmla="*/ 233 h 700"/>
                <a:gd name="T12" fmla="*/ 18 w 471"/>
                <a:gd name="T13" fmla="*/ 262 h 700"/>
                <a:gd name="T14" fmla="*/ 49 w 471"/>
                <a:gd name="T15" fmla="*/ 268 h 700"/>
                <a:gd name="T16" fmla="*/ 39 w 471"/>
                <a:gd name="T17" fmla="*/ 289 h 700"/>
                <a:gd name="T18" fmla="*/ 12 w 471"/>
                <a:gd name="T19" fmla="*/ 293 h 700"/>
                <a:gd name="T20" fmla="*/ 27 w 471"/>
                <a:gd name="T21" fmla="*/ 322 h 700"/>
                <a:gd name="T22" fmla="*/ 87 w 471"/>
                <a:gd name="T23" fmla="*/ 324 h 700"/>
                <a:gd name="T24" fmla="*/ 140 w 471"/>
                <a:gd name="T25" fmla="*/ 351 h 700"/>
                <a:gd name="T26" fmla="*/ 155 w 471"/>
                <a:gd name="T27" fmla="*/ 425 h 700"/>
                <a:gd name="T28" fmla="*/ 151 w 471"/>
                <a:gd name="T29" fmla="*/ 456 h 700"/>
                <a:gd name="T30" fmla="*/ 171 w 471"/>
                <a:gd name="T31" fmla="*/ 458 h 700"/>
                <a:gd name="T32" fmla="*/ 177 w 471"/>
                <a:gd name="T33" fmla="*/ 489 h 700"/>
                <a:gd name="T34" fmla="*/ 184 w 471"/>
                <a:gd name="T35" fmla="*/ 503 h 700"/>
                <a:gd name="T36" fmla="*/ 171 w 471"/>
                <a:gd name="T37" fmla="*/ 543 h 700"/>
                <a:gd name="T38" fmla="*/ 163 w 471"/>
                <a:gd name="T39" fmla="*/ 580 h 700"/>
                <a:gd name="T40" fmla="*/ 192 w 471"/>
                <a:gd name="T41" fmla="*/ 663 h 700"/>
                <a:gd name="T42" fmla="*/ 225 w 471"/>
                <a:gd name="T43" fmla="*/ 687 h 700"/>
                <a:gd name="T44" fmla="*/ 250 w 471"/>
                <a:gd name="T45" fmla="*/ 698 h 700"/>
                <a:gd name="T46" fmla="*/ 264 w 471"/>
                <a:gd name="T47" fmla="*/ 648 h 700"/>
                <a:gd name="T48" fmla="*/ 268 w 471"/>
                <a:gd name="T49" fmla="*/ 607 h 700"/>
                <a:gd name="T50" fmla="*/ 304 w 471"/>
                <a:gd name="T51" fmla="*/ 594 h 700"/>
                <a:gd name="T52" fmla="*/ 366 w 471"/>
                <a:gd name="T53" fmla="*/ 534 h 700"/>
                <a:gd name="T54" fmla="*/ 396 w 471"/>
                <a:gd name="T55" fmla="*/ 520 h 700"/>
                <a:gd name="T56" fmla="*/ 388 w 471"/>
                <a:gd name="T57" fmla="*/ 495 h 700"/>
                <a:gd name="T58" fmla="*/ 361 w 471"/>
                <a:gd name="T59" fmla="*/ 497 h 700"/>
                <a:gd name="T60" fmla="*/ 390 w 471"/>
                <a:gd name="T61" fmla="*/ 481 h 700"/>
                <a:gd name="T62" fmla="*/ 384 w 471"/>
                <a:gd name="T63" fmla="*/ 458 h 700"/>
                <a:gd name="T64" fmla="*/ 423 w 471"/>
                <a:gd name="T65" fmla="*/ 489 h 700"/>
                <a:gd name="T66" fmla="*/ 409 w 471"/>
                <a:gd name="T67" fmla="*/ 439 h 700"/>
                <a:gd name="T68" fmla="*/ 413 w 471"/>
                <a:gd name="T69" fmla="*/ 408 h 700"/>
                <a:gd name="T70" fmla="*/ 440 w 471"/>
                <a:gd name="T71" fmla="*/ 388 h 700"/>
                <a:gd name="T72" fmla="*/ 444 w 471"/>
                <a:gd name="T73" fmla="*/ 344 h 700"/>
                <a:gd name="T74" fmla="*/ 411 w 471"/>
                <a:gd name="T75" fmla="*/ 320 h 700"/>
                <a:gd name="T76" fmla="*/ 407 w 471"/>
                <a:gd name="T77" fmla="*/ 223 h 700"/>
                <a:gd name="T78" fmla="*/ 438 w 471"/>
                <a:gd name="T79" fmla="*/ 175 h 700"/>
                <a:gd name="T80" fmla="*/ 432 w 471"/>
                <a:gd name="T81" fmla="*/ 140 h 700"/>
                <a:gd name="T82" fmla="*/ 454 w 471"/>
                <a:gd name="T83" fmla="*/ 74 h 700"/>
                <a:gd name="T84" fmla="*/ 436 w 471"/>
                <a:gd name="T85" fmla="*/ 101 h 700"/>
                <a:gd name="T86" fmla="*/ 417 w 471"/>
                <a:gd name="T87" fmla="*/ 90 h 700"/>
                <a:gd name="T88" fmla="*/ 380 w 471"/>
                <a:gd name="T89" fmla="*/ 84 h 700"/>
                <a:gd name="T90" fmla="*/ 353 w 471"/>
                <a:gd name="T91" fmla="*/ 74 h 700"/>
                <a:gd name="T92" fmla="*/ 388 w 471"/>
                <a:gd name="T93" fmla="*/ 53 h 700"/>
                <a:gd name="T94" fmla="*/ 366 w 471"/>
                <a:gd name="T95" fmla="*/ 26 h 700"/>
                <a:gd name="T96" fmla="*/ 322 w 471"/>
                <a:gd name="T97" fmla="*/ 31 h 700"/>
                <a:gd name="T98" fmla="*/ 335 w 471"/>
                <a:gd name="T99" fmla="*/ 0 h 700"/>
                <a:gd name="T100" fmla="*/ 244 w 471"/>
                <a:gd name="T101" fmla="*/ 55 h 700"/>
                <a:gd name="T102" fmla="*/ 217 w 471"/>
                <a:gd name="T103" fmla="*/ 61 h 700"/>
                <a:gd name="T104" fmla="*/ 182 w 471"/>
                <a:gd name="T105" fmla="*/ 78 h 700"/>
                <a:gd name="T106" fmla="*/ 109 w 471"/>
                <a:gd name="T107" fmla="*/ 80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71" h="700">
                  <a:moveTo>
                    <a:pt x="109" y="80"/>
                  </a:moveTo>
                  <a:lnTo>
                    <a:pt x="101" y="95"/>
                  </a:lnTo>
                  <a:lnTo>
                    <a:pt x="103" y="115"/>
                  </a:lnTo>
                  <a:lnTo>
                    <a:pt x="95" y="128"/>
                  </a:lnTo>
                  <a:lnTo>
                    <a:pt x="80" y="128"/>
                  </a:lnTo>
                  <a:lnTo>
                    <a:pt x="70" y="134"/>
                  </a:lnTo>
                  <a:lnTo>
                    <a:pt x="60" y="136"/>
                  </a:lnTo>
                  <a:lnTo>
                    <a:pt x="56" y="148"/>
                  </a:lnTo>
                  <a:lnTo>
                    <a:pt x="51" y="161"/>
                  </a:lnTo>
                  <a:lnTo>
                    <a:pt x="70" y="167"/>
                  </a:lnTo>
                  <a:lnTo>
                    <a:pt x="70" y="175"/>
                  </a:lnTo>
                  <a:lnTo>
                    <a:pt x="72" y="190"/>
                  </a:lnTo>
                  <a:lnTo>
                    <a:pt x="68" y="204"/>
                  </a:lnTo>
                  <a:lnTo>
                    <a:pt x="58" y="210"/>
                  </a:lnTo>
                  <a:lnTo>
                    <a:pt x="49" y="214"/>
                  </a:lnTo>
                  <a:lnTo>
                    <a:pt x="39" y="221"/>
                  </a:lnTo>
                  <a:lnTo>
                    <a:pt x="20" y="227"/>
                  </a:lnTo>
                  <a:lnTo>
                    <a:pt x="8" y="233"/>
                  </a:lnTo>
                  <a:lnTo>
                    <a:pt x="0" y="243"/>
                  </a:lnTo>
                  <a:lnTo>
                    <a:pt x="8" y="254"/>
                  </a:lnTo>
                  <a:lnTo>
                    <a:pt x="18" y="262"/>
                  </a:lnTo>
                  <a:lnTo>
                    <a:pt x="25" y="268"/>
                  </a:lnTo>
                  <a:lnTo>
                    <a:pt x="41" y="270"/>
                  </a:lnTo>
                  <a:lnTo>
                    <a:pt x="49" y="268"/>
                  </a:lnTo>
                  <a:lnTo>
                    <a:pt x="51" y="278"/>
                  </a:lnTo>
                  <a:lnTo>
                    <a:pt x="45" y="287"/>
                  </a:lnTo>
                  <a:lnTo>
                    <a:pt x="39" y="289"/>
                  </a:lnTo>
                  <a:lnTo>
                    <a:pt x="31" y="289"/>
                  </a:lnTo>
                  <a:lnTo>
                    <a:pt x="25" y="293"/>
                  </a:lnTo>
                  <a:lnTo>
                    <a:pt x="12" y="293"/>
                  </a:lnTo>
                  <a:lnTo>
                    <a:pt x="10" y="303"/>
                  </a:lnTo>
                  <a:lnTo>
                    <a:pt x="25" y="316"/>
                  </a:lnTo>
                  <a:lnTo>
                    <a:pt x="27" y="322"/>
                  </a:lnTo>
                  <a:lnTo>
                    <a:pt x="43" y="332"/>
                  </a:lnTo>
                  <a:lnTo>
                    <a:pt x="62" y="334"/>
                  </a:lnTo>
                  <a:lnTo>
                    <a:pt x="87" y="324"/>
                  </a:lnTo>
                  <a:lnTo>
                    <a:pt x="115" y="320"/>
                  </a:lnTo>
                  <a:lnTo>
                    <a:pt x="126" y="334"/>
                  </a:lnTo>
                  <a:lnTo>
                    <a:pt x="140" y="351"/>
                  </a:lnTo>
                  <a:lnTo>
                    <a:pt x="140" y="371"/>
                  </a:lnTo>
                  <a:lnTo>
                    <a:pt x="149" y="394"/>
                  </a:lnTo>
                  <a:lnTo>
                    <a:pt x="155" y="425"/>
                  </a:lnTo>
                  <a:lnTo>
                    <a:pt x="155" y="437"/>
                  </a:lnTo>
                  <a:lnTo>
                    <a:pt x="149" y="444"/>
                  </a:lnTo>
                  <a:lnTo>
                    <a:pt x="151" y="456"/>
                  </a:lnTo>
                  <a:lnTo>
                    <a:pt x="146" y="470"/>
                  </a:lnTo>
                  <a:lnTo>
                    <a:pt x="161" y="458"/>
                  </a:lnTo>
                  <a:lnTo>
                    <a:pt x="171" y="458"/>
                  </a:lnTo>
                  <a:lnTo>
                    <a:pt x="180" y="479"/>
                  </a:lnTo>
                  <a:lnTo>
                    <a:pt x="192" y="491"/>
                  </a:lnTo>
                  <a:lnTo>
                    <a:pt x="177" y="489"/>
                  </a:lnTo>
                  <a:lnTo>
                    <a:pt x="157" y="485"/>
                  </a:lnTo>
                  <a:lnTo>
                    <a:pt x="167" y="497"/>
                  </a:lnTo>
                  <a:lnTo>
                    <a:pt x="184" y="503"/>
                  </a:lnTo>
                  <a:lnTo>
                    <a:pt x="184" y="522"/>
                  </a:lnTo>
                  <a:lnTo>
                    <a:pt x="167" y="537"/>
                  </a:lnTo>
                  <a:lnTo>
                    <a:pt x="171" y="543"/>
                  </a:lnTo>
                  <a:lnTo>
                    <a:pt x="167" y="549"/>
                  </a:lnTo>
                  <a:lnTo>
                    <a:pt x="157" y="561"/>
                  </a:lnTo>
                  <a:lnTo>
                    <a:pt x="163" y="580"/>
                  </a:lnTo>
                  <a:lnTo>
                    <a:pt x="169" y="613"/>
                  </a:lnTo>
                  <a:lnTo>
                    <a:pt x="177" y="640"/>
                  </a:lnTo>
                  <a:lnTo>
                    <a:pt x="192" y="663"/>
                  </a:lnTo>
                  <a:lnTo>
                    <a:pt x="194" y="679"/>
                  </a:lnTo>
                  <a:lnTo>
                    <a:pt x="206" y="691"/>
                  </a:lnTo>
                  <a:lnTo>
                    <a:pt x="225" y="687"/>
                  </a:lnTo>
                  <a:lnTo>
                    <a:pt x="233" y="689"/>
                  </a:lnTo>
                  <a:lnTo>
                    <a:pt x="229" y="700"/>
                  </a:lnTo>
                  <a:lnTo>
                    <a:pt x="250" y="698"/>
                  </a:lnTo>
                  <a:lnTo>
                    <a:pt x="254" y="673"/>
                  </a:lnTo>
                  <a:lnTo>
                    <a:pt x="254" y="658"/>
                  </a:lnTo>
                  <a:lnTo>
                    <a:pt x="264" y="648"/>
                  </a:lnTo>
                  <a:lnTo>
                    <a:pt x="268" y="632"/>
                  </a:lnTo>
                  <a:lnTo>
                    <a:pt x="270" y="615"/>
                  </a:lnTo>
                  <a:lnTo>
                    <a:pt x="268" y="607"/>
                  </a:lnTo>
                  <a:lnTo>
                    <a:pt x="279" y="605"/>
                  </a:lnTo>
                  <a:lnTo>
                    <a:pt x="289" y="603"/>
                  </a:lnTo>
                  <a:lnTo>
                    <a:pt x="304" y="594"/>
                  </a:lnTo>
                  <a:lnTo>
                    <a:pt x="345" y="553"/>
                  </a:lnTo>
                  <a:lnTo>
                    <a:pt x="353" y="539"/>
                  </a:lnTo>
                  <a:lnTo>
                    <a:pt x="366" y="534"/>
                  </a:lnTo>
                  <a:lnTo>
                    <a:pt x="374" y="534"/>
                  </a:lnTo>
                  <a:lnTo>
                    <a:pt x="384" y="532"/>
                  </a:lnTo>
                  <a:lnTo>
                    <a:pt x="396" y="520"/>
                  </a:lnTo>
                  <a:lnTo>
                    <a:pt x="417" y="506"/>
                  </a:lnTo>
                  <a:lnTo>
                    <a:pt x="409" y="495"/>
                  </a:lnTo>
                  <a:lnTo>
                    <a:pt x="388" y="495"/>
                  </a:lnTo>
                  <a:lnTo>
                    <a:pt x="374" y="506"/>
                  </a:lnTo>
                  <a:lnTo>
                    <a:pt x="357" y="503"/>
                  </a:lnTo>
                  <a:lnTo>
                    <a:pt x="361" y="497"/>
                  </a:lnTo>
                  <a:lnTo>
                    <a:pt x="372" y="501"/>
                  </a:lnTo>
                  <a:lnTo>
                    <a:pt x="384" y="493"/>
                  </a:lnTo>
                  <a:lnTo>
                    <a:pt x="390" y="481"/>
                  </a:lnTo>
                  <a:lnTo>
                    <a:pt x="382" y="477"/>
                  </a:lnTo>
                  <a:lnTo>
                    <a:pt x="386" y="468"/>
                  </a:lnTo>
                  <a:lnTo>
                    <a:pt x="384" y="458"/>
                  </a:lnTo>
                  <a:lnTo>
                    <a:pt x="396" y="466"/>
                  </a:lnTo>
                  <a:lnTo>
                    <a:pt x="407" y="487"/>
                  </a:lnTo>
                  <a:lnTo>
                    <a:pt x="423" y="489"/>
                  </a:lnTo>
                  <a:lnTo>
                    <a:pt x="423" y="464"/>
                  </a:lnTo>
                  <a:lnTo>
                    <a:pt x="415" y="452"/>
                  </a:lnTo>
                  <a:lnTo>
                    <a:pt x="409" y="439"/>
                  </a:lnTo>
                  <a:lnTo>
                    <a:pt x="415" y="439"/>
                  </a:lnTo>
                  <a:lnTo>
                    <a:pt x="415" y="421"/>
                  </a:lnTo>
                  <a:lnTo>
                    <a:pt x="413" y="408"/>
                  </a:lnTo>
                  <a:lnTo>
                    <a:pt x="425" y="406"/>
                  </a:lnTo>
                  <a:lnTo>
                    <a:pt x="432" y="394"/>
                  </a:lnTo>
                  <a:lnTo>
                    <a:pt x="440" y="388"/>
                  </a:lnTo>
                  <a:lnTo>
                    <a:pt x="450" y="373"/>
                  </a:lnTo>
                  <a:lnTo>
                    <a:pt x="456" y="363"/>
                  </a:lnTo>
                  <a:lnTo>
                    <a:pt x="444" y="344"/>
                  </a:lnTo>
                  <a:lnTo>
                    <a:pt x="436" y="328"/>
                  </a:lnTo>
                  <a:lnTo>
                    <a:pt x="411" y="330"/>
                  </a:lnTo>
                  <a:lnTo>
                    <a:pt x="411" y="320"/>
                  </a:lnTo>
                  <a:lnTo>
                    <a:pt x="409" y="287"/>
                  </a:lnTo>
                  <a:lnTo>
                    <a:pt x="401" y="270"/>
                  </a:lnTo>
                  <a:lnTo>
                    <a:pt x="407" y="223"/>
                  </a:lnTo>
                  <a:lnTo>
                    <a:pt x="407" y="198"/>
                  </a:lnTo>
                  <a:lnTo>
                    <a:pt x="419" y="181"/>
                  </a:lnTo>
                  <a:lnTo>
                    <a:pt x="438" y="175"/>
                  </a:lnTo>
                  <a:lnTo>
                    <a:pt x="442" y="150"/>
                  </a:lnTo>
                  <a:lnTo>
                    <a:pt x="436" y="146"/>
                  </a:lnTo>
                  <a:lnTo>
                    <a:pt x="432" y="140"/>
                  </a:lnTo>
                  <a:lnTo>
                    <a:pt x="467" y="111"/>
                  </a:lnTo>
                  <a:lnTo>
                    <a:pt x="471" y="86"/>
                  </a:lnTo>
                  <a:lnTo>
                    <a:pt x="454" y="74"/>
                  </a:lnTo>
                  <a:lnTo>
                    <a:pt x="444" y="80"/>
                  </a:lnTo>
                  <a:lnTo>
                    <a:pt x="436" y="80"/>
                  </a:lnTo>
                  <a:lnTo>
                    <a:pt x="436" y="101"/>
                  </a:lnTo>
                  <a:lnTo>
                    <a:pt x="380" y="146"/>
                  </a:lnTo>
                  <a:lnTo>
                    <a:pt x="409" y="105"/>
                  </a:lnTo>
                  <a:lnTo>
                    <a:pt x="417" y="90"/>
                  </a:lnTo>
                  <a:lnTo>
                    <a:pt x="427" y="68"/>
                  </a:lnTo>
                  <a:lnTo>
                    <a:pt x="405" y="70"/>
                  </a:lnTo>
                  <a:lnTo>
                    <a:pt x="380" y="84"/>
                  </a:lnTo>
                  <a:lnTo>
                    <a:pt x="394" y="68"/>
                  </a:lnTo>
                  <a:lnTo>
                    <a:pt x="390" y="59"/>
                  </a:lnTo>
                  <a:lnTo>
                    <a:pt x="353" y="74"/>
                  </a:lnTo>
                  <a:lnTo>
                    <a:pt x="349" y="80"/>
                  </a:lnTo>
                  <a:lnTo>
                    <a:pt x="359" y="59"/>
                  </a:lnTo>
                  <a:lnTo>
                    <a:pt x="388" y="53"/>
                  </a:lnTo>
                  <a:lnTo>
                    <a:pt x="392" y="35"/>
                  </a:lnTo>
                  <a:lnTo>
                    <a:pt x="372" y="24"/>
                  </a:lnTo>
                  <a:lnTo>
                    <a:pt x="366" y="26"/>
                  </a:lnTo>
                  <a:lnTo>
                    <a:pt x="366" y="16"/>
                  </a:lnTo>
                  <a:lnTo>
                    <a:pt x="347" y="22"/>
                  </a:lnTo>
                  <a:lnTo>
                    <a:pt x="322" y="31"/>
                  </a:lnTo>
                  <a:lnTo>
                    <a:pt x="310" y="37"/>
                  </a:lnTo>
                  <a:lnTo>
                    <a:pt x="345" y="10"/>
                  </a:lnTo>
                  <a:lnTo>
                    <a:pt x="335" y="0"/>
                  </a:lnTo>
                  <a:lnTo>
                    <a:pt x="258" y="8"/>
                  </a:lnTo>
                  <a:lnTo>
                    <a:pt x="227" y="28"/>
                  </a:lnTo>
                  <a:lnTo>
                    <a:pt x="244" y="55"/>
                  </a:lnTo>
                  <a:lnTo>
                    <a:pt x="221" y="37"/>
                  </a:lnTo>
                  <a:lnTo>
                    <a:pt x="211" y="39"/>
                  </a:lnTo>
                  <a:lnTo>
                    <a:pt x="217" y="61"/>
                  </a:lnTo>
                  <a:lnTo>
                    <a:pt x="198" y="49"/>
                  </a:lnTo>
                  <a:lnTo>
                    <a:pt x="175" y="53"/>
                  </a:lnTo>
                  <a:lnTo>
                    <a:pt x="182" y="78"/>
                  </a:lnTo>
                  <a:lnTo>
                    <a:pt x="161" y="64"/>
                  </a:lnTo>
                  <a:lnTo>
                    <a:pt x="136" y="70"/>
                  </a:lnTo>
                  <a:lnTo>
                    <a:pt x="109" y="8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0" name="Freeform 93"/>
            <p:cNvSpPr>
              <a:spLocks noEditPoints="1"/>
            </p:cNvSpPr>
            <p:nvPr/>
          </p:nvSpPr>
          <p:spPr bwMode="auto">
            <a:xfrm>
              <a:off x="515" y="381"/>
              <a:ext cx="1319" cy="1388"/>
            </a:xfrm>
            <a:custGeom>
              <a:avLst/>
              <a:gdLst>
                <a:gd name="T0" fmla="*/ 622 w 1175"/>
                <a:gd name="T1" fmla="*/ 552 h 1238"/>
                <a:gd name="T2" fmla="*/ 841 w 1175"/>
                <a:gd name="T3" fmla="*/ 713 h 1238"/>
                <a:gd name="T4" fmla="*/ 1047 w 1175"/>
                <a:gd name="T5" fmla="*/ 1178 h 1238"/>
                <a:gd name="T6" fmla="*/ 1037 w 1175"/>
                <a:gd name="T7" fmla="*/ 1103 h 1238"/>
                <a:gd name="T8" fmla="*/ 1153 w 1175"/>
                <a:gd name="T9" fmla="*/ 971 h 1238"/>
                <a:gd name="T10" fmla="*/ 985 w 1175"/>
                <a:gd name="T11" fmla="*/ 814 h 1238"/>
                <a:gd name="T12" fmla="*/ 870 w 1175"/>
                <a:gd name="T13" fmla="*/ 955 h 1238"/>
                <a:gd name="T14" fmla="*/ 739 w 1175"/>
                <a:gd name="T15" fmla="*/ 965 h 1238"/>
                <a:gd name="T16" fmla="*/ 735 w 1175"/>
                <a:gd name="T17" fmla="*/ 719 h 1238"/>
                <a:gd name="T18" fmla="*/ 822 w 1175"/>
                <a:gd name="T19" fmla="*/ 556 h 1238"/>
                <a:gd name="T20" fmla="*/ 723 w 1175"/>
                <a:gd name="T21" fmla="*/ 548 h 1238"/>
                <a:gd name="T22" fmla="*/ 671 w 1175"/>
                <a:gd name="T23" fmla="*/ 558 h 1238"/>
                <a:gd name="T24" fmla="*/ 518 w 1175"/>
                <a:gd name="T25" fmla="*/ 579 h 1238"/>
                <a:gd name="T26" fmla="*/ 370 w 1175"/>
                <a:gd name="T27" fmla="*/ 581 h 1238"/>
                <a:gd name="T28" fmla="*/ 177 w 1175"/>
                <a:gd name="T29" fmla="*/ 498 h 1238"/>
                <a:gd name="T30" fmla="*/ 89 w 1175"/>
                <a:gd name="T31" fmla="*/ 851 h 1238"/>
                <a:gd name="T32" fmla="*/ 675 w 1175"/>
                <a:gd name="T33" fmla="*/ 1122 h 1238"/>
                <a:gd name="T34" fmla="*/ 851 w 1175"/>
                <a:gd name="T35" fmla="*/ 1184 h 1238"/>
                <a:gd name="T36" fmla="*/ 810 w 1175"/>
                <a:gd name="T37" fmla="*/ 1233 h 1238"/>
                <a:gd name="T38" fmla="*/ 624 w 1175"/>
                <a:gd name="T39" fmla="*/ 252 h 1238"/>
                <a:gd name="T40" fmla="*/ 576 w 1175"/>
                <a:gd name="T41" fmla="*/ 244 h 1238"/>
                <a:gd name="T42" fmla="*/ 277 w 1175"/>
                <a:gd name="T43" fmla="*/ 422 h 1238"/>
                <a:gd name="T44" fmla="*/ 314 w 1175"/>
                <a:gd name="T45" fmla="*/ 316 h 1238"/>
                <a:gd name="T46" fmla="*/ 337 w 1175"/>
                <a:gd name="T47" fmla="*/ 219 h 1238"/>
                <a:gd name="T48" fmla="*/ 394 w 1175"/>
                <a:gd name="T49" fmla="*/ 153 h 1238"/>
                <a:gd name="T50" fmla="*/ 438 w 1175"/>
                <a:gd name="T51" fmla="*/ 339 h 1238"/>
                <a:gd name="T52" fmla="*/ 473 w 1175"/>
                <a:gd name="T53" fmla="*/ 273 h 1238"/>
                <a:gd name="T54" fmla="*/ 622 w 1175"/>
                <a:gd name="T55" fmla="*/ 393 h 1238"/>
                <a:gd name="T56" fmla="*/ 551 w 1175"/>
                <a:gd name="T57" fmla="*/ 370 h 1238"/>
                <a:gd name="T58" fmla="*/ 491 w 1175"/>
                <a:gd name="T59" fmla="*/ 106 h 1238"/>
                <a:gd name="T60" fmla="*/ 690 w 1175"/>
                <a:gd name="T61" fmla="*/ 97 h 1238"/>
                <a:gd name="T62" fmla="*/ 657 w 1175"/>
                <a:gd name="T63" fmla="*/ 35 h 1238"/>
                <a:gd name="T64" fmla="*/ 868 w 1175"/>
                <a:gd name="T65" fmla="*/ 374 h 1238"/>
                <a:gd name="T66" fmla="*/ 826 w 1175"/>
                <a:gd name="T67" fmla="*/ 120 h 1238"/>
                <a:gd name="T68" fmla="*/ 899 w 1175"/>
                <a:gd name="T69" fmla="*/ 147 h 1238"/>
                <a:gd name="T70" fmla="*/ 713 w 1175"/>
                <a:gd name="T71" fmla="*/ 271 h 1238"/>
                <a:gd name="T72" fmla="*/ 824 w 1175"/>
                <a:gd name="T73" fmla="*/ 271 h 1238"/>
                <a:gd name="T74" fmla="*/ 713 w 1175"/>
                <a:gd name="T75" fmla="*/ 337 h 1238"/>
                <a:gd name="T76" fmla="*/ 752 w 1175"/>
                <a:gd name="T77" fmla="*/ 341 h 1238"/>
                <a:gd name="T78" fmla="*/ 975 w 1175"/>
                <a:gd name="T79" fmla="*/ 665 h 1238"/>
                <a:gd name="T80" fmla="*/ 1045 w 1175"/>
                <a:gd name="T81" fmla="*/ 723 h 1238"/>
                <a:gd name="T82" fmla="*/ 1072 w 1175"/>
                <a:gd name="T83" fmla="*/ 678 h 1238"/>
                <a:gd name="T84" fmla="*/ 1068 w 1175"/>
                <a:gd name="T85" fmla="*/ 601 h 1238"/>
                <a:gd name="T86" fmla="*/ 1023 w 1175"/>
                <a:gd name="T87" fmla="*/ 513 h 1238"/>
                <a:gd name="T88" fmla="*/ 884 w 1175"/>
                <a:gd name="T89" fmla="*/ 473 h 1238"/>
                <a:gd name="T90" fmla="*/ 851 w 1175"/>
                <a:gd name="T91" fmla="*/ 533 h 1238"/>
                <a:gd name="T92" fmla="*/ 1095 w 1175"/>
                <a:gd name="T93" fmla="*/ 141 h 1238"/>
                <a:gd name="T94" fmla="*/ 1025 w 1175"/>
                <a:gd name="T95" fmla="*/ 205 h 1238"/>
                <a:gd name="T96" fmla="*/ 958 w 1175"/>
                <a:gd name="T97" fmla="*/ 302 h 1238"/>
                <a:gd name="T98" fmla="*/ 917 w 1175"/>
                <a:gd name="T99" fmla="*/ 254 h 1238"/>
                <a:gd name="T100" fmla="*/ 936 w 1175"/>
                <a:gd name="T101" fmla="*/ 174 h 1238"/>
                <a:gd name="T102" fmla="*/ 1002 w 1175"/>
                <a:gd name="T103" fmla="*/ 133 h 1238"/>
                <a:gd name="T104" fmla="*/ 921 w 1175"/>
                <a:gd name="T105" fmla="*/ 89 h 1238"/>
                <a:gd name="T106" fmla="*/ 1004 w 1175"/>
                <a:gd name="T107" fmla="*/ 48 h 1238"/>
                <a:gd name="T108" fmla="*/ 1109 w 1175"/>
                <a:gd name="T109" fmla="*/ 87 h 1238"/>
                <a:gd name="T110" fmla="*/ 343 w 1175"/>
                <a:gd name="T111" fmla="*/ 517 h 1238"/>
                <a:gd name="T112" fmla="*/ 558 w 1175"/>
                <a:gd name="T113" fmla="*/ 496 h 1238"/>
                <a:gd name="T114" fmla="*/ 390 w 1175"/>
                <a:gd name="T115" fmla="*/ 368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75" h="1238">
                  <a:moveTo>
                    <a:pt x="897" y="550"/>
                  </a:moveTo>
                  <a:lnTo>
                    <a:pt x="884" y="566"/>
                  </a:lnTo>
                  <a:lnTo>
                    <a:pt x="892" y="583"/>
                  </a:lnTo>
                  <a:lnTo>
                    <a:pt x="911" y="577"/>
                  </a:lnTo>
                  <a:lnTo>
                    <a:pt x="897" y="550"/>
                  </a:lnTo>
                  <a:close/>
                  <a:moveTo>
                    <a:pt x="595" y="523"/>
                  </a:moveTo>
                  <a:lnTo>
                    <a:pt x="578" y="531"/>
                  </a:lnTo>
                  <a:lnTo>
                    <a:pt x="568" y="544"/>
                  </a:lnTo>
                  <a:lnTo>
                    <a:pt x="595" y="552"/>
                  </a:lnTo>
                  <a:lnTo>
                    <a:pt x="622" y="552"/>
                  </a:lnTo>
                  <a:lnTo>
                    <a:pt x="613" y="527"/>
                  </a:lnTo>
                  <a:lnTo>
                    <a:pt x="597" y="504"/>
                  </a:lnTo>
                  <a:lnTo>
                    <a:pt x="595" y="523"/>
                  </a:lnTo>
                  <a:close/>
                  <a:moveTo>
                    <a:pt x="760" y="707"/>
                  </a:moveTo>
                  <a:lnTo>
                    <a:pt x="754" y="717"/>
                  </a:lnTo>
                  <a:lnTo>
                    <a:pt x="773" y="723"/>
                  </a:lnTo>
                  <a:lnTo>
                    <a:pt x="791" y="729"/>
                  </a:lnTo>
                  <a:lnTo>
                    <a:pt x="812" y="715"/>
                  </a:lnTo>
                  <a:lnTo>
                    <a:pt x="830" y="721"/>
                  </a:lnTo>
                  <a:lnTo>
                    <a:pt x="841" y="713"/>
                  </a:lnTo>
                  <a:lnTo>
                    <a:pt x="820" y="694"/>
                  </a:lnTo>
                  <a:lnTo>
                    <a:pt x="791" y="680"/>
                  </a:lnTo>
                  <a:lnTo>
                    <a:pt x="789" y="667"/>
                  </a:lnTo>
                  <a:lnTo>
                    <a:pt x="777" y="682"/>
                  </a:lnTo>
                  <a:lnTo>
                    <a:pt x="760" y="707"/>
                  </a:lnTo>
                  <a:close/>
                  <a:moveTo>
                    <a:pt x="915" y="1188"/>
                  </a:moveTo>
                  <a:lnTo>
                    <a:pt x="981" y="1163"/>
                  </a:lnTo>
                  <a:lnTo>
                    <a:pt x="1010" y="1140"/>
                  </a:lnTo>
                  <a:lnTo>
                    <a:pt x="1008" y="1178"/>
                  </a:lnTo>
                  <a:lnTo>
                    <a:pt x="1047" y="1178"/>
                  </a:lnTo>
                  <a:lnTo>
                    <a:pt x="1045" y="1190"/>
                  </a:lnTo>
                  <a:lnTo>
                    <a:pt x="1035" y="1211"/>
                  </a:lnTo>
                  <a:lnTo>
                    <a:pt x="1085" y="1196"/>
                  </a:lnTo>
                  <a:lnTo>
                    <a:pt x="1082" y="1182"/>
                  </a:lnTo>
                  <a:lnTo>
                    <a:pt x="1051" y="1155"/>
                  </a:lnTo>
                  <a:lnTo>
                    <a:pt x="1049" y="1136"/>
                  </a:lnTo>
                  <a:lnTo>
                    <a:pt x="1037" y="1128"/>
                  </a:lnTo>
                  <a:lnTo>
                    <a:pt x="1037" y="1124"/>
                  </a:lnTo>
                  <a:lnTo>
                    <a:pt x="1058" y="1109"/>
                  </a:lnTo>
                  <a:lnTo>
                    <a:pt x="1037" y="1103"/>
                  </a:lnTo>
                  <a:lnTo>
                    <a:pt x="1000" y="1124"/>
                  </a:lnTo>
                  <a:lnTo>
                    <a:pt x="961" y="1153"/>
                  </a:lnTo>
                  <a:lnTo>
                    <a:pt x="1002" y="1101"/>
                  </a:lnTo>
                  <a:lnTo>
                    <a:pt x="1049" y="1076"/>
                  </a:lnTo>
                  <a:lnTo>
                    <a:pt x="1118" y="1076"/>
                  </a:lnTo>
                  <a:lnTo>
                    <a:pt x="1140" y="1058"/>
                  </a:lnTo>
                  <a:lnTo>
                    <a:pt x="1165" y="1045"/>
                  </a:lnTo>
                  <a:lnTo>
                    <a:pt x="1175" y="1004"/>
                  </a:lnTo>
                  <a:lnTo>
                    <a:pt x="1161" y="992"/>
                  </a:lnTo>
                  <a:lnTo>
                    <a:pt x="1153" y="971"/>
                  </a:lnTo>
                  <a:lnTo>
                    <a:pt x="1134" y="971"/>
                  </a:lnTo>
                  <a:lnTo>
                    <a:pt x="1120" y="971"/>
                  </a:lnTo>
                  <a:lnTo>
                    <a:pt x="1103" y="919"/>
                  </a:lnTo>
                  <a:lnTo>
                    <a:pt x="1103" y="926"/>
                  </a:lnTo>
                  <a:lnTo>
                    <a:pt x="1070" y="857"/>
                  </a:lnTo>
                  <a:lnTo>
                    <a:pt x="1047" y="835"/>
                  </a:lnTo>
                  <a:lnTo>
                    <a:pt x="1029" y="868"/>
                  </a:lnTo>
                  <a:lnTo>
                    <a:pt x="994" y="864"/>
                  </a:lnTo>
                  <a:lnTo>
                    <a:pt x="992" y="829"/>
                  </a:lnTo>
                  <a:lnTo>
                    <a:pt x="985" y="814"/>
                  </a:lnTo>
                  <a:lnTo>
                    <a:pt x="985" y="802"/>
                  </a:lnTo>
                  <a:lnTo>
                    <a:pt x="963" y="785"/>
                  </a:lnTo>
                  <a:lnTo>
                    <a:pt x="936" y="769"/>
                  </a:lnTo>
                  <a:lnTo>
                    <a:pt x="894" y="767"/>
                  </a:lnTo>
                  <a:lnTo>
                    <a:pt x="872" y="783"/>
                  </a:lnTo>
                  <a:lnTo>
                    <a:pt x="870" y="804"/>
                  </a:lnTo>
                  <a:lnTo>
                    <a:pt x="878" y="829"/>
                  </a:lnTo>
                  <a:lnTo>
                    <a:pt x="863" y="872"/>
                  </a:lnTo>
                  <a:lnTo>
                    <a:pt x="880" y="932"/>
                  </a:lnTo>
                  <a:lnTo>
                    <a:pt x="870" y="955"/>
                  </a:lnTo>
                  <a:lnTo>
                    <a:pt x="847" y="975"/>
                  </a:lnTo>
                  <a:lnTo>
                    <a:pt x="851" y="1008"/>
                  </a:lnTo>
                  <a:lnTo>
                    <a:pt x="861" y="1031"/>
                  </a:lnTo>
                  <a:lnTo>
                    <a:pt x="851" y="1056"/>
                  </a:lnTo>
                  <a:lnTo>
                    <a:pt x="828" y="1052"/>
                  </a:lnTo>
                  <a:lnTo>
                    <a:pt x="822" y="1035"/>
                  </a:lnTo>
                  <a:lnTo>
                    <a:pt x="810" y="1019"/>
                  </a:lnTo>
                  <a:lnTo>
                    <a:pt x="801" y="994"/>
                  </a:lnTo>
                  <a:lnTo>
                    <a:pt x="781" y="965"/>
                  </a:lnTo>
                  <a:lnTo>
                    <a:pt x="739" y="965"/>
                  </a:lnTo>
                  <a:lnTo>
                    <a:pt x="698" y="924"/>
                  </a:lnTo>
                  <a:lnTo>
                    <a:pt x="671" y="893"/>
                  </a:lnTo>
                  <a:lnTo>
                    <a:pt x="665" y="876"/>
                  </a:lnTo>
                  <a:lnTo>
                    <a:pt x="655" y="878"/>
                  </a:lnTo>
                  <a:lnTo>
                    <a:pt x="636" y="847"/>
                  </a:lnTo>
                  <a:lnTo>
                    <a:pt x="675" y="775"/>
                  </a:lnTo>
                  <a:lnTo>
                    <a:pt x="694" y="760"/>
                  </a:lnTo>
                  <a:lnTo>
                    <a:pt x="698" y="748"/>
                  </a:lnTo>
                  <a:lnTo>
                    <a:pt x="725" y="754"/>
                  </a:lnTo>
                  <a:lnTo>
                    <a:pt x="735" y="719"/>
                  </a:lnTo>
                  <a:lnTo>
                    <a:pt x="754" y="678"/>
                  </a:lnTo>
                  <a:lnTo>
                    <a:pt x="752" y="665"/>
                  </a:lnTo>
                  <a:lnTo>
                    <a:pt x="721" y="649"/>
                  </a:lnTo>
                  <a:lnTo>
                    <a:pt x="748" y="647"/>
                  </a:lnTo>
                  <a:lnTo>
                    <a:pt x="781" y="651"/>
                  </a:lnTo>
                  <a:lnTo>
                    <a:pt x="789" y="639"/>
                  </a:lnTo>
                  <a:lnTo>
                    <a:pt x="814" y="639"/>
                  </a:lnTo>
                  <a:lnTo>
                    <a:pt x="828" y="616"/>
                  </a:lnTo>
                  <a:lnTo>
                    <a:pt x="828" y="585"/>
                  </a:lnTo>
                  <a:lnTo>
                    <a:pt x="822" y="556"/>
                  </a:lnTo>
                  <a:lnTo>
                    <a:pt x="832" y="544"/>
                  </a:lnTo>
                  <a:lnTo>
                    <a:pt x="820" y="537"/>
                  </a:lnTo>
                  <a:lnTo>
                    <a:pt x="816" y="513"/>
                  </a:lnTo>
                  <a:lnTo>
                    <a:pt x="787" y="508"/>
                  </a:lnTo>
                  <a:lnTo>
                    <a:pt x="791" y="541"/>
                  </a:lnTo>
                  <a:lnTo>
                    <a:pt x="773" y="575"/>
                  </a:lnTo>
                  <a:lnTo>
                    <a:pt x="754" y="575"/>
                  </a:lnTo>
                  <a:lnTo>
                    <a:pt x="748" y="539"/>
                  </a:lnTo>
                  <a:lnTo>
                    <a:pt x="742" y="544"/>
                  </a:lnTo>
                  <a:lnTo>
                    <a:pt x="723" y="548"/>
                  </a:lnTo>
                  <a:lnTo>
                    <a:pt x="708" y="541"/>
                  </a:lnTo>
                  <a:lnTo>
                    <a:pt x="692" y="531"/>
                  </a:lnTo>
                  <a:lnTo>
                    <a:pt x="700" y="498"/>
                  </a:lnTo>
                  <a:lnTo>
                    <a:pt x="692" y="477"/>
                  </a:lnTo>
                  <a:lnTo>
                    <a:pt x="671" y="442"/>
                  </a:lnTo>
                  <a:lnTo>
                    <a:pt x="657" y="438"/>
                  </a:lnTo>
                  <a:lnTo>
                    <a:pt x="646" y="459"/>
                  </a:lnTo>
                  <a:lnTo>
                    <a:pt x="634" y="490"/>
                  </a:lnTo>
                  <a:lnTo>
                    <a:pt x="663" y="527"/>
                  </a:lnTo>
                  <a:lnTo>
                    <a:pt x="671" y="558"/>
                  </a:lnTo>
                  <a:lnTo>
                    <a:pt x="675" y="572"/>
                  </a:lnTo>
                  <a:lnTo>
                    <a:pt x="640" y="597"/>
                  </a:lnTo>
                  <a:lnTo>
                    <a:pt x="628" y="593"/>
                  </a:lnTo>
                  <a:lnTo>
                    <a:pt x="630" y="568"/>
                  </a:lnTo>
                  <a:lnTo>
                    <a:pt x="611" y="568"/>
                  </a:lnTo>
                  <a:lnTo>
                    <a:pt x="595" y="572"/>
                  </a:lnTo>
                  <a:lnTo>
                    <a:pt x="584" y="595"/>
                  </a:lnTo>
                  <a:lnTo>
                    <a:pt x="562" y="593"/>
                  </a:lnTo>
                  <a:lnTo>
                    <a:pt x="537" y="591"/>
                  </a:lnTo>
                  <a:lnTo>
                    <a:pt x="518" y="579"/>
                  </a:lnTo>
                  <a:lnTo>
                    <a:pt x="500" y="562"/>
                  </a:lnTo>
                  <a:lnTo>
                    <a:pt x="483" y="552"/>
                  </a:lnTo>
                  <a:lnTo>
                    <a:pt x="456" y="579"/>
                  </a:lnTo>
                  <a:lnTo>
                    <a:pt x="456" y="597"/>
                  </a:lnTo>
                  <a:lnTo>
                    <a:pt x="456" y="626"/>
                  </a:lnTo>
                  <a:lnTo>
                    <a:pt x="452" y="632"/>
                  </a:lnTo>
                  <a:lnTo>
                    <a:pt x="425" y="581"/>
                  </a:lnTo>
                  <a:lnTo>
                    <a:pt x="413" y="597"/>
                  </a:lnTo>
                  <a:lnTo>
                    <a:pt x="384" y="595"/>
                  </a:lnTo>
                  <a:lnTo>
                    <a:pt x="370" y="581"/>
                  </a:lnTo>
                  <a:lnTo>
                    <a:pt x="365" y="548"/>
                  </a:lnTo>
                  <a:lnTo>
                    <a:pt x="353" y="548"/>
                  </a:lnTo>
                  <a:lnTo>
                    <a:pt x="341" y="550"/>
                  </a:lnTo>
                  <a:lnTo>
                    <a:pt x="283" y="515"/>
                  </a:lnTo>
                  <a:lnTo>
                    <a:pt x="250" y="504"/>
                  </a:lnTo>
                  <a:lnTo>
                    <a:pt x="239" y="517"/>
                  </a:lnTo>
                  <a:lnTo>
                    <a:pt x="227" y="521"/>
                  </a:lnTo>
                  <a:lnTo>
                    <a:pt x="204" y="486"/>
                  </a:lnTo>
                  <a:lnTo>
                    <a:pt x="196" y="494"/>
                  </a:lnTo>
                  <a:lnTo>
                    <a:pt x="177" y="498"/>
                  </a:lnTo>
                  <a:lnTo>
                    <a:pt x="161" y="502"/>
                  </a:lnTo>
                  <a:lnTo>
                    <a:pt x="144" y="517"/>
                  </a:lnTo>
                  <a:lnTo>
                    <a:pt x="99" y="541"/>
                  </a:lnTo>
                  <a:lnTo>
                    <a:pt x="70" y="548"/>
                  </a:lnTo>
                  <a:lnTo>
                    <a:pt x="35" y="523"/>
                  </a:lnTo>
                  <a:lnTo>
                    <a:pt x="0" y="510"/>
                  </a:lnTo>
                  <a:lnTo>
                    <a:pt x="0" y="824"/>
                  </a:lnTo>
                  <a:lnTo>
                    <a:pt x="12" y="826"/>
                  </a:lnTo>
                  <a:lnTo>
                    <a:pt x="64" y="866"/>
                  </a:lnTo>
                  <a:lnTo>
                    <a:pt x="89" y="851"/>
                  </a:lnTo>
                  <a:lnTo>
                    <a:pt x="142" y="919"/>
                  </a:lnTo>
                  <a:lnTo>
                    <a:pt x="165" y="948"/>
                  </a:lnTo>
                  <a:lnTo>
                    <a:pt x="157" y="994"/>
                  </a:lnTo>
                  <a:lnTo>
                    <a:pt x="163" y="1014"/>
                  </a:lnTo>
                  <a:lnTo>
                    <a:pt x="186" y="1047"/>
                  </a:lnTo>
                  <a:lnTo>
                    <a:pt x="231" y="1078"/>
                  </a:lnTo>
                  <a:lnTo>
                    <a:pt x="250" y="1107"/>
                  </a:lnTo>
                  <a:lnTo>
                    <a:pt x="638" y="1107"/>
                  </a:lnTo>
                  <a:lnTo>
                    <a:pt x="651" y="1120"/>
                  </a:lnTo>
                  <a:lnTo>
                    <a:pt x="675" y="1122"/>
                  </a:lnTo>
                  <a:lnTo>
                    <a:pt x="694" y="1128"/>
                  </a:lnTo>
                  <a:lnTo>
                    <a:pt x="721" y="1118"/>
                  </a:lnTo>
                  <a:lnTo>
                    <a:pt x="762" y="1128"/>
                  </a:lnTo>
                  <a:lnTo>
                    <a:pt x="779" y="1145"/>
                  </a:lnTo>
                  <a:lnTo>
                    <a:pt x="785" y="1159"/>
                  </a:lnTo>
                  <a:lnTo>
                    <a:pt x="806" y="1159"/>
                  </a:lnTo>
                  <a:lnTo>
                    <a:pt x="826" y="1159"/>
                  </a:lnTo>
                  <a:lnTo>
                    <a:pt x="849" y="1176"/>
                  </a:lnTo>
                  <a:lnTo>
                    <a:pt x="849" y="1182"/>
                  </a:lnTo>
                  <a:lnTo>
                    <a:pt x="851" y="1184"/>
                  </a:lnTo>
                  <a:lnTo>
                    <a:pt x="841" y="1192"/>
                  </a:lnTo>
                  <a:lnTo>
                    <a:pt x="830" y="1188"/>
                  </a:lnTo>
                  <a:lnTo>
                    <a:pt x="822" y="1184"/>
                  </a:lnTo>
                  <a:lnTo>
                    <a:pt x="826" y="1194"/>
                  </a:lnTo>
                  <a:lnTo>
                    <a:pt x="822" y="1207"/>
                  </a:lnTo>
                  <a:lnTo>
                    <a:pt x="808" y="1213"/>
                  </a:lnTo>
                  <a:lnTo>
                    <a:pt x="810" y="1221"/>
                  </a:lnTo>
                  <a:lnTo>
                    <a:pt x="814" y="1221"/>
                  </a:lnTo>
                  <a:lnTo>
                    <a:pt x="814" y="1229"/>
                  </a:lnTo>
                  <a:lnTo>
                    <a:pt x="810" y="1233"/>
                  </a:lnTo>
                  <a:lnTo>
                    <a:pt x="810" y="1238"/>
                  </a:lnTo>
                  <a:lnTo>
                    <a:pt x="828" y="1223"/>
                  </a:lnTo>
                  <a:lnTo>
                    <a:pt x="841" y="1211"/>
                  </a:lnTo>
                  <a:lnTo>
                    <a:pt x="863" y="1211"/>
                  </a:lnTo>
                  <a:lnTo>
                    <a:pt x="859" y="1202"/>
                  </a:lnTo>
                  <a:lnTo>
                    <a:pt x="882" y="1184"/>
                  </a:lnTo>
                  <a:lnTo>
                    <a:pt x="905" y="1184"/>
                  </a:lnTo>
                  <a:lnTo>
                    <a:pt x="915" y="1188"/>
                  </a:lnTo>
                  <a:close/>
                  <a:moveTo>
                    <a:pt x="630" y="240"/>
                  </a:moveTo>
                  <a:lnTo>
                    <a:pt x="624" y="252"/>
                  </a:lnTo>
                  <a:lnTo>
                    <a:pt x="618" y="279"/>
                  </a:lnTo>
                  <a:lnTo>
                    <a:pt x="636" y="275"/>
                  </a:lnTo>
                  <a:lnTo>
                    <a:pt x="642" y="285"/>
                  </a:lnTo>
                  <a:lnTo>
                    <a:pt x="661" y="277"/>
                  </a:lnTo>
                  <a:lnTo>
                    <a:pt x="661" y="252"/>
                  </a:lnTo>
                  <a:lnTo>
                    <a:pt x="630" y="240"/>
                  </a:lnTo>
                  <a:close/>
                  <a:moveTo>
                    <a:pt x="553" y="186"/>
                  </a:moveTo>
                  <a:lnTo>
                    <a:pt x="537" y="199"/>
                  </a:lnTo>
                  <a:lnTo>
                    <a:pt x="553" y="230"/>
                  </a:lnTo>
                  <a:lnTo>
                    <a:pt x="576" y="244"/>
                  </a:lnTo>
                  <a:lnTo>
                    <a:pt x="611" y="269"/>
                  </a:lnTo>
                  <a:lnTo>
                    <a:pt x="605" y="269"/>
                  </a:lnTo>
                  <a:lnTo>
                    <a:pt x="597" y="223"/>
                  </a:lnTo>
                  <a:lnTo>
                    <a:pt x="601" y="180"/>
                  </a:lnTo>
                  <a:lnTo>
                    <a:pt x="574" y="180"/>
                  </a:lnTo>
                  <a:lnTo>
                    <a:pt x="578" y="215"/>
                  </a:lnTo>
                  <a:lnTo>
                    <a:pt x="553" y="186"/>
                  </a:lnTo>
                  <a:close/>
                  <a:moveTo>
                    <a:pt x="266" y="389"/>
                  </a:moveTo>
                  <a:lnTo>
                    <a:pt x="266" y="403"/>
                  </a:lnTo>
                  <a:lnTo>
                    <a:pt x="277" y="422"/>
                  </a:lnTo>
                  <a:lnTo>
                    <a:pt x="297" y="422"/>
                  </a:lnTo>
                  <a:lnTo>
                    <a:pt x="310" y="418"/>
                  </a:lnTo>
                  <a:lnTo>
                    <a:pt x="320" y="403"/>
                  </a:lnTo>
                  <a:lnTo>
                    <a:pt x="349" y="356"/>
                  </a:lnTo>
                  <a:lnTo>
                    <a:pt x="372" y="345"/>
                  </a:lnTo>
                  <a:lnTo>
                    <a:pt x="374" y="337"/>
                  </a:lnTo>
                  <a:lnTo>
                    <a:pt x="355" y="325"/>
                  </a:lnTo>
                  <a:lnTo>
                    <a:pt x="339" y="325"/>
                  </a:lnTo>
                  <a:lnTo>
                    <a:pt x="330" y="320"/>
                  </a:lnTo>
                  <a:lnTo>
                    <a:pt x="314" y="316"/>
                  </a:lnTo>
                  <a:lnTo>
                    <a:pt x="306" y="312"/>
                  </a:lnTo>
                  <a:lnTo>
                    <a:pt x="303" y="304"/>
                  </a:lnTo>
                  <a:lnTo>
                    <a:pt x="289" y="312"/>
                  </a:lnTo>
                  <a:lnTo>
                    <a:pt x="277" y="329"/>
                  </a:lnTo>
                  <a:lnTo>
                    <a:pt x="279" y="345"/>
                  </a:lnTo>
                  <a:lnTo>
                    <a:pt x="268" y="370"/>
                  </a:lnTo>
                  <a:lnTo>
                    <a:pt x="266" y="389"/>
                  </a:lnTo>
                  <a:close/>
                  <a:moveTo>
                    <a:pt x="394" y="153"/>
                  </a:moveTo>
                  <a:lnTo>
                    <a:pt x="349" y="203"/>
                  </a:lnTo>
                  <a:lnTo>
                    <a:pt x="337" y="219"/>
                  </a:lnTo>
                  <a:lnTo>
                    <a:pt x="374" y="223"/>
                  </a:lnTo>
                  <a:lnTo>
                    <a:pt x="390" y="228"/>
                  </a:lnTo>
                  <a:lnTo>
                    <a:pt x="413" y="194"/>
                  </a:lnTo>
                  <a:lnTo>
                    <a:pt x="440" y="192"/>
                  </a:lnTo>
                  <a:lnTo>
                    <a:pt x="440" y="178"/>
                  </a:lnTo>
                  <a:lnTo>
                    <a:pt x="446" y="161"/>
                  </a:lnTo>
                  <a:lnTo>
                    <a:pt x="454" y="147"/>
                  </a:lnTo>
                  <a:lnTo>
                    <a:pt x="438" y="133"/>
                  </a:lnTo>
                  <a:lnTo>
                    <a:pt x="423" y="145"/>
                  </a:lnTo>
                  <a:lnTo>
                    <a:pt x="394" y="153"/>
                  </a:lnTo>
                  <a:close/>
                  <a:moveTo>
                    <a:pt x="429" y="265"/>
                  </a:moveTo>
                  <a:lnTo>
                    <a:pt x="407" y="279"/>
                  </a:lnTo>
                  <a:lnTo>
                    <a:pt x="405" y="292"/>
                  </a:lnTo>
                  <a:lnTo>
                    <a:pt x="405" y="314"/>
                  </a:lnTo>
                  <a:lnTo>
                    <a:pt x="419" y="320"/>
                  </a:lnTo>
                  <a:lnTo>
                    <a:pt x="429" y="306"/>
                  </a:lnTo>
                  <a:lnTo>
                    <a:pt x="444" y="314"/>
                  </a:lnTo>
                  <a:lnTo>
                    <a:pt x="456" y="318"/>
                  </a:lnTo>
                  <a:lnTo>
                    <a:pt x="432" y="331"/>
                  </a:lnTo>
                  <a:lnTo>
                    <a:pt x="438" y="339"/>
                  </a:lnTo>
                  <a:lnTo>
                    <a:pt x="475" y="325"/>
                  </a:lnTo>
                  <a:lnTo>
                    <a:pt x="485" y="320"/>
                  </a:lnTo>
                  <a:lnTo>
                    <a:pt x="496" y="318"/>
                  </a:lnTo>
                  <a:lnTo>
                    <a:pt x="512" y="314"/>
                  </a:lnTo>
                  <a:lnTo>
                    <a:pt x="512" y="277"/>
                  </a:lnTo>
                  <a:lnTo>
                    <a:pt x="494" y="275"/>
                  </a:lnTo>
                  <a:lnTo>
                    <a:pt x="487" y="261"/>
                  </a:lnTo>
                  <a:lnTo>
                    <a:pt x="485" y="242"/>
                  </a:lnTo>
                  <a:lnTo>
                    <a:pt x="467" y="265"/>
                  </a:lnTo>
                  <a:lnTo>
                    <a:pt x="473" y="273"/>
                  </a:lnTo>
                  <a:lnTo>
                    <a:pt x="454" y="289"/>
                  </a:lnTo>
                  <a:lnTo>
                    <a:pt x="446" y="269"/>
                  </a:lnTo>
                  <a:lnTo>
                    <a:pt x="429" y="265"/>
                  </a:lnTo>
                  <a:close/>
                  <a:moveTo>
                    <a:pt x="551" y="370"/>
                  </a:moveTo>
                  <a:lnTo>
                    <a:pt x="537" y="387"/>
                  </a:lnTo>
                  <a:lnTo>
                    <a:pt x="560" y="413"/>
                  </a:lnTo>
                  <a:lnTo>
                    <a:pt x="570" y="430"/>
                  </a:lnTo>
                  <a:lnTo>
                    <a:pt x="605" y="449"/>
                  </a:lnTo>
                  <a:lnTo>
                    <a:pt x="626" y="432"/>
                  </a:lnTo>
                  <a:lnTo>
                    <a:pt x="622" y="393"/>
                  </a:lnTo>
                  <a:lnTo>
                    <a:pt x="622" y="378"/>
                  </a:lnTo>
                  <a:lnTo>
                    <a:pt x="601" y="372"/>
                  </a:lnTo>
                  <a:lnTo>
                    <a:pt x="618" y="360"/>
                  </a:lnTo>
                  <a:lnTo>
                    <a:pt x="615" y="331"/>
                  </a:lnTo>
                  <a:lnTo>
                    <a:pt x="611" y="318"/>
                  </a:lnTo>
                  <a:lnTo>
                    <a:pt x="587" y="325"/>
                  </a:lnTo>
                  <a:lnTo>
                    <a:pt x="560" y="335"/>
                  </a:lnTo>
                  <a:lnTo>
                    <a:pt x="566" y="360"/>
                  </a:lnTo>
                  <a:lnTo>
                    <a:pt x="566" y="382"/>
                  </a:lnTo>
                  <a:lnTo>
                    <a:pt x="551" y="370"/>
                  </a:lnTo>
                  <a:close/>
                  <a:moveTo>
                    <a:pt x="467" y="91"/>
                  </a:moveTo>
                  <a:lnTo>
                    <a:pt x="452" y="112"/>
                  </a:lnTo>
                  <a:lnTo>
                    <a:pt x="475" y="112"/>
                  </a:lnTo>
                  <a:lnTo>
                    <a:pt x="467" y="91"/>
                  </a:lnTo>
                  <a:close/>
                  <a:moveTo>
                    <a:pt x="491" y="106"/>
                  </a:moveTo>
                  <a:lnTo>
                    <a:pt x="485" y="143"/>
                  </a:lnTo>
                  <a:lnTo>
                    <a:pt x="512" y="141"/>
                  </a:lnTo>
                  <a:lnTo>
                    <a:pt x="533" y="126"/>
                  </a:lnTo>
                  <a:lnTo>
                    <a:pt x="531" y="112"/>
                  </a:lnTo>
                  <a:lnTo>
                    <a:pt x="491" y="106"/>
                  </a:lnTo>
                  <a:close/>
                  <a:moveTo>
                    <a:pt x="491" y="60"/>
                  </a:moveTo>
                  <a:lnTo>
                    <a:pt x="489" y="87"/>
                  </a:lnTo>
                  <a:lnTo>
                    <a:pt x="510" y="81"/>
                  </a:lnTo>
                  <a:lnTo>
                    <a:pt x="545" y="83"/>
                  </a:lnTo>
                  <a:lnTo>
                    <a:pt x="539" y="62"/>
                  </a:lnTo>
                  <a:lnTo>
                    <a:pt x="520" y="52"/>
                  </a:lnTo>
                  <a:lnTo>
                    <a:pt x="491" y="60"/>
                  </a:lnTo>
                  <a:close/>
                  <a:moveTo>
                    <a:pt x="706" y="46"/>
                  </a:moveTo>
                  <a:lnTo>
                    <a:pt x="692" y="73"/>
                  </a:lnTo>
                  <a:lnTo>
                    <a:pt x="690" y="97"/>
                  </a:lnTo>
                  <a:lnTo>
                    <a:pt x="731" y="89"/>
                  </a:lnTo>
                  <a:lnTo>
                    <a:pt x="706" y="46"/>
                  </a:lnTo>
                  <a:close/>
                  <a:moveTo>
                    <a:pt x="607" y="48"/>
                  </a:moveTo>
                  <a:lnTo>
                    <a:pt x="591" y="31"/>
                  </a:lnTo>
                  <a:lnTo>
                    <a:pt x="584" y="0"/>
                  </a:lnTo>
                  <a:lnTo>
                    <a:pt x="609" y="17"/>
                  </a:lnTo>
                  <a:lnTo>
                    <a:pt x="622" y="27"/>
                  </a:lnTo>
                  <a:lnTo>
                    <a:pt x="638" y="15"/>
                  </a:lnTo>
                  <a:lnTo>
                    <a:pt x="640" y="42"/>
                  </a:lnTo>
                  <a:lnTo>
                    <a:pt x="657" y="35"/>
                  </a:lnTo>
                  <a:lnTo>
                    <a:pt x="669" y="48"/>
                  </a:lnTo>
                  <a:lnTo>
                    <a:pt x="669" y="95"/>
                  </a:lnTo>
                  <a:lnTo>
                    <a:pt x="659" y="104"/>
                  </a:lnTo>
                  <a:lnTo>
                    <a:pt x="644" y="81"/>
                  </a:lnTo>
                  <a:lnTo>
                    <a:pt x="622" y="64"/>
                  </a:lnTo>
                  <a:lnTo>
                    <a:pt x="607" y="48"/>
                  </a:lnTo>
                  <a:close/>
                  <a:moveTo>
                    <a:pt x="855" y="331"/>
                  </a:moveTo>
                  <a:lnTo>
                    <a:pt x="841" y="343"/>
                  </a:lnTo>
                  <a:lnTo>
                    <a:pt x="853" y="370"/>
                  </a:lnTo>
                  <a:lnTo>
                    <a:pt x="868" y="374"/>
                  </a:lnTo>
                  <a:lnTo>
                    <a:pt x="903" y="372"/>
                  </a:lnTo>
                  <a:lnTo>
                    <a:pt x="903" y="368"/>
                  </a:lnTo>
                  <a:lnTo>
                    <a:pt x="899" y="337"/>
                  </a:lnTo>
                  <a:lnTo>
                    <a:pt x="874" y="331"/>
                  </a:lnTo>
                  <a:lnTo>
                    <a:pt x="855" y="331"/>
                  </a:lnTo>
                  <a:close/>
                  <a:moveTo>
                    <a:pt x="845" y="58"/>
                  </a:moveTo>
                  <a:lnTo>
                    <a:pt x="835" y="64"/>
                  </a:lnTo>
                  <a:lnTo>
                    <a:pt x="837" y="79"/>
                  </a:lnTo>
                  <a:lnTo>
                    <a:pt x="828" y="99"/>
                  </a:lnTo>
                  <a:lnTo>
                    <a:pt x="826" y="120"/>
                  </a:lnTo>
                  <a:lnTo>
                    <a:pt x="830" y="141"/>
                  </a:lnTo>
                  <a:lnTo>
                    <a:pt x="828" y="149"/>
                  </a:lnTo>
                  <a:lnTo>
                    <a:pt x="841" y="161"/>
                  </a:lnTo>
                  <a:lnTo>
                    <a:pt x="839" y="174"/>
                  </a:lnTo>
                  <a:lnTo>
                    <a:pt x="837" y="192"/>
                  </a:lnTo>
                  <a:lnTo>
                    <a:pt x="847" y="213"/>
                  </a:lnTo>
                  <a:lnTo>
                    <a:pt x="863" y="213"/>
                  </a:lnTo>
                  <a:lnTo>
                    <a:pt x="878" y="201"/>
                  </a:lnTo>
                  <a:lnTo>
                    <a:pt x="892" y="178"/>
                  </a:lnTo>
                  <a:lnTo>
                    <a:pt x="899" y="147"/>
                  </a:lnTo>
                  <a:lnTo>
                    <a:pt x="886" y="143"/>
                  </a:lnTo>
                  <a:lnTo>
                    <a:pt x="882" y="137"/>
                  </a:lnTo>
                  <a:lnTo>
                    <a:pt x="886" y="118"/>
                  </a:lnTo>
                  <a:lnTo>
                    <a:pt x="872" y="89"/>
                  </a:lnTo>
                  <a:lnTo>
                    <a:pt x="853" y="71"/>
                  </a:lnTo>
                  <a:lnTo>
                    <a:pt x="845" y="58"/>
                  </a:lnTo>
                  <a:close/>
                  <a:moveTo>
                    <a:pt x="686" y="221"/>
                  </a:moveTo>
                  <a:lnTo>
                    <a:pt x="675" y="244"/>
                  </a:lnTo>
                  <a:lnTo>
                    <a:pt x="700" y="246"/>
                  </a:lnTo>
                  <a:lnTo>
                    <a:pt x="713" y="271"/>
                  </a:lnTo>
                  <a:lnTo>
                    <a:pt x="719" y="296"/>
                  </a:lnTo>
                  <a:lnTo>
                    <a:pt x="713" y="306"/>
                  </a:lnTo>
                  <a:lnTo>
                    <a:pt x="733" y="310"/>
                  </a:lnTo>
                  <a:lnTo>
                    <a:pt x="750" y="314"/>
                  </a:lnTo>
                  <a:lnTo>
                    <a:pt x="787" y="323"/>
                  </a:lnTo>
                  <a:lnTo>
                    <a:pt x="799" y="320"/>
                  </a:lnTo>
                  <a:lnTo>
                    <a:pt x="822" y="318"/>
                  </a:lnTo>
                  <a:lnTo>
                    <a:pt x="837" y="300"/>
                  </a:lnTo>
                  <a:lnTo>
                    <a:pt x="849" y="289"/>
                  </a:lnTo>
                  <a:lnTo>
                    <a:pt x="824" y="271"/>
                  </a:lnTo>
                  <a:lnTo>
                    <a:pt x="791" y="267"/>
                  </a:lnTo>
                  <a:lnTo>
                    <a:pt x="760" y="267"/>
                  </a:lnTo>
                  <a:lnTo>
                    <a:pt x="737" y="254"/>
                  </a:lnTo>
                  <a:lnTo>
                    <a:pt x="729" y="244"/>
                  </a:lnTo>
                  <a:lnTo>
                    <a:pt x="727" y="238"/>
                  </a:lnTo>
                  <a:lnTo>
                    <a:pt x="717" y="228"/>
                  </a:lnTo>
                  <a:lnTo>
                    <a:pt x="702" y="225"/>
                  </a:lnTo>
                  <a:lnTo>
                    <a:pt x="686" y="221"/>
                  </a:lnTo>
                  <a:close/>
                  <a:moveTo>
                    <a:pt x="729" y="331"/>
                  </a:moveTo>
                  <a:lnTo>
                    <a:pt x="713" y="337"/>
                  </a:lnTo>
                  <a:lnTo>
                    <a:pt x="700" y="349"/>
                  </a:lnTo>
                  <a:lnTo>
                    <a:pt x="690" y="364"/>
                  </a:lnTo>
                  <a:lnTo>
                    <a:pt x="694" y="382"/>
                  </a:lnTo>
                  <a:lnTo>
                    <a:pt x="698" y="411"/>
                  </a:lnTo>
                  <a:lnTo>
                    <a:pt x="700" y="444"/>
                  </a:lnTo>
                  <a:lnTo>
                    <a:pt x="719" y="430"/>
                  </a:lnTo>
                  <a:lnTo>
                    <a:pt x="729" y="405"/>
                  </a:lnTo>
                  <a:lnTo>
                    <a:pt x="750" y="387"/>
                  </a:lnTo>
                  <a:lnTo>
                    <a:pt x="760" y="358"/>
                  </a:lnTo>
                  <a:lnTo>
                    <a:pt x="752" y="341"/>
                  </a:lnTo>
                  <a:lnTo>
                    <a:pt x="729" y="331"/>
                  </a:lnTo>
                  <a:close/>
                  <a:moveTo>
                    <a:pt x="909" y="546"/>
                  </a:moveTo>
                  <a:lnTo>
                    <a:pt x="921" y="548"/>
                  </a:lnTo>
                  <a:lnTo>
                    <a:pt x="927" y="546"/>
                  </a:lnTo>
                  <a:lnTo>
                    <a:pt x="946" y="552"/>
                  </a:lnTo>
                  <a:lnTo>
                    <a:pt x="967" y="562"/>
                  </a:lnTo>
                  <a:lnTo>
                    <a:pt x="969" y="572"/>
                  </a:lnTo>
                  <a:lnTo>
                    <a:pt x="987" y="581"/>
                  </a:lnTo>
                  <a:lnTo>
                    <a:pt x="985" y="636"/>
                  </a:lnTo>
                  <a:lnTo>
                    <a:pt x="975" y="665"/>
                  </a:lnTo>
                  <a:lnTo>
                    <a:pt x="958" y="667"/>
                  </a:lnTo>
                  <a:lnTo>
                    <a:pt x="940" y="680"/>
                  </a:lnTo>
                  <a:lnTo>
                    <a:pt x="967" y="698"/>
                  </a:lnTo>
                  <a:lnTo>
                    <a:pt x="977" y="688"/>
                  </a:lnTo>
                  <a:lnTo>
                    <a:pt x="996" y="707"/>
                  </a:lnTo>
                  <a:lnTo>
                    <a:pt x="1010" y="709"/>
                  </a:lnTo>
                  <a:lnTo>
                    <a:pt x="1029" y="734"/>
                  </a:lnTo>
                  <a:lnTo>
                    <a:pt x="1043" y="746"/>
                  </a:lnTo>
                  <a:lnTo>
                    <a:pt x="1062" y="746"/>
                  </a:lnTo>
                  <a:lnTo>
                    <a:pt x="1045" y="723"/>
                  </a:lnTo>
                  <a:lnTo>
                    <a:pt x="1047" y="717"/>
                  </a:lnTo>
                  <a:lnTo>
                    <a:pt x="1078" y="740"/>
                  </a:lnTo>
                  <a:lnTo>
                    <a:pt x="1087" y="738"/>
                  </a:lnTo>
                  <a:lnTo>
                    <a:pt x="1087" y="711"/>
                  </a:lnTo>
                  <a:lnTo>
                    <a:pt x="1064" y="690"/>
                  </a:lnTo>
                  <a:lnTo>
                    <a:pt x="1058" y="680"/>
                  </a:lnTo>
                  <a:lnTo>
                    <a:pt x="1047" y="661"/>
                  </a:lnTo>
                  <a:lnTo>
                    <a:pt x="1051" y="636"/>
                  </a:lnTo>
                  <a:lnTo>
                    <a:pt x="1064" y="657"/>
                  </a:lnTo>
                  <a:lnTo>
                    <a:pt x="1072" y="678"/>
                  </a:lnTo>
                  <a:lnTo>
                    <a:pt x="1089" y="676"/>
                  </a:lnTo>
                  <a:lnTo>
                    <a:pt x="1109" y="665"/>
                  </a:lnTo>
                  <a:lnTo>
                    <a:pt x="1118" y="649"/>
                  </a:lnTo>
                  <a:lnTo>
                    <a:pt x="1109" y="643"/>
                  </a:lnTo>
                  <a:lnTo>
                    <a:pt x="1120" y="641"/>
                  </a:lnTo>
                  <a:lnTo>
                    <a:pt x="1116" y="632"/>
                  </a:lnTo>
                  <a:lnTo>
                    <a:pt x="1105" y="626"/>
                  </a:lnTo>
                  <a:lnTo>
                    <a:pt x="1095" y="624"/>
                  </a:lnTo>
                  <a:lnTo>
                    <a:pt x="1085" y="608"/>
                  </a:lnTo>
                  <a:lnTo>
                    <a:pt x="1068" y="601"/>
                  </a:lnTo>
                  <a:lnTo>
                    <a:pt x="1056" y="591"/>
                  </a:lnTo>
                  <a:lnTo>
                    <a:pt x="1043" y="587"/>
                  </a:lnTo>
                  <a:lnTo>
                    <a:pt x="1047" y="572"/>
                  </a:lnTo>
                  <a:lnTo>
                    <a:pt x="1058" y="572"/>
                  </a:lnTo>
                  <a:lnTo>
                    <a:pt x="1058" y="558"/>
                  </a:lnTo>
                  <a:lnTo>
                    <a:pt x="1058" y="548"/>
                  </a:lnTo>
                  <a:lnTo>
                    <a:pt x="1047" y="537"/>
                  </a:lnTo>
                  <a:lnTo>
                    <a:pt x="1047" y="523"/>
                  </a:lnTo>
                  <a:lnTo>
                    <a:pt x="1033" y="517"/>
                  </a:lnTo>
                  <a:lnTo>
                    <a:pt x="1023" y="513"/>
                  </a:lnTo>
                  <a:lnTo>
                    <a:pt x="1014" y="510"/>
                  </a:lnTo>
                  <a:lnTo>
                    <a:pt x="1008" y="494"/>
                  </a:lnTo>
                  <a:lnTo>
                    <a:pt x="985" y="477"/>
                  </a:lnTo>
                  <a:lnTo>
                    <a:pt x="946" y="461"/>
                  </a:lnTo>
                  <a:lnTo>
                    <a:pt x="923" y="455"/>
                  </a:lnTo>
                  <a:lnTo>
                    <a:pt x="907" y="459"/>
                  </a:lnTo>
                  <a:lnTo>
                    <a:pt x="911" y="442"/>
                  </a:lnTo>
                  <a:lnTo>
                    <a:pt x="909" y="418"/>
                  </a:lnTo>
                  <a:lnTo>
                    <a:pt x="882" y="438"/>
                  </a:lnTo>
                  <a:lnTo>
                    <a:pt x="884" y="473"/>
                  </a:lnTo>
                  <a:lnTo>
                    <a:pt x="901" y="496"/>
                  </a:lnTo>
                  <a:lnTo>
                    <a:pt x="897" y="510"/>
                  </a:lnTo>
                  <a:lnTo>
                    <a:pt x="870" y="453"/>
                  </a:lnTo>
                  <a:lnTo>
                    <a:pt x="880" y="418"/>
                  </a:lnTo>
                  <a:lnTo>
                    <a:pt x="843" y="428"/>
                  </a:lnTo>
                  <a:lnTo>
                    <a:pt x="824" y="473"/>
                  </a:lnTo>
                  <a:lnTo>
                    <a:pt x="828" y="486"/>
                  </a:lnTo>
                  <a:lnTo>
                    <a:pt x="849" y="523"/>
                  </a:lnTo>
                  <a:lnTo>
                    <a:pt x="847" y="529"/>
                  </a:lnTo>
                  <a:lnTo>
                    <a:pt x="851" y="533"/>
                  </a:lnTo>
                  <a:lnTo>
                    <a:pt x="861" y="531"/>
                  </a:lnTo>
                  <a:lnTo>
                    <a:pt x="909" y="546"/>
                  </a:lnTo>
                  <a:close/>
                  <a:moveTo>
                    <a:pt x="1113" y="104"/>
                  </a:moveTo>
                  <a:lnTo>
                    <a:pt x="1122" y="118"/>
                  </a:lnTo>
                  <a:lnTo>
                    <a:pt x="1095" y="118"/>
                  </a:lnTo>
                  <a:lnTo>
                    <a:pt x="1091" y="126"/>
                  </a:lnTo>
                  <a:lnTo>
                    <a:pt x="1085" y="130"/>
                  </a:lnTo>
                  <a:lnTo>
                    <a:pt x="1082" y="135"/>
                  </a:lnTo>
                  <a:lnTo>
                    <a:pt x="1095" y="135"/>
                  </a:lnTo>
                  <a:lnTo>
                    <a:pt x="1095" y="141"/>
                  </a:lnTo>
                  <a:lnTo>
                    <a:pt x="1091" y="147"/>
                  </a:lnTo>
                  <a:lnTo>
                    <a:pt x="1105" y="145"/>
                  </a:lnTo>
                  <a:lnTo>
                    <a:pt x="1099" y="153"/>
                  </a:lnTo>
                  <a:lnTo>
                    <a:pt x="1072" y="168"/>
                  </a:lnTo>
                  <a:lnTo>
                    <a:pt x="1049" y="180"/>
                  </a:lnTo>
                  <a:lnTo>
                    <a:pt x="1054" y="184"/>
                  </a:lnTo>
                  <a:lnTo>
                    <a:pt x="1047" y="192"/>
                  </a:lnTo>
                  <a:lnTo>
                    <a:pt x="1039" y="197"/>
                  </a:lnTo>
                  <a:lnTo>
                    <a:pt x="1033" y="209"/>
                  </a:lnTo>
                  <a:lnTo>
                    <a:pt x="1025" y="205"/>
                  </a:lnTo>
                  <a:lnTo>
                    <a:pt x="1016" y="209"/>
                  </a:lnTo>
                  <a:lnTo>
                    <a:pt x="1004" y="217"/>
                  </a:lnTo>
                  <a:lnTo>
                    <a:pt x="996" y="225"/>
                  </a:lnTo>
                  <a:lnTo>
                    <a:pt x="989" y="232"/>
                  </a:lnTo>
                  <a:lnTo>
                    <a:pt x="1002" y="236"/>
                  </a:lnTo>
                  <a:lnTo>
                    <a:pt x="994" y="246"/>
                  </a:lnTo>
                  <a:lnTo>
                    <a:pt x="985" y="254"/>
                  </a:lnTo>
                  <a:lnTo>
                    <a:pt x="967" y="273"/>
                  </a:lnTo>
                  <a:lnTo>
                    <a:pt x="954" y="285"/>
                  </a:lnTo>
                  <a:lnTo>
                    <a:pt x="958" y="302"/>
                  </a:lnTo>
                  <a:lnTo>
                    <a:pt x="948" y="314"/>
                  </a:lnTo>
                  <a:lnTo>
                    <a:pt x="925" y="312"/>
                  </a:lnTo>
                  <a:lnTo>
                    <a:pt x="909" y="304"/>
                  </a:lnTo>
                  <a:lnTo>
                    <a:pt x="892" y="300"/>
                  </a:lnTo>
                  <a:lnTo>
                    <a:pt x="876" y="285"/>
                  </a:lnTo>
                  <a:lnTo>
                    <a:pt x="890" y="269"/>
                  </a:lnTo>
                  <a:lnTo>
                    <a:pt x="894" y="261"/>
                  </a:lnTo>
                  <a:lnTo>
                    <a:pt x="905" y="254"/>
                  </a:lnTo>
                  <a:lnTo>
                    <a:pt x="919" y="267"/>
                  </a:lnTo>
                  <a:lnTo>
                    <a:pt x="917" y="254"/>
                  </a:lnTo>
                  <a:lnTo>
                    <a:pt x="915" y="244"/>
                  </a:lnTo>
                  <a:lnTo>
                    <a:pt x="913" y="238"/>
                  </a:lnTo>
                  <a:lnTo>
                    <a:pt x="905" y="244"/>
                  </a:lnTo>
                  <a:lnTo>
                    <a:pt x="907" y="230"/>
                  </a:lnTo>
                  <a:lnTo>
                    <a:pt x="919" y="221"/>
                  </a:lnTo>
                  <a:lnTo>
                    <a:pt x="942" y="211"/>
                  </a:lnTo>
                  <a:lnTo>
                    <a:pt x="942" y="207"/>
                  </a:lnTo>
                  <a:lnTo>
                    <a:pt x="927" y="207"/>
                  </a:lnTo>
                  <a:lnTo>
                    <a:pt x="934" y="186"/>
                  </a:lnTo>
                  <a:lnTo>
                    <a:pt x="936" y="174"/>
                  </a:lnTo>
                  <a:lnTo>
                    <a:pt x="930" y="155"/>
                  </a:lnTo>
                  <a:lnTo>
                    <a:pt x="940" y="149"/>
                  </a:lnTo>
                  <a:lnTo>
                    <a:pt x="952" y="161"/>
                  </a:lnTo>
                  <a:lnTo>
                    <a:pt x="952" y="182"/>
                  </a:lnTo>
                  <a:lnTo>
                    <a:pt x="963" y="176"/>
                  </a:lnTo>
                  <a:lnTo>
                    <a:pt x="961" y="157"/>
                  </a:lnTo>
                  <a:lnTo>
                    <a:pt x="965" y="145"/>
                  </a:lnTo>
                  <a:lnTo>
                    <a:pt x="967" y="135"/>
                  </a:lnTo>
                  <a:lnTo>
                    <a:pt x="985" y="133"/>
                  </a:lnTo>
                  <a:lnTo>
                    <a:pt x="1002" y="133"/>
                  </a:lnTo>
                  <a:lnTo>
                    <a:pt x="1014" y="124"/>
                  </a:lnTo>
                  <a:lnTo>
                    <a:pt x="1020" y="116"/>
                  </a:lnTo>
                  <a:lnTo>
                    <a:pt x="1014" y="114"/>
                  </a:lnTo>
                  <a:lnTo>
                    <a:pt x="977" y="116"/>
                  </a:lnTo>
                  <a:lnTo>
                    <a:pt x="963" y="110"/>
                  </a:lnTo>
                  <a:lnTo>
                    <a:pt x="946" y="108"/>
                  </a:lnTo>
                  <a:lnTo>
                    <a:pt x="940" y="108"/>
                  </a:lnTo>
                  <a:lnTo>
                    <a:pt x="932" y="110"/>
                  </a:lnTo>
                  <a:lnTo>
                    <a:pt x="921" y="99"/>
                  </a:lnTo>
                  <a:lnTo>
                    <a:pt x="921" y="89"/>
                  </a:lnTo>
                  <a:lnTo>
                    <a:pt x="921" y="79"/>
                  </a:lnTo>
                  <a:lnTo>
                    <a:pt x="934" y="71"/>
                  </a:lnTo>
                  <a:lnTo>
                    <a:pt x="946" y="79"/>
                  </a:lnTo>
                  <a:lnTo>
                    <a:pt x="950" y="68"/>
                  </a:lnTo>
                  <a:lnTo>
                    <a:pt x="958" y="60"/>
                  </a:lnTo>
                  <a:lnTo>
                    <a:pt x="973" y="54"/>
                  </a:lnTo>
                  <a:lnTo>
                    <a:pt x="979" y="58"/>
                  </a:lnTo>
                  <a:lnTo>
                    <a:pt x="981" y="50"/>
                  </a:lnTo>
                  <a:lnTo>
                    <a:pt x="1002" y="38"/>
                  </a:lnTo>
                  <a:lnTo>
                    <a:pt x="1004" y="48"/>
                  </a:lnTo>
                  <a:lnTo>
                    <a:pt x="1006" y="35"/>
                  </a:lnTo>
                  <a:lnTo>
                    <a:pt x="1025" y="31"/>
                  </a:lnTo>
                  <a:lnTo>
                    <a:pt x="1062" y="35"/>
                  </a:lnTo>
                  <a:lnTo>
                    <a:pt x="1062" y="46"/>
                  </a:lnTo>
                  <a:lnTo>
                    <a:pt x="1068" y="40"/>
                  </a:lnTo>
                  <a:lnTo>
                    <a:pt x="1089" y="44"/>
                  </a:lnTo>
                  <a:lnTo>
                    <a:pt x="1103" y="60"/>
                  </a:lnTo>
                  <a:lnTo>
                    <a:pt x="1097" y="64"/>
                  </a:lnTo>
                  <a:lnTo>
                    <a:pt x="1107" y="64"/>
                  </a:lnTo>
                  <a:lnTo>
                    <a:pt x="1109" y="87"/>
                  </a:lnTo>
                  <a:lnTo>
                    <a:pt x="1113" y="104"/>
                  </a:lnTo>
                  <a:close/>
                  <a:moveTo>
                    <a:pt x="347" y="442"/>
                  </a:moveTo>
                  <a:lnTo>
                    <a:pt x="370" y="442"/>
                  </a:lnTo>
                  <a:lnTo>
                    <a:pt x="353" y="457"/>
                  </a:lnTo>
                  <a:lnTo>
                    <a:pt x="328" y="471"/>
                  </a:lnTo>
                  <a:lnTo>
                    <a:pt x="359" y="475"/>
                  </a:lnTo>
                  <a:lnTo>
                    <a:pt x="413" y="484"/>
                  </a:lnTo>
                  <a:lnTo>
                    <a:pt x="396" y="502"/>
                  </a:lnTo>
                  <a:lnTo>
                    <a:pt x="365" y="504"/>
                  </a:lnTo>
                  <a:lnTo>
                    <a:pt x="343" y="517"/>
                  </a:lnTo>
                  <a:lnTo>
                    <a:pt x="374" y="535"/>
                  </a:lnTo>
                  <a:lnTo>
                    <a:pt x="396" y="562"/>
                  </a:lnTo>
                  <a:lnTo>
                    <a:pt x="479" y="537"/>
                  </a:lnTo>
                  <a:lnTo>
                    <a:pt x="508" y="544"/>
                  </a:lnTo>
                  <a:lnTo>
                    <a:pt x="522" y="544"/>
                  </a:lnTo>
                  <a:lnTo>
                    <a:pt x="545" y="539"/>
                  </a:lnTo>
                  <a:lnTo>
                    <a:pt x="535" y="527"/>
                  </a:lnTo>
                  <a:lnTo>
                    <a:pt x="537" y="519"/>
                  </a:lnTo>
                  <a:lnTo>
                    <a:pt x="564" y="517"/>
                  </a:lnTo>
                  <a:lnTo>
                    <a:pt x="558" y="496"/>
                  </a:lnTo>
                  <a:lnTo>
                    <a:pt x="522" y="486"/>
                  </a:lnTo>
                  <a:lnTo>
                    <a:pt x="508" y="418"/>
                  </a:lnTo>
                  <a:lnTo>
                    <a:pt x="483" y="382"/>
                  </a:lnTo>
                  <a:lnTo>
                    <a:pt x="471" y="407"/>
                  </a:lnTo>
                  <a:lnTo>
                    <a:pt x="456" y="389"/>
                  </a:lnTo>
                  <a:lnTo>
                    <a:pt x="442" y="384"/>
                  </a:lnTo>
                  <a:lnTo>
                    <a:pt x="427" y="391"/>
                  </a:lnTo>
                  <a:lnTo>
                    <a:pt x="407" y="374"/>
                  </a:lnTo>
                  <a:lnTo>
                    <a:pt x="396" y="399"/>
                  </a:lnTo>
                  <a:lnTo>
                    <a:pt x="390" y="368"/>
                  </a:lnTo>
                  <a:lnTo>
                    <a:pt x="376" y="366"/>
                  </a:lnTo>
                  <a:lnTo>
                    <a:pt x="328" y="401"/>
                  </a:lnTo>
                  <a:lnTo>
                    <a:pt x="324" y="422"/>
                  </a:lnTo>
                  <a:lnTo>
                    <a:pt x="347" y="44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1" name="Freeform 94"/>
            <p:cNvSpPr>
              <a:spLocks/>
            </p:cNvSpPr>
            <p:nvPr/>
          </p:nvSpPr>
          <p:spPr bwMode="auto">
            <a:xfrm>
              <a:off x="610" y="1391"/>
              <a:ext cx="11" cy="18"/>
            </a:xfrm>
            <a:custGeom>
              <a:avLst/>
              <a:gdLst>
                <a:gd name="T0" fmla="*/ 9 w 11"/>
                <a:gd name="T1" fmla="*/ 0 h 16"/>
                <a:gd name="T2" fmla="*/ 7 w 11"/>
                <a:gd name="T3" fmla="*/ 0 h 16"/>
                <a:gd name="T4" fmla="*/ 5 w 11"/>
                <a:gd name="T5" fmla="*/ 0 h 16"/>
                <a:gd name="T6" fmla="*/ 2 w 11"/>
                <a:gd name="T7" fmla="*/ 0 h 16"/>
                <a:gd name="T8" fmla="*/ 0 w 11"/>
                <a:gd name="T9" fmla="*/ 0 h 16"/>
                <a:gd name="T10" fmla="*/ 0 w 11"/>
                <a:gd name="T11" fmla="*/ 2 h 16"/>
                <a:gd name="T12" fmla="*/ 0 w 11"/>
                <a:gd name="T13" fmla="*/ 4 h 16"/>
                <a:gd name="T14" fmla="*/ 0 w 11"/>
                <a:gd name="T15" fmla="*/ 6 h 16"/>
                <a:gd name="T16" fmla="*/ 0 w 11"/>
                <a:gd name="T17" fmla="*/ 8 h 16"/>
                <a:gd name="T18" fmla="*/ 0 w 11"/>
                <a:gd name="T19" fmla="*/ 10 h 16"/>
                <a:gd name="T20" fmla="*/ 0 w 11"/>
                <a:gd name="T21" fmla="*/ 12 h 16"/>
                <a:gd name="T22" fmla="*/ 2 w 11"/>
                <a:gd name="T23" fmla="*/ 14 h 16"/>
                <a:gd name="T24" fmla="*/ 5 w 11"/>
                <a:gd name="T25" fmla="*/ 14 h 16"/>
                <a:gd name="T26" fmla="*/ 5 w 11"/>
                <a:gd name="T27" fmla="*/ 16 h 16"/>
                <a:gd name="T28" fmla="*/ 7 w 11"/>
                <a:gd name="T29" fmla="*/ 16 h 16"/>
                <a:gd name="T30" fmla="*/ 9 w 11"/>
                <a:gd name="T31" fmla="*/ 16 h 16"/>
                <a:gd name="T32" fmla="*/ 11 w 11"/>
                <a:gd name="T33" fmla="*/ 14 h 16"/>
                <a:gd name="T34" fmla="*/ 11 w 11"/>
                <a:gd name="T35" fmla="*/ 12 h 16"/>
                <a:gd name="T36" fmla="*/ 11 w 11"/>
                <a:gd name="T37" fmla="*/ 10 h 16"/>
                <a:gd name="T38" fmla="*/ 11 w 11"/>
                <a:gd name="T39" fmla="*/ 8 h 16"/>
                <a:gd name="T40" fmla="*/ 11 w 11"/>
                <a:gd name="T41" fmla="*/ 6 h 16"/>
                <a:gd name="T42" fmla="*/ 9 w 11"/>
                <a:gd name="T43" fmla="*/ 4 h 16"/>
                <a:gd name="T44" fmla="*/ 9 w 11"/>
                <a:gd name="T45" fmla="*/ 2 h 16"/>
                <a:gd name="T46" fmla="*/ 9 w 11"/>
                <a:gd name="T4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" h="16">
                  <a:moveTo>
                    <a:pt x="9" y="0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9" y="16"/>
                  </a:lnTo>
                  <a:lnTo>
                    <a:pt x="11" y="14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11" y="8"/>
                  </a:lnTo>
                  <a:lnTo>
                    <a:pt x="11" y="6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2" name="Freeform 95"/>
            <p:cNvSpPr>
              <a:spLocks/>
            </p:cNvSpPr>
            <p:nvPr/>
          </p:nvSpPr>
          <p:spPr bwMode="auto">
            <a:xfrm>
              <a:off x="1802" y="3043"/>
              <a:ext cx="95" cy="106"/>
            </a:xfrm>
            <a:custGeom>
              <a:avLst/>
              <a:gdLst>
                <a:gd name="T0" fmla="*/ 84 w 84"/>
                <a:gd name="T1" fmla="*/ 52 h 95"/>
                <a:gd name="T2" fmla="*/ 64 w 84"/>
                <a:gd name="T3" fmla="*/ 31 h 95"/>
                <a:gd name="T4" fmla="*/ 45 w 84"/>
                <a:gd name="T5" fmla="*/ 21 h 95"/>
                <a:gd name="T6" fmla="*/ 31 w 84"/>
                <a:gd name="T7" fmla="*/ 9 h 95"/>
                <a:gd name="T8" fmla="*/ 12 w 84"/>
                <a:gd name="T9" fmla="*/ 0 h 95"/>
                <a:gd name="T10" fmla="*/ 0 w 84"/>
                <a:gd name="T11" fmla="*/ 19 h 95"/>
                <a:gd name="T12" fmla="*/ 0 w 84"/>
                <a:gd name="T13" fmla="*/ 54 h 95"/>
                <a:gd name="T14" fmla="*/ 2 w 84"/>
                <a:gd name="T15" fmla="*/ 75 h 95"/>
                <a:gd name="T16" fmla="*/ 16 w 84"/>
                <a:gd name="T17" fmla="*/ 95 h 95"/>
                <a:gd name="T18" fmla="*/ 51 w 84"/>
                <a:gd name="T19" fmla="*/ 93 h 95"/>
                <a:gd name="T20" fmla="*/ 74 w 84"/>
                <a:gd name="T21" fmla="*/ 79 h 95"/>
                <a:gd name="T22" fmla="*/ 84 w 84"/>
                <a:gd name="T23" fmla="*/ 5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4" h="95">
                  <a:moveTo>
                    <a:pt x="84" y="52"/>
                  </a:moveTo>
                  <a:lnTo>
                    <a:pt x="64" y="31"/>
                  </a:lnTo>
                  <a:lnTo>
                    <a:pt x="45" y="21"/>
                  </a:lnTo>
                  <a:lnTo>
                    <a:pt x="31" y="9"/>
                  </a:lnTo>
                  <a:lnTo>
                    <a:pt x="12" y="0"/>
                  </a:lnTo>
                  <a:lnTo>
                    <a:pt x="0" y="19"/>
                  </a:lnTo>
                  <a:lnTo>
                    <a:pt x="0" y="54"/>
                  </a:lnTo>
                  <a:lnTo>
                    <a:pt x="2" y="75"/>
                  </a:lnTo>
                  <a:lnTo>
                    <a:pt x="16" y="95"/>
                  </a:lnTo>
                  <a:lnTo>
                    <a:pt x="51" y="93"/>
                  </a:lnTo>
                  <a:lnTo>
                    <a:pt x="74" y="79"/>
                  </a:lnTo>
                  <a:lnTo>
                    <a:pt x="84" y="5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3" name="Freeform 96"/>
            <p:cNvSpPr>
              <a:spLocks/>
            </p:cNvSpPr>
            <p:nvPr/>
          </p:nvSpPr>
          <p:spPr bwMode="auto">
            <a:xfrm>
              <a:off x="118" y="900"/>
              <a:ext cx="583" cy="596"/>
            </a:xfrm>
            <a:custGeom>
              <a:avLst/>
              <a:gdLst>
                <a:gd name="T0" fmla="*/ 325 w 519"/>
                <a:gd name="T1" fmla="*/ 45 h 531"/>
                <a:gd name="T2" fmla="*/ 271 w 519"/>
                <a:gd name="T3" fmla="*/ 29 h 531"/>
                <a:gd name="T4" fmla="*/ 236 w 519"/>
                <a:gd name="T5" fmla="*/ 19 h 531"/>
                <a:gd name="T6" fmla="*/ 213 w 519"/>
                <a:gd name="T7" fmla="*/ 17 h 531"/>
                <a:gd name="T8" fmla="*/ 135 w 519"/>
                <a:gd name="T9" fmla="*/ 0 h 531"/>
                <a:gd name="T10" fmla="*/ 81 w 519"/>
                <a:gd name="T11" fmla="*/ 25 h 531"/>
                <a:gd name="T12" fmla="*/ 9 w 519"/>
                <a:gd name="T13" fmla="*/ 93 h 531"/>
                <a:gd name="T14" fmla="*/ 69 w 519"/>
                <a:gd name="T15" fmla="*/ 186 h 531"/>
                <a:gd name="T16" fmla="*/ 0 w 519"/>
                <a:gd name="T17" fmla="*/ 192 h 531"/>
                <a:gd name="T18" fmla="*/ 56 w 519"/>
                <a:gd name="T19" fmla="*/ 242 h 531"/>
                <a:gd name="T20" fmla="*/ 81 w 519"/>
                <a:gd name="T21" fmla="*/ 248 h 531"/>
                <a:gd name="T22" fmla="*/ 48 w 519"/>
                <a:gd name="T23" fmla="*/ 299 h 531"/>
                <a:gd name="T24" fmla="*/ 13 w 519"/>
                <a:gd name="T25" fmla="*/ 345 h 531"/>
                <a:gd name="T26" fmla="*/ 42 w 519"/>
                <a:gd name="T27" fmla="*/ 384 h 531"/>
                <a:gd name="T28" fmla="*/ 71 w 519"/>
                <a:gd name="T29" fmla="*/ 409 h 531"/>
                <a:gd name="T30" fmla="*/ 97 w 519"/>
                <a:gd name="T31" fmla="*/ 413 h 531"/>
                <a:gd name="T32" fmla="*/ 139 w 519"/>
                <a:gd name="T33" fmla="*/ 407 h 531"/>
                <a:gd name="T34" fmla="*/ 81 w 519"/>
                <a:gd name="T35" fmla="*/ 483 h 531"/>
                <a:gd name="T36" fmla="*/ 91 w 519"/>
                <a:gd name="T37" fmla="*/ 494 h 531"/>
                <a:gd name="T38" fmla="*/ 186 w 519"/>
                <a:gd name="T39" fmla="*/ 405 h 531"/>
                <a:gd name="T40" fmla="*/ 211 w 519"/>
                <a:gd name="T41" fmla="*/ 347 h 531"/>
                <a:gd name="T42" fmla="*/ 259 w 519"/>
                <a:gd name="T43" fmla="*/ 347 h 531"/>
                <a:gd name="T44" fmla="*/ 211 w 519"/>
                <a:gd name="T45" fmla="*/ 382 h 531"/>
                <a:gd name="T46" fmla="*/ 261 w 519"/>
                <a:gd name="T47" fmla="*/ 372 h 531"/>
                <a:gd name="T48" fmla="*/ 310 w 519"/>
                <a:gd name="T49" fmla="*/ 372 h 531"/>
                <a:gd name="T50" fmla="*/ 366 w 519"/>
                <a:gd name="T51" fmla="*/ 392 h 531"/>
                <a:gd name="T52" fmla="*/ 430 w 519"/>
                <a:gd name="T53" fmla="*/ 436 h 531"/>
                <a:gd name="T54" fmla="*/ 467 w 519"/>
                <a:gd name="T55" fmla="*/ 444 h 531"/>
                <a:gd name="T56" fmla="*/ 492 w 519"/>
                <a:gd name="T57" fmla="*/ 487 h 531"/>
                <a:gd name="T58" fmla="*/ 507 w 519"/>
                <a:gd name="T59" fmla="*/ 504 h 531"/>
                <a:gd name="T60" fmla="*/ 519 w 519"/>
                <a:gd name="T61" fmla="*/ 485 h 531"/>
                <a:gd name="T62" fmla="*/ 443 w 519"/>
                <a:gd name="T63" fmla="*/ 388 h 531"/>
                <a:gd name="T64" fmla="*/ 366 w 519"/>
                <a:gd name="T65" fmla="*/ 363 h 531"/>
                <a:gd name="T66" fmla="*/ 354 w 519"/>
                <a:gd name="T67" fmla="*/ 47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19" h="531">
                  <a:moveTo>
                    <a:pt x="354" y="47"/>
                  </a:moveTo>
                  <a:lnTo>
                    <a:pt x="325" y="45"/>
                  </a:lnTo>
                  <a:lnTo>
                    <a:pt x="294" y="37"/>
                  </a:lnTo>
                  <a:lnTo>
                    <a:pt x="271" y="29"/>
                  </a:lnTo>
                  <a:lnTo>
                    <a:pt x="254" y="23"/>
                  </a:lnTo>
                  <a:lnTo>
                    <a:pt x="236" y="19"/>
                  </a:lnTo>
                  <a:lnTo>
                    <a:pt x="236" y="35"/>
                  </a:lnTo>
                  <a:lnTo>
                    <a:pt x="213" y="17"/>
                  </a:lnTo>
                  <a:lnTo>
                    <a:pt x="180" y="0"/>
                  </a:lnTo>
                  <a:lnTo>
                    <a:pt x="135" y="0"/>
                  </a:lnTo>
                  <a:lnTo>
                    <a:pt x="104" y="8"/>
                  </a:lnTo>
                  <a:lnTo>
                    <a:pt x="81" y="25"/>
                  </a:lnTo>
                  <a:lnTo>
                    <a:pt x="44" y="74"/>
                  </a:lnTo>
                  <a:lnTo>
                    <a:pt x="9" y="93"/>
                  </a:lnTo>
                  <a:lnTo>
                    <a:pt x="31" y="124"/>
                  </a:lnTo>
                  <a:lnTo>
                    <a:pt x="69" y="186"/>
                  </a:lnTo>
                  <a:lnTo>
                    <a:pt x="40" y="176"/>
                  </a:lnTo>
                  <a:lnTo>
                    <a:pt x="0" y="192"/>
                  </a:lnTo>
                  <a:lnTo>
                    <a:pt x="0" y="227"/>
                  </a:lnTo>
                  <a:lnTo>
                    <a:pt x="56" y="242"/>
                  </a:lnTo>
                  <a:lnTo>
                    <a:pt x="85" y="233"/>
                  </a:lnTo>
                  <a:lnTo>
                    <a:pt x="81" y="248"/>
                  </a:lnTo>
                  <a:lnTo>
                    <a:pt x="83" y="271"/>
                  </a:lnTo>
                  <a:lnTo>
                    <a:pt x="48" y="299"/>
                  </a:lnTo>
                  <a:lnTo>
                    <a:pt x="29" y="312"/>
                  </a:lnTo>
                  <a:lnTo>
                    <a:pt x="13" y="345"/>
                  </a:lnTo>
                  <a:lnTo>
                    <a:pt x="31" y="351"/>
                  </a:lnTo>
                  <a:lnTo>
                    <a:pt x="42" y="384"/>
                  </a:lnTo>
                  <a:lnTo>
                    <a:pt x="62" y="384"/>
                  </a:lnTo>
                  <a:lnTo>
                    <a:pt x="71" y="409"/>
                  </a:lnTo>
                  <a:lnTo>
                    <a:pt x="87" y="405"/>
                  </a:lnTo>
                  <a:lnTo>
                    <a:pt x="97" y="413"/>
                  </a:lnTo>
                  <a:lnTo>
                    <a:pt x="120" y="417"/>
                  </a:lnTo>
                  <a:lnTo>
                    <a:pt x="139" y="407"/>
                  </a:lnTo>
                  <a:lnTo>
                    <a:pt x="126" y="444"/>
                  </a:lnTo>
                  <a:lnTo>
                    <a:pt x="81" y="483"/>
                  </a:lnTo>
                  <a:lnTo>
                    <a:pt x="56" y="504"/>
                  </a:lnTo>
                  <a:lnTo>
                    <a:pt x="91" y="494"/>
                  </a:lnTo>
                  <a:lnTo>
                    <a:pt x="162" y="438"/>
                  </a:lnTo>
                  <a:lnTo>
                    <a:pt x="186" y="405"/>
                  </a:lnTo>
                  <a:lnTo>
                    <a:pt x="186" y="394"/>
                  </a:lnTo>
                  <a:lnTo>
                    <a:pt x="211" y="347"/>
                  </a:lnTo>
                  <a:lnTo>
                    <a:pt x="252" y="337"/>
                  </a:lnTo>
                  <a:lnTo>
                    <a:pt x="259" y="347"/>
                  </a:lnTo>
                  <a:lnTo>
                    <a:pt x="219" y="368"/>
                  </a:lnTo>
                  <a:lnTo>
                    <a:pt x="211" y="382"/>
                  </a:lnTo>
                  <a:lnTo>
                    <a:pt x="228" y="399"/>
                  </a:lnTo>
                  <a:lnTo>
                    <a:pt x="261" y="372"/>
                  </a:lnTo>
                  <a:lnTo>
                    <a:pt x="281" y="357"/>
                  </a:lnTo>
                  <a:lnTo>
                    <a:pt x="310" y="372"/>
                  </a:lnTo>
                  <a:lnTo>
                    <a:pt x="345" y="378"/>
                  </a:lnTo>
                  <a:lnTo>
                    <a:pt x="366" y="392"/>
                  </a:lnTo>
                  <a:lnTo>
                    <a:pt x="385" y="388"/>
                  </a:lnTo>
                  <a:lnTo>
                    <a:pt x="430" y="436"/>
                  </a:lnTo>
                  <a:lnTo>
                    <a:pt x="447" y="409"/>
                  </a:lnTo>
                  <a:lnTo>
                    <a:pt x="467" y="444"/>
                  </a:lnTo>
                  <a:lnTo>
                    <a:pt x="484" y="463"/>
                  </a:lnTo>
                  <a:lnTo>
                    <a:pt x="492" y="487"/>
                  </a:lnTo>
                  <a:lnTo>
                    <a:pt x="502" y="487"/>
                  </a:lnTo>
                  <a:lnTo>
                    <a:pt x="507" y="504"/>
                  </a:lnTo>
                  <a:lnTo>
                    <a:pt x="511" y="531"/>
                  </a:lnTo>
                  <a:lnTo>
                    <a:pt x="519" y="485"/>
                  </a:lnTo>
                  <a:lnTo>
                    <a:pt x="496" y="456"/>
                  </a:lnTo>
                  <a:lnTo>
                    <a:pt x="443" y="388"/>
                  </a:lnTo>
                  <a:lnTo>
                    <a:pt x="418" y="403"/>
                  </a:lnTo>
                  <a:lnTo>
                    <a:pt x="366" y="363"/>
                  </a:lnTo>
                  <a:lnTo>
                    <a:pt x="354" y="361"/>
                  </a:lnTo>
                  <a:lnTo>
                    <a:pt x="354" y="4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4" name="Freeform 97"/>
            <p:cNvSpPr>
              <a:spLocks/>
            </p:cNvSpPr>
            <p:nvPr/>
          </p:nvSpPr>
          <p:spPr bwMode="auto">
            <a:xfrm>
              <a:off x="774" y="1622"/>
              <a:ext cx="889" cy="483"/>
            </a:xfrm>
            <a:custGeom>
              <a:avLst/>
              <a:gdLst>
                <a:gd name="T0" fmla="*/ 748 w 792"/>
                <a:gd name="T1" fmla="*/ 56 h 430"/>
                <a:gd name="T2" fmla="*/ 777 w 792"/>
                <a:gd name="T3" fmla="*/ 71 h 430"/>
                <a:gd name="T4" fmla="*/ 783 w 792"/>
                <a:gd name="T5" fmla="*/ 87 h 430"/>
                <a:gd name="T6" fmla="*/ 744 w 792"/>
                <a:gd name="T7" fmla="*/ 116 h 430"/>
                <a:gd name="T8" fmla="*/ 752 w 792"/>
                <a:gd name="T9" fmla="*/ 145 h 430"/>
                <a:gd name="T10" fmla="*/ 694 w 792"/>
                <a:gd name="T11" fmla="*/ 151 h 430"/>
                <a:gd name="T12" fmla="*/ 692 w 792"/>
                <a:gd name="T13" fmla="*/ 192 h 430"/>
                <a:gd name="T14" fmla="*/ 684 w 792"/>
                <a:gd name="T15" fmla="*/ 199 h 430"/>
                <a:gd name="T16" fmla="*/ 676 w 792"/>
                <a:gd name="T17" fmla="*/ 199 h 430"/>
                <a:gd name="T18" fmla="*/ 668 w 792"/>
                <a:gd name="T19" fmla="*/ 201 h 430"/>
                <a:gd name="T20" fmla="*/ 657 w 792"/>
                <a:gd name="T21" fmla="*/ 223 h 430"/>
                <a:gd name="T22" fmla="*/ 661 w 792"/>
                <a:gd name="T23" fmla="*/ 244 h 430"/>
                <a:gd name="T24" fmla="*/ 663 w 792"/>
                <a:gd name="T25" fmla="*/ 254 h 430"/>
                <a:gd name="T26" fmla="*/ 649 w 792"/>
                <a:gd name="T27" fmla="*/ 269 h 430"/>
                <a:gd name="T28" fmla="*/ 591 w 792"/>
                <a:gd name="T29" fmla="*/ 339 h 430"/>
                <a:gd name="T30" fmla="*/ 614 w 792"/>
                <a:gd name="T31" fmla="*/ 430 h 430"/>
                <a:gd name="T32" fmla="*/ 566 w 792"/>
                <a:gd name="T33" fmla="*/ 374 h 430"/>
                <a:gd name="T34" fmla="*/ 477 w 792"/>
                <a:gd name="T35" fmla="*/ 349 h 430"/>
                <a:gd name="T36" fmla="*/ 399 w 792"/>
                <a:gd name="T37" fmla="*/ 366 h 430"/>
                <a:gd name="T38" fmla="*/ 366 w 792"/>
                <a:gd name="T39" fmla="*/ 395 h 430"/>
                <a:gd name="T40" fmla="*/ 331 w 792"/>
                <a:gd name="T41" fmla="*/ 378 h 430"/>
                <a:gd name="T42" fmla="*/ 283 w 792"/>
                <a:gd name="T43" fmla="*/ 364 h 430"/>
                <a:gd name="T44" fmla="*/ 227 w 792"/>
                <a:gd name="T45" fmla="*/ 323 h 430"/>
                <a:gd name="T46" fmla="*/ 139 w 792"/>
                <a:gd name="T47" fmla="*/ 312 h 430"/>
                <a:gd name="T48" fmla="*/ 77 w 792"/>
                <a:gd name="T49" fmla="*/ 285 h 430"/>
                <a:gd name="T50" fmla="*/ 0 w 792"/>
                <a:gd name="T51" fmla="*/ 170 h 430"/>
                <a:gd name="T52" fmla="*/ 6 w 792"/>
                <a:gd name="T53" fmla="*/ 87 h 430"/>
                <a:gd name="T54" fmla="*/ 19 w 792"/>
                <a:gd name="T55" fmla="*/ 17 h 430"/>
                <a:gd name="T56" fmla="*/ 407 w 792"/>
                <a:gd name="T57" fmla="*/ 0 h 430"/>
                <a:gd name="T58" fmla="*/ 444 w 792"/>
                <a:gd name="T59" fmla="*/ 15 h 430"/>
                <a:gd name="T60" fmla="*/ 455 w 792"/>
                <a:gd name="T61" fmla="*/ 36 h 430"/>
                <a:gd name="T62" fmla="*/ 496 w 792"/>
                <a:gd name="T63" fmla="*/ 42 h 430"/>
                <a:gd name="T64" fmla="*/ 539 w 792"/>
                <a:gd name="T65" fmla="*/ 48 h 430"/>
                <a:gd name="T66" fmla="*/ 504 w 792"/>
                <a:gd name="T67" fmla="*/ 77 h 430"/>
                <a:gd name="T68" fmla="*/ 506 w 792"/>
                <a:gd name="T69" fmla="*/ 145 h 430"/>
                <a:gd name="T70" fmla="*/ 529 w 792"/>
                <a:gd name="T71" fmla="*/ 89 h 430"/>
                <a:gd name="T72" fmla="*/ 544 w 792"/>
                <a:gd name="T73" fmla="*/ 69 h 430"/>
                <a:gd name="T74" fmla="*/ 558 w 792"/>
                <a:gd name="T75" fmla="*/ 93 h 430"/>
                <a:gd name="T76" fmla="*/ 566 w 792"/>
                <a:gd name="T77" fmla="*/ 95 h 430"/>
                <a:gd name="T78" fmla="*/ 573 w 792"/>
                <a:gd name="T79" fmla="*/ 131 h 430"/>
                <a:gd name="T80" fmla="*/ 608 w 792"/>
                <a:gd name="T81" fmla="*/ 137 h 430"/>
                <a:gd name="T82" fmla="*/ 637 w 792"/>
                <a:gd name="T83" fmla="*/ 104 h 430"/>
                <a:gd name="T84" fmla="*/ 686 w 792"/>
                <a:gd name="T85" fmla="*/ 8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92" h="430">
                  <a:moveTo>
                    <a:pt x="686" y="81"/>
                  </a:moveTo>
                  <a:lnTo>
                    <a:pt x="748" y="56"/>
                  </a:lnTo>
                  <a:lnTo>
                    <a:pt x="779" y="33"/>
                  </a:lnTo>
                  <a:lnTo>
                    <a:pt x="777" y="71"/>
                  </a:lnTo>
                  <a:lnTo>
                    <a:pt x="792" y="79"/>
                  </a:lnTo>
                  <a:lnTo>
                    <a:pt x="783" y="87"/>
                  </a:lnTo>
                  <a:lnTo>
                    <a:pt x="761" y="95"/>
                  </a:lnTo>
                  <a:lnTo>
                    <a:pt x="744" y="116"/>
                  </a:lnTo>
                  <a:lnTo>
                    <a:pt x="734" y="135"/>
                  </a:lnTo>
                  <a:lnTo>
                    <a:pt x="752" y="145"/>
                  </a:lnTo>
                  <a:lnTo>
                    <a:pt x="725" y="149"/>
                  </a:lnTo>
                  <a:lnTo>
                    <a:pt x="694" y="151"/>
                  </a:lnTo>
                  <a:lnTo>
                    <a:pt x="692" y="166"/>
                  </a:lnTo>
                  <a:lnTo>
                    <a:pt x="692" y="192"/>
                  </a:lnTo>
                  <a:lnTo>
                    <a:pt x="686" y="209"/>
                  </a:lnTo>
                  <a:lnTo>
                    <a:pt x="684" y="199"/>
                  </a:lnTo>
                  <a:lnTo>
                    <a:pt x="680" y="188"/>
                  </a:lnTo>
                  <a:lnTo>
                    <a:pt x="676" y="199"/>
                  </a:lnTo>
                  <a:lnTo>
                    <a:pt x="666" y="190"/>
                  </a:lnTo>
                  <a:lnTo>
                    <a:pt x="668" y="201"/>
                  </a:lnTo>
                  <a:lnTo>
                    <a:pt x="672" y="217"/>
                  </a:lnTo>
                  <a:lnTo>
                    <a:pt x="657" y="223"/>
                  </a:lnTo>
                  <a:lnTo>
                    <a:pt x="659" y="234"/>
                  </a:lnTo>
                  <a:lnTo>
                    <a:pt x="661" y="244"/>
                  </a:lnTo>
                  <a:lnTo>
                    <a:pt x="670" y="248"/>
                  </a:lnTo>
                  <a:lnTo>
                    <a:pt x="663" y="254"/>
                  </a:lnTo>
                  <a:lnTo>
                    <a:pt x="653" y="265"/>
                  </a:lnTo>
                  <a:lnTo>
                    <a:pt x="649" y="269"/>
                  </a:lnTo>
                  <a:lnTo>
                    <a:pt x="597" y="318"/>
                  </a:lnTo>
                  <a:lnTo>
                    <a:pt x="591" y="339"/>
                  </a:lnTo>
                  <a:lnTo>
                    <a:pt x="597" y="372"/>
                  </a:lnTo>
                  <a:lnTo>
                    <a:pt x="614" y="430"/>
                  </a:lnTo>
                  <a:lnTo>
                    <a:pt x="593" y="426"/>
                  </a:lnTo>
                  <a:lnTo>
                    <a:pt x="566" y="374"/>
                  </a:lnTo>
                  <a:lnTo>
                    <a:pt x="546" y="352"/>
                  </a:lnTo>
                  <a:lnTo>
                    <a:pt x="477" y="349"/>
                  </a:lnTo>
                  <a:lnTo>
                    <a:pt x="436" y="358"/>
                  </a:lnTo>
                  <a:lnTo>
                    <a:pt x="399" y="366"/>
                  </a:lnTo>
                  <a:lnTo>
                    <a:pt x="380" y="376"/>
                  </a:lnTo>
                  <a:lnTo>
                    <a:pt x="366" y="395"/>
                  </a:lnTo>
                  <a:lnTo>
                    <a:pt x="364" y="413"/>
                  </a:lnTo>
                  <a:lnTo>
                    <a:pt x="331" y="378"/>
                  </a:lnTo>
                  <a:lnTo>
                    <a:pt x="306" y="364"/>
                  </a:lnTo>
                  <a:lnTo>
                    <a:pt x="283" y="364"/>
                  </a:lnTo>
                  <a:lnTo>
                    <a:pt x="256" y="323"/>
                  </a:lnTo>
                  <a:lnTo>
                    <a:pt x="227" y="323"/>
                  </a:lnTo>
                  <a:lnTo>
                    <a:pt x="192" y="331"/>
                  </a:lnTo>
                  <a:lnTo>
                    <a:pt x="139" y="312"/>
                  </a:lnTo>
                  <a:lnTo>
                    <a:pt x="101" y="318"/>
                  </a:lnTo>
                  <a:lnTo>
                    <a:pt x="77" y="285"/>
                  </a:lnTo>
                  <a:lnTo>
                    <a:pt x="46" y="261"/>
                  </a:lnTo>
                  <a:lnTo>
                    <a:pt x="0" y="170"/>
                  </a:lnTo>
                  <a:lnTo>
                    <a:pt x="2" y="112"/>
                  </a:lnTo>
                  <a:lnTo>
                    <a:pt x="6" y="87"/>
                  </a:lnTo>
                  <a:lnTo>
                    <a:pt x="2" y="21"/>
                  </a:lnTo>
                  <a:lnTo>
                    <a:pt x="19" y="17"/>
                  </a:lnTo>
                  <a:lnTo>
                    <a:pt x="19" y="0"/>
                  </a:lnTo>
                  <a:lnTo>
                    <a:pt x="407" y="0"/>
                  </a:lnTo>
                  <a:lnTo>
                    <a:pt x="420" y="13"/>
                  </a:lnTo>
                  <a:lnTo>
                    <a:pt x="444" y="15"/>
                  </a:lnTo>
                  <a:lnTo>
                    <a:pt x="463" y="21"/>
                  </a:lnTo>
                  <a:lnTo>
                    <a:pt x="455" y="36"/>
                  </a:lnTo>
                  <a:lnTo>
                    <a:pt x="459" y="48"/>
                  </a:lnTo>
                  <a:lnTo>
                    <a:pt x="496" y="42"/>
                  </a:lnTo>
                  <a:lnTo>
                    <a:pt x="517" y="46"/>
                  </a:lnTo>
                  <a:lnTo>
                    <a:pt x="539" y="48"/>
                  </a:lnTo>
                  <a:lnTo>
                    <a:pt x="525" y="64"/>
                  </a:lnTo>
                  <a:lnTo>
                    <a:pt x="504" y="77"/>
                  </a:lnTo>
                  <a:lnTo>
                    <a:pt x="508" y="95"/>
                  </a:lnTo>
                  <a:lnTo>
                    <a:pt x="506" y="145"/>
                  </a:lnTo>
                  <a:lnTo>
                    <a:pt x="525" y="118"/>
                  </a:lnTo>
                  <a:lnTo>
                    <a:pt x="529" y="89"/>
                  </a:lnTo>
                  <a:lnTo>
                    <a:pt x="535" y="85"/>
                  </a:lnTo>
                  <a:lnTo>
                    <a:pt x="544" y="69"/>
                  </a:lnTo>
                  <a:lnTo>
                    <a:pt x="562" y="83"/>
                  </a:lnTo>
                  <a:lnTo>
                    <a:pt x="558" y="93"/>
                  </a:lnTo>
                  <a:lnTo>
                    <a:pt x="558" y="100"/>
                  </a:lnTo>
                  <a:lnTo>
                    <a:pt x="566" y="95"/>
                  </a:lnTo>
                  <a:lnTo>
                    <a:pt x="575" y="112"/>
                  </a:lnTo>
                  <a:lnTo>
                    <a:pt x="573" y="131"/>
                  </a:lnTo>
                  <a:lnTo>
                    <a:pt x="579" y="139"/>
                  </a:lnTo>
                  <a:lnTo>
                    <a:pt x="608" y="137"/>
                  </a:lnTo>
                  <a:lnTo>
                    <a:pt x="637" y="112"/>
                  </a:lnTo>
                  <a:lnTo>
                    <a:pt x="637" y="104"/>
                  </a:lnTo>
                  <a:lnTo>
                    <a:pt x="666" y="95"/>
                  </a:lnTo>
                  <a:lnTo>
                    <a:pt x="686" y="8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5" name="Freeform 98"/>
            <p:cNvSpPr>
              <a:spLocks/>
            </p:cNvSpPr>
            <p:nvPr/>
          </p:nvSpPr>
          <p:spPr bwMode="auto">
            <a:xfrm rot="127247">
              <a:off x="3358" y="2743"/>
              <a:ext cx="130" cy="282"/>
            </a:xfrm>
            <a:custGeom>
              <a:avLst/>
              <a:gdLst>
                <a:gd name="T0" fmla="*/ 83 w 430"/>
                <a:gd name="T1" fmla="*/ 424 h 772"/>
                <a:gd name="T2" fmla="*/ 77 w 430"/>
                <a:gd name="T3" fmla="*/ 359 h 772"/>
                <a:gd name="T4" fmla="*/ 83 w 430"/>
                <a:gd name="T5" fmla="*/ 305 h 772"/>
                <a:gd name="T6" fmla="*/ 123 w 430"/>
                <a:gd name="T7" fmla="*/ 265 h 772"/>
                <a:gd name="T8" fmla="*/ 110 w 430"/>
                <a:gd name="T9" fmla="*/ 242 h 772"/>
                <a:gd name="T10" fmla="*/ 177 w 430"/>
                <a:gd name="T11" fmla="*/ 223 h 772"/>
                <a:gd name="T12" fmla="*/ 213 w 430"/>
                <a:gd name="T13" fmla="*/ 223 h 772"/>
                <a:gd name="T14" fmla="*/ 223 w 430"/>
                <a:gd name="T15" fmla="*/ 192 h 772"/>
                <a:gd name="T16" fmla="*/ 259 w 430"/>
                <a:gd name="T17" fmla="*/ 196 h 772"/>
                <a:gd name="T18" fmla="*/ 273 w 430"/>
                <a:gd name="T19" fmla="*/ 160 h 772"/>
                <a:gd name="T20" fmla="*/ 309 w 430"/>
                <a:gd name="T21" fmla="*/ 156 h 772"/>
                <a:gd name="T22" fmla="*/ 290 w 430"/>
                <a:gd name="T23" fmla="*/ 133 h 772"/>
                <a:gd name="T24" fmla="*/ 309 w 430"/>
                <a:gd name="T25" fmla="*/ 87 h 772"/>
                <a:gd name="T26" fmla="*/ 332 w 430"/>
                <a:gd name="T27" fmla="*/ 108 h 772"/>
                <a:gd name="T28" fmla="*/ 380 w 430"/>
                <a:gd name="T29" fmla="*/ 39 h 772"/>
                <a:gd name="T30" fmla="*/ 371 w 430"/>
                <a:gd name="T31" fmla="*/ 16 h 772"/>
                <a:gd name="T32" fmla="*/ 388 w 430"/>
                <a:gd name="T33" fmla="*/ 0 h 772"/>
                <a:gd name="T34" fmla="*/ 411 w 430"/>
                <a:gd name="T35" fmla="*/ 52 h 772"/>
                <a:gd name="T36" fmla="*/ 430 w 430"/>
                <a:gd name="T37" fmla="*/ 221 h 772"/>
                <a:gd name="T38" fmla="*/ 397 w 430"/>
                <a:gd name="T39" fmla="*/ 211 h 772"/>
                <a:gd name="T40" fmla="*/ 384 w 430"/>
                <a:gd name="T41" fmla="*/ 219 h 772"/>
                <a:gd name="T42" fmla="*/ 397 w 430"/>
                <a:gd name="T43" fmla="*/ 265 h 772"/>
                <a:gd name="T44" fmla="*/ 369 w 430"/>
                <a:gd name="T45" fmla="*/ 298 h 772"/>
                <a:gd name="T46" fmla="*/ 372 w 430"/>
                <a:gd name="T47" fmla="*/ 334 h 772"/>
                <a:gd name="T48" fmla="*/ 371 w 430"/>
                <a:gd name="T49" fmla="*/ 382 h 772"/>
                <a:gd name="T50" fmla="*/ 346 w 430"/>
                <a:gd name="T51" fmla="*/ 382 h 772"/>
                <a:gd name="T52" fmla="*/ 290 w 430"/>
                <a:gd name="T53" fmla="*/ 534 h 772"/>
                <a:gd name="T54" fmla="*/ 248 w 430"/>
                <a:gd name="T55" fmla="*/ 612 h 772"/>
                <a:gd name="T56" fmla="*/ 221 w 430"/>
                <a:gd name="T57" fmla="*/ 704 h 772"/>
                <a:gd name="T58" fmla="*/ 173 w 430"/>
                <a:gd name="T59" fmla="*/ 745 h 772"/>
                <a:gd name="T60" fmla="*/ 142 w 430"/>
                <a:gd name="T61" fmla="*/ 754 h 772"/>
                <a:gd name="T62" fmla="*/ 123 w 430"/>
                <a:gd name="T63" fmla="*/ 747 h 772"/>
                <a:gd name="T64" fmla="*/ 100 w 430"/>
                <a:gd name="T65" fmla="*/ 764 h 772"/>
                <a:gd name="T66" fmla="*/ 77 w 430"/>
                <a:gd name="T67" fmla="*/ 772 h 772"/>
                <a:gd name="T68" fmla="*/ 25 w 430"/>
                <a:gd name="T69" fmla="*/ 743 h 772"/>
                <a:gd name="T70" fmla="*/ 18 w 430"/>
                <a:gd name="T71" fmla="*/ 718 h 772"/>
                <a:gd name="T72" fmla="*/ 10 w 430"/>
                <a:gd name="T73" fmla="*/ 691 h 772"/>
                <a:gd name="T74" fmla="*/ 18 w 430"/>
                <a:gd name="T75" fmla="*/ 626 h 772"/>
                <a:gd name="T76" fmla="*/ 0 w 430"/>
                <a:gd name="T77" fmla="*/ 572 h 772"/>
                <a:gd name="T78" fmla="*/ 37 w 430"/>
                <a:gd name="T79" fmla="*/ 524 h 772"/>
                <a:gd name="T80" fmla="*/ 37 w 430"/>
                <a:gd name="T81" fmla="*/ 491 h 772"/>
                <a:gd name="T82" fmla="*/ 71 w 430"/>
                <a:gd name="T83" fmla="*/ 451 h 772"/>
                <a:gd name="T84" fmla="*/ 87 w 430"/>
                <a:gd name="T85" fmla="*/ 465 h 772"/>
                <a:gd name="T86" fmla="*/ 83 w 430"/>
                <a:gd name="T87" fmla="*/ 424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30" h="772">
                  <a:moveTo>
                    <a:pt x="83" y="424"/>
                  </a:moveTo>
                  <a:lnTo>
                    <a:pt x="77" y="359"/>
                  </a:lnTo>
                  <a:lnTo>
                    <a:pt x="83" y="305"/>
                  </a:lnTo>
                  <a:lnTo>
                    <a:pt x="123" y="265"/>
                  </a:lnTo>
                  <a:lnTo>
                    <a:pt x="110" y="242"/>
                  </a:lnTo>
                  <a:lnTo>
                    <a:pt x="177" y="223"/>
                  </a:lnTo>
                  <a:lnTo>
                    <a:pt x="213" y="223"/>
                  </a:lnTo>
                  <a:lnTo>
                    <a:pt x="223" y="192"/>
                  </a:lnTo>
                  <a:lnTo>
                    <a:pt x="259" y="196"/>
                  </a:lnTo>
                  <a:lnTo>
                    <a:pt x="273" y="160"/>
                  </a:lnTo>
                  <a:lnTo>
                    <a:pt x="309" y="156"/>
                  </a:lnTo>
                  <a:lnTo>
                    <a:pt x="290" y="133"/>
                  </a:lnTo>
                  <a:lnTo>
                    <a:pt x="309" y="87"/>
                  </a:lnTo>
                  <a:lnTo>
                    <a:pt x="332" y="108"/>
                  </a:lnTo>
                  <a:lnTo>
                    <a:pt x="380" y="39"/>
                  </a:lnTo>
                  <a:lnTo>
                    <a:pt x="371" y="16"/>
                  </a:lnTo>
                  <a:lnTo>
                    <a:pt x="388" y="0"/>
                  </a:lnTo>
                  <a:lnTo>
                    <a:pt x="411" y="52"/>
                  </a:lnTo>
                  <a:lnTo>
                    <a:pt x="430" y="221"/>
                  </a:lnTo>
                  <a:lnTo>
                    <a:pt x="397" y="211"/>
                  </a:lnTo>
                  <a:lnTo>
                    <a:pt x="384" y="219"/>
                  </a:lnTo>
                  <a:lnTo>
                    <a:pt x="397" y="265"/>
                  </a:lnTo>
                  <a:lnTo>
                    <a:pt x="369" y="298"/>
                  </a:lnTo>
                  <a:lnTo>
                    <a:pt x="372" y="334"/>
                  </a:lnTo>
                  <a:lnTo>
                    <a:pt x="371" y="382"/>
                  </a:lnTo>
                  <a:lnTo>
                    <a:pt x="346" y="382"/>
                  </a:lnTo>
                  <a:lnTo>
                    <a:pt x="290" y="534"/>
                  </a:lnTo>
                  <a:lnTo>
                    <a:pt x="248" y="612"/>
                  </a:lnTo>
                  <a:lnTo>
                    <a:pt x="221" y="704"/>
                  </a:lnTo>
                  <a:lnTo>
                    <a:pt x="173" y="745"/>
                  </a:lnTo>
                  <a:lnTo>
                    <a:pt x="142" y="754"/>
                  </a:lnTo>
                  <a:lnTo>
                    <a:pt x="123" y="747"/>
                  </a:lnTo>
                  <a:lnTo>
                    <a:pt x="100" y="764"/>
                  </a:lnTo>
                  <a:lnTo>
                    <a:pt x="77" y="772"/>
                  </a:lnTo>
                  <a:lnTo>
                    <a:pt x="25" y="743"/>
                  </a:lnTo>
                  <a:lnTo>
                    <a:pt x="18" y="718"/>
                  </a:lnTo>
                  <a:lnTo>
                    <a:pt x="10" y="691"/>
                  </a:lnTo>
                  <a:lnTo>
                    <a:pt x="18" y="626"/>
                  </a:lnTo>
                  <a:lnTo>
                    <a:pt x="0" y="572"/>
                  </a:lnTo>
                  <a:lnTo>
                    <a:pt x="37" y="524"/>
                  </a:lnTo>
                  <a:lnTo>
                    <a:pt x="37" y="491"/>
                  </a:lnTo>
                  <a:lnTo>
                    <a:pt x="71" y="451"/>
                  </a:lnTo>
                  <a:lnTo>
                    <a:pt x="87" y="465"/>
                  </a:lnTo>
                  <a:lnTo>
                    <a:pt x="83" y="42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6" name="Freeform 99"/>
            <p:cNvSpPr>
              <a:spLocks/>
            </p:cNvSpPr>
            <p:nvPr/>
          </p:nvSpPr>
          <p:spPr bwMode="auto">
            <a:xfrm rot="127247">
              <a:off x="2700" y="2174"/>
              <a:ext cx="207" cy="204"/>
            </a:xfrm>
            <a:custGeom>
              <a:avLst/>
              <a:gdLst>
                <a:gd name="T0" fmla="*/ 0 w 683"/>
                <a:gd name="T1" fmla="*/ 437 h 560"/>
                <a:gd name="T2" fmla="*/ 35 w 683"/>
                <a:gd name="T3" fmla="*/ 437 h 560"/>
                <a:gd name="T4" fmla="*/ 138 w 683"/>
                <a:gd name="T5" fmla="*/ 460 h 560"/>
                <a:gd name="T6" fmla="*/ 146 w 683"/>
                <a:gd name="T7" fmla="*/ 485 h 560"/>
                <a:gd name="T8" fmla="*/ 163 w 683"/>
                <a:gd name="T9" fmla="*/ 489 h 560"/>
                <a:gd name="T10" fmla="*/ 157 w 683"/>
                <a:gd name="T11" fmla="*/ 508 h 560"/>
                <a:gd name="T12" fmla="*/ 188 w 683"/>
                <a:gd name="T13" fmla="*/ 560 h 560"/>
                <a:gd name="T14" fmla="*/ 249 w 683"/>
                <a:gd name="T15" fmla="*/ 547 h 560"/>
                <a:gd name="T16" fmla="*/ 317 w 683"/>
                <a:gd name="T17" fmla="*/ 537 h 560"/>
                <a:gd name="T18" fmla="*/ 315 w 683"/>
                <a:gd name="T19" fmla="*/ 516 h 560"/>
                <a:gd name="T20" fmla="*/ 338 w 683"/>
                <a:gd name="T21" fmla="*/ 524 h 560"/>
                <a:gd name="T22" fmla="*/ 353 w 683"/>
                <a:gd name="T23" fmla="*/ 489 h 560"/>
                <a:gd name="T24" fmla="*/ 361 w 683"/>
                <a:gd name="T25" fmla="*/ 458 h 560"/>
                <a:gd name="T26" fmla="*/ 426 w 683"/>
                <a:gd name="T27" fmla="*/ 395 h 560"/>
                <a:gd name="T28" fmla="*/ 443 w 683"/>
                <a:gd name="T29" fmla="*/ 411 h 560"/>
                <a:gd name="T30" fmla="*/ 453 w 683"/>
                <a:gd name="T31" fmla="*/ 389 h 560"/>
                <a:gd name="T32" fmla="*/ 501 w 683"/>
                <a:gd name="T33" fmla="*/ 430 h 560"/>
                <a:gd name="T34" fmla="*/ 549 w 683"/>
                <a:gd name="T35" fmla="*/ 345 h 560"/>
                <a:gd name="T36" fmla="*/ 547 w 683"/>
                <a:gd name="T37" fmla="*/ 320 h 560"/>
                <a:gd name="T38" fmla="*/ 583 w 683"/>
                <a:gd name="T39" fmla="*/ 294 h 560"/>
                <a:gd name="T40" fmla="*/ 583 w 683"/>
                <a:gd name="T41" fmla="*/ 272 h 560"/>
                <a:gd name="T42" fmla="*/ 645 w 683"/>
                <a:gd name="T43" fmla="*/ 173 h 560"/>
                <a:gd name="T44" fmla="*/ 649 w 683"/>
                <a:gd name="T45" fmla="*/ 155 h 560"/>
                <a:gd name="T46" fmla="*/ 683 w 683"/>
                <a:gd name="T47" fmla="*/ 146 h 560"/>
                <a:gd name="T48" fmla="*/ 683 w 683"/>
                <a:gd name="T49" fmla="*/ 107 h 560"/>
                <a:gd name="T50" fmla="*/ 660 w 683"/>
                <a:gd name="T51" fmla="*/ 98 h 560"/>
                <a:gd name="T52" fmla="*/ 658 w 683"/>
                <a:gd name="T53" fmla="*/ 50 h 560"/>
                <a:gd name="T54" fmla="*/ 631 w 683"/>
                <a:gd name="T55" fmla="*/ 21 h 560"/>
                <a:gd name="T56" fmla="*/ 562 w 683"/>
                <a:gd name="T57" fmla="*/ 54 h 560"/>
                <a:gd name="T58" fmla="*/ 466 w 683"/>
                <a:gd name="T59" fmla="*/ 35 h 560"/>
                <a:gd name="T60" fmla="*/ 432 w 683"/>
                <a:gd name="T61" fmla="*/ 48 h 560"/>
                <a:gd name="T62" fmla="*/ 399 w 683"/>
                <a:gd name="T63" fmla="*/ 75 h 560"/>
                <a:gd name="T64" fmla="*/ 307 w 683"/>
                <a:gd name="T65" fmla="*/ 35 h 560"/>
                <a:gd name="T66" fmla="*/ 257 w 683"/>
                <a:gd name="T67" fmla="*/ 58 h 560"/>
                <a:gd name="T68" fmla="*/ 226 w 683"/>
                <a:gd name="T69" fmla="*/ 15 h 560"/>
                <a:gd name="T70" fmla="*/ 169 w 683"/>
                <a:gd name="T71" fmla="*/ 0 h 560"/>
                <a:gd name="T72" fmla="*/ 157 w 683"/>
                <a:gd name="T73" fmla="*/ 17 h 560"/>
                <a:gd name="T74" fmla="*/ 127 w 683"/>
                <a:gd name="T75" fmla="*/ 11 h 560"/>
                <a:gd name="T76" fmla="*/ 106 w 683"/>
                <a:gd name="T77" fmla="*/ 27 h 560"/>
                <a:gd name="T78" fmla="*/ 77 w 683"/>
                <a:gd name="T79" fmla="*/ 75 h 560"/>
                <a:gd name="T80" fmla="*/ 71 w 683"/>
                <a:gd name="T81" fmla="*/ 136 h 560"/>
                <a:gd name="T82" fmla="*/ 83 w 683"/>
                <a:gd name="T83" fmla="*/ 150 h 560"/>
                <a:gd name="T84" fmla="*/ 67 w 683"/>
                <a:gd name="T85" fmla="*/ 224 h 560"/>
                <a:gd name="T86" fmla="*/ 8 w 683"/>
                <a:gd name="T87" fmla="*/ 280 h 560"/>
                <a:gd name="T88" fmla="*/ 19 w 683"/>
                <a:gd name="T89" fmla="*/ 313 h 560"/>
                <a:gd name="T90" fmla="*/ 15 w 683"/>
                <a:gd name="T91" fmla="*/ 424 h 560"/>
                <a:gd name="T92" fmla="*/ 0 w 683"/>
                <a:gd name="T93" fmla="*/ 437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83" h="560">
                  <a:moveTo>
                    <a:pt x="0" y="437"/>
                  </a:moveTo>
                  <a:lnTo>
                    <a:pt x="35" y="437"/>
                  </a:lnTo>
                  <a:lnTo>
                    <a:pt x="138" y="460"/>
                  </a:lnTo>
                  <a:lnTo>
                    <a:pt x="146" y="485"/>
                  </a:lnTo>
                  <a:lnTo>
                    <a:pt x="163" y="489"/>
                  </a:lnTo>
                  <a:lnTo>
                    <a:pt x="157" y="508"/>
                  </a:lnTo>
                  <a:lnTo>
                    <a:pt x="188" y="560"/>
                  </a:lnTo>
                  <a:lnTo>
                    <a:pt x="249" y="547"/>
                  </a:lnTo>
                  <a:lnTo>
                    <a:pt x="317" y="537"/>
                  </a:lnTo>
                  <a:lnTo>
                    <a:pt x="315" y="516"/>
                  </a:lnTo>
                  <a:lnTo>
                    <a:pt x="338" y="524"/>
                  </a:lnTo>
                  <a:lnTo>
                    <a:pt x="353" y="489"/>
                  </a:lnTo>
                  <a:lnTo>
                    <a:pt x="361" y="458"/>
                  </a:lnTo>
                  <a:lnTo>
                    <a:pt x="426" y="395"/>
                  </a:lnTo>
                  <a:lnTo>
                    <a:pt x="443" y="411"/>
                  </a:lnTo>
                  <a:lnTo>
                    <a:pt x="453" y="389"/>
                  </a:lnTo>
                  <a:lnTo>
                    <a:pt x="501" y="430"/>
                  </a:lnTo>
                  <a:lnTo>
                    <a:pt x="549" y="345"/>
                  </a:lnTo>
                  <a:lnTo>
                    <a:pt x="547" y="320"/>
                  </a:lnTo>
                  <a:lnTo>
                    <a:pt x="583" y="294"/>
                  </a:lnTo>
                  <a:lnTo>
                    <a:pt x="583" y="272"/>
                  </a:lnTo>
                  <a:lnTo>
                    <a:pt x="645" y="173"/>
                  </a:lnTo>
                  <a:lnTo>
                    <a:pt x="649" y="155"/>
                  </a:lnTo>
                  <a:lnTo>
                    <a:pt x="683" y="146"/>
                  </a:lnTo>
                  <a:lnTo>
                    <a:pt x="683" y="107"/>
                  </a:lnTo>
                  <a:lnTo>
                    <a:pt x="660" y="98"/>
                  </a:lnTo>
                  <a:lnTo>
                    <a:pt x="658" y="50"/>
                  </a:lnTo>
                  <a:lnTo>
                    <a:pt x="631" y="21"/>
                  </a:lnTo>
                  <a:lnTo>
                    <a:pt x="562" y="54"/>
                  </a:lnTo>
                  <a:lnTo>
                    <a:pt x="466" y="35"/>
                  </a:lnTo>
                  <a:lnTo>
                    <a:pt x="432" y="48"/>
                  </a:lnTo>
                  <a:lnTo>
                    <a:pt x="399" y="75"/>
                  </a:lnTo>
                  <a:lnTo>
                    <a:pt x="307" y="35"/>
                  </a:lnTo>
                  <a:lnTo>
                    <a:pt x="257" y="58"/>
                  </a:lnTo>
                  <a:lnTo>
                    <a:pt x="226" y="15"/>
                  </a:lnTo>
                  <a:lnTo>
                    <a:pt x="169" y="0"/>
                  </a:lnTo>
                  <a:lnTo>
                    <a:pt x="157" y="17"/>
                  </a:lnTo>
                  <a:lnTo>
                    <a:pt x="127" y="11"/>
                  </a:lnTo>
                  <a:lnTo>
                    <a:pt x="106" y="27"/>
                  </a:lnTo>
                  <a:lnTo>
                    <a:pt x="77" y="75"/>
                  </a:lnTo>
                  <a:lnTo>
                    <a:pt x="71" y="136"/>
                  </a:lnTo>
                  <a:lnTo>
                    <a:pt x="83" y="150"/>
                  </a:lnTo>
                  <a:lnTo>
                    <a:pt x="67" y="224"/>
                  </a:lnTo>
                  <a:lnTo>
                    <a:pt x="8" y="280"/>
                  </a:lnTo>
                  <a:lnTo>
                    <a:pt x="19" y="313"/>
                  </a:lnTo>
                  <a:lnTo>
                    <a:pt x="15" y="424"/>
                  </a:lnTo>
                  <a:lnTo>
                    <a:pt x="0" y="43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7" name="Freeform 100"/>
            <p:cNvSpPr>
              <a:spLocks/>
            </p:cNvSpPr>
            <p:nvPr/>
          </p:nvSpPr>
          <p:spPr bwMode="auto">
            <a:xfrm rot="127247">
              <a:off x="2670" y="2201"/>
              <a:ext cx="56" cy="129"/>
            </a:xfrm>
            <a:custGeom>
              <a:avLst/>
              <a:gdLst>
                <a:gd name="T0" fmla="*/ 169 w 181"/>
                <a:gd name="T1" fmla="*/ 52 h 355"/>
                <a:gd name="T2" fmla="*/ 129 w 181"/>
                <a:gd name="T3" fmla="*/ 0 h 355"/>
                <a:gd name="T4" fmla="*/ 106 w 181"/>
                <a:gd name="T5" fmla="*/ 2 h 355"/>
                <a:gd name="T6" fmla="*/ 79 w 181"/>
                <a:gd name="T7" fmla="*/ 10 h 355"/>
                <a:gd name="T8" fmla="*/ 87 w 181"/>
                <a:gd name="T9" fmla="*/ 35 h 355"/>
                <a:gd name="T10" fmla="*/ 79 w 181"/>
                <a:gd name="T11" fmla="*/ 52 h 355"/>
                <a:gd name="T12" fmla="*/ 48 w 181"/>
                <a:gd name="T13" fmla="*/ 52 h 355"/>
                <a:gd name="T14" fmla="*/ 0 w 181"/>
                <a:gd name="T15" fmla="*/ 92 h 355"/>
                <a:gd name="T16" fmla="*/ 25 w 181"/>
                <a:gd name="T17" fmla="*/ 144 h 355"/>
                <a:gd name="T18" fmla="*/ 23 w 181"/>
                <a:gd name="T19" fmla="*/ 165 h 355"/>
                <a:gd name="T20" fmla="*/ 35 w 181"/>
                <a:gd name="T21" fmla="*/ 183 h 355"/>
                <a:gd name="T22" fmla="*/ 27 w 181"/>
                <a:gd name="T23" fmla="*/ 259 h 355"/>
                <a:gd name="T24" fmla="*/ 35 w 181"/>
                <a:gd name="T25" fmla="*/ 294 h 355"/>
                <a:gd name="T26" fmla="*/ 27 w 181"/>
                <a:gd name="T27" fmla="*/ 321 h 355"/>
                <a:gd name="T28" fmla="*/ 46 w 181"/>
                <a:gd name="T29" fmla="*/ 355 h 355"/>
                <a:gd name="T30" fmla="*/ 100 w 181"/>
                <a:gd name="T31" fmla="*/ 351 h 355"/>
                <a:gd name="T32" fmla="*/ 113 w 181"/>
                <a:gd name="T33" fmla="*/ 340 h 355"/>
                <a:gd name="T34" fmla="*/ 117 w 181"/>
                <a:gd name="T35" fmla="*/ 229 h 355"/>
                <a:gd name="T36" fmla="*/ 106 w 181"/>
                <a:gd name="T37" fmla="*/ 196 h 355"/>
                <a:gd name="T38" fmla="*/ 167 w 181"/>
                <a:gd name="T39" fmla="*/ 144 h 355"/>
                <a:gd name="T40" fmla="*/ 181 w 181"/>
                <a:gd name="T41" fmla="*/ 66 h 355"/>
                <a:gd name="T42" fmla="*/ 169 w 181"/>
                <a:gd name="T43" fmla="*/ 52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1" h="355">
                  <a:moveTo>
                    <a:pt x="169" y="52"/>
                  </a:moveTo>
                  <a:lnTo>
                    <a:pt x="129" y="0"/>
                  </a:lnTo>
                  <a:lnTo>
                    <a:pt x="106" y="2"/>
                  </a:lnTo>
                  <a:lnTo>
                    <a:pt x="79" y="10"/>
                  </a:lnTo>
                  <a:lnTo>
                    <a:pt x="87" y="35"/>
                  </a:lnTo>
                  <a:lnTo>
                    <a:pt x="79" y="52"/>
                  </a:lnTo>
                  <a:lnTo>
                    <a:pt x="48" y="52"/>
                  </a:lnTo>
                  <a:lnTo>
                    <a:pt x="0" y="92"/>
                  </a:lnTo>
                  <a:lnTo>
                    <a:pt x="25" y="144"/>
                  </a:lnTo>
                  <a:lnTo>
                    <a:pt x="23" y="165"/>
                  </a:lnTo>
                  <a:lnTo>
                    <a:pt x="35" y="183"/>
                  </a:lnTo>
                  <a:lnTo>
                    <a:pt x="27" y="259"/>
                  </a:lnTo>
                  <a:lnTo>
                    <a:pt x="35" y="294"/>
                  </a:lnTo>
                  <a:lnTo>
                    <a:pt x="27" y="321"/>
                  </a:lnTo>
                  <a:lnTo>
                    <a:pt x="46" y="355"/>
                  </a:lnTo>
                  <a:lnTo>
                    <a:pt x="100" y="351"/>
                  </a:lnTo>
                  <a:lnTo>
                    <a:pt x="113" y="340"/>
                  </a:lnTo>
                  <a:lnTo>
                    <a:pt x="117" y="229"/>
                  </a:lnTo>
                  <a:lnTo>
                    <a:pt x="106" y="196"/>
                  </a:lnTo>
                  <a:lnTo>
                    <a:pt x="167" y="144"/>
                  </a:lnTo>
                  <a:lnTo>
                    <a:pt x="181" y="66"/>
                  </a:lnTo>
                  <a:lnTo>
                    <a:pt x="169" y="5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8" name="Freeform 101"/>
            <p:cNvSpPr>
              <a:spLocks/>
            </p:cNvSpPr>
            <p:nvPr/>
          </p:nvSpPr>
          <p:spPr bwMode="auto">
            <a:xfrm rot="127247">
              <a:off x="2657" y="2226"/>
              <a:ext cx="26" cy="107"/>
            </a:xfrm>
            <a:custGeom>
              <a:avLst/>
              <a:gdLst>
                <a:gd name="T0" fmla="*/ 63 w 86"/>
                <a:gd name="T1" fmla="*/ 4 h 294"/>
                <a:gd name="T2" fmla="*/ 44 w 86"/>
                <a:gd name="T3" fmla="*/ 0 h 294"/>
                <a:gd name="T4" fmla="*/ 33 w 86"/>
                <a:gd name="T5" fmla="*/ 10 h 294"/>
                <a:gd name="T6" fmla="*/ 0 w 86"/>
                <a:gd name="T7" fmla="*/ 0 h 294"/>
                <a:gd name="T8" fmla="*/ 2 w 86"/>
                <a:gd name="T9" fmla="*/ 27 h 294"/>
                <a:gd name="T10" fmla="*/ 21 w 86"/>
                <a:gd name="T11" fmla="*/ 44 h 294"/>
                <a:gd name="T12" fmla="*/ 13 w 86"/>
                <a:gd name="T13" fmla="*/ 98 h 294"/>
                <a:gd name="T14" fmla="*/ 25 w 86"/>
                <a:gd name="T15" fmla="*/ 104 h 294"/>
                <a:gd name="T16" fmla="*/ 33 w 86"/>
                <a:gd name="T17" fmla="*/ 131 h 294"/>
                <a:gd name="T18" fmla="*/ 17 w 86"/>
                <a:gd name="T19" fmla="*/ 129 h 294"/>
                <a:gd name="T20" fmla="*/ 37 w 86"/>
                <a:gd name="T21" fmla="*/ 160 h 294"/>
                <a:gd name="T22" fmla="*/ 15 w 86"/>
                <a:gd name="T23" fmla="*/ 202 h 294"/>
                <a:gd name="T24" fmla="*/ 25 w 86"/>
                <a:gd name="T25" fmla="*/ 211 h 294"/>
                <a:gd name="T26" fmla="*/ 15 w 86"/>
                <a:gd name="T27" fmla="*/ 254 h 294"/>
                <a:gd name="T28" fmla="*/ 50 w 86"/>
                <a:gd name="T29" fmla="*/ 288 h 294"/>
                <a:gd name="T30" fmla="*/ 73 w 86"/>
                <a:gd name="T31" fmla="*/ 294 h 294"/>
                <a:gd name="T32" fmla="*/ 86 w 86"/>
                <a:gd name="T33" fmla="*/ 280 h 294"/>
                <a:gd name="T34" fmla="*/ 71 w 86"/>
                <a:gd name="T35" fmla="*/ 250 h 294"/>
                <a:gd name="T36" fmla="*/ 79 w 86"/>
                <a:gd name="T37" fmla="*/ 223 h 294"/>
                <a:gd name="T38" fmla="*/ 71 w 86"/>
                <a:gd name="T39" fmla="*/ 188 h 294"/>
                <a:gd name="T40" fmla="*/ 79 w 86"/>
                <a:gd name="T41" fmla="*/ 112 h 294"/>
                <a:gd name="T42" fmla="*/ 67 w 86"/>
                <a:gd name="T43" fmla="*/ 94 h 294"/>
                <a:gd name="T44" fmla="*/ 67 w 86"/>
                <a:gd name="T45" fmla="*/ 71 h 294"/>
                <a:gd name="T46" fmla="*/ 46 w 86"/>
                <a:gd name="T47" fmla="*/ 20 h 294"/>
                <a:gd name="T48" fmla="*/ 63 w 86"/>
                <a:gd name="T49" fmla="*/ 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6" h="294">
                  <a:moveTo>
                    <a:pt x="63" y="4"/>
                  </a:moveTo>
                  <a:lnTo>
                    <a:pt x="44" y="0"/>
                  </a:lnTo>
                  <a:lnTo>
                    <a:pt x="33" y="10"/>
                  </a:lnTo>
                  <a:lnTo>
                    <a:pt x="0" y="0"/>
                  </a:lnTo>
                  <a:lnTo>
                    <a:pt x="2" y="27"/>
                  </a:lnTo>
                  <a:lnTo>
                    <a:pt x="21" y="44"/>
                  </a:lnTo>
                  <a:lnTo>
                    <a:pt x="13" y="98"/>
                  </a:lnTo>
                  <a:lnTo>
                    <a:pt x="25" y="104"/>
                  </a:lnTo>
                  <a:lnTo>
                    <a:pt x="33" y="131"/>
                  </a:lnTo>
                  <a:lnTo>
                    <a:pt x="17" y="129"/>
                  </a:lnTo>
                  <a:lnTo>
                    <a:pt x="37" y="160"/>
                  </a:lnTo>
                  <a:lnTo>
                    <a:pt x="15" y="202"/>
                  </a:lnTo>
                  <a:lnTo>
                    <a:pt x="25" y="211"/>
                  </a:lnTo>
                  <a:lnTo>
                    <a:pt x="15" y="254"/>
                  </a:lnTo>
                  <a:lnTo>
                    <a:pt x="50" y="288"/>
                  </a:lnTo>
                  <a:lnTo>
                    <a:pt x="73" y="294"/>
                  </a:lnTo>
                  <a:lnTo>
                    <a:pt x="86" y="280"/>
                  </a:lnTo>
                  <a:lnTo>
                    <a:pt x="71" y="250"/>
                  </a:lnTo>
                  <a:lnTo>
                    <a:pt x="79" y="223"/>
                  </a:lnTo>
                  <a:lnTo>
                    <a:pt x="71" y="188"/>
                  </a:lnTo>
                  <a:lnTo>
                    <a:pt x="79" y="112"/>
                  </a:lnTo>
                  <a:lnTo>
                    <a:pt x="67" y="94"/>
                  </a:lnTo>
                  <a:lnTo>
                    <a:pt x="67" y="71"/>
                  </a:lnTo>
                  <a:lnTo>
                    <a:pt x="46" y="20"/>
                  </a:lnTo>
                  <a:lnTo>
                    <a:pt x="63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9" name="Freeform 102"/>
            <p:cNvSpPr>
              <a:spLocks/>
            </p:cNvSpPr>
            <p:nvPr/>
          </p:nvSpPr>
          <p:spPr bwMode="auto">
            <a:xfrm rot="127247">
              <a:off x="2600" y="2222"/>
              <a:ext cx="71" cy="135"/>
            </a:xfrm>
            <a:custGeom>
              <a:avLst/>
              <a:gdLst>
                <a:gd name="T0" fmla="*/ 188 w 236"/>
                <a:gd name="T1" fmla="*/ 5 h 370"/>
                <a:gd name="T2" fmla="*/ 173 w 236"/>
                <a:gd name="T3" fmla="*/ 0 h 370"/>
                <a:gd name="T4" fmla="*/ 153 w 236"/>
                <a:gd name="T5" fmla="*/ 11 h 370"/>
                <a:gd name="T6" fmla="*/ 138 w 236"/>
                <a:gd name="T7" fmla="*/ 3 h 370"/>
                <a:gd name="T8" fmla="*/ 52 w 236"/>
                <a:gd name="T9" fmla="*/ 7 h 370"/>
                <a:gd name="T10" fmla="*/ 34 w 236"/>
                <a:gd name="T11" fmla="*/ 17 h 370"/>
                <a:gd name="T12" fmla="*/ 34 w 236"/>
                <a:gd name="T13" fmla="*/ 92 h 370"/>
                <a:gd name="T14" fmla="*/ 42 w 236"/>
                <a:gd name="T15" fmla="*/ 99 h 370"/>
                <a:gd name="T16" fmla="*/ 42 w 236"/>
                <a:gd name="T17" fmla="*/ 115 h 370"/>
                <a:gd name="T18" fmla="*/ 36 w 236"/>
                <a:gd name="T19" fmla="*/ 117 h 370"/>
                <a:gd name="T20" fmla="*/ 44 w 236"/>
                <a:gd name="T21" fmla="*/ 126 h 370"/>
                <a:gd name="T22" fmla="*/ 50 w 236"/>
                <a:gd name="T23" fmla="*/ 163 h 370"/>
                <a:gd name="T24" fmla="*/ 25 w 236"/>
                <a:gd name="T25" fmla="*/ 193 h 370"/>
                <a:gd name="T26" fmla="*/ 25 w 236"/>
                <a:gd name="T27" fmla="*/ 222 h 370"/>
                <a:gd name="T28" fmla="*/ 0 w 236"/>
                <a:gd name="T29" fmla="*/ 249 h 370"/>
                <a:gd name="T30" fmla="*/ 27 w 236"/>
                <a:gd name="T31" fmla="*/ 326 h 370"/>
                <a:gd name="T32" fmla="*/ 23 w 236"/>
                <a:gd name="T33" fmla="*/ 347 h 370"/>
                <a:gd name="T34" fmla="*/ 56 w 236"/>
                <a:gd name="T35" fmla="*/ 362 h 370"/>
                <a:gd name="T36" fmla="*/ 58 w 236"/>
                <a:gd name="T37" fmla="*/ 370 h 370"/>
                <a:gd name="T38" fmla="*/ 79 w 236"/>
                <a:gd name="T39" fmla="*/ 356 h 370"/>
                <a:gd name="T40" fmla="*/ 88 w 236"/>
                <a:gd name="T41" fmla="*/ 345 h 370"/>
                <a:gd name="T42" fmla="*/ 159 w 236"/>
                <a:gd name="T43" fmla="*/ 333 h 370"/>
                <a:gd name="T44" fmla="*/ 163 w 236"/>
                <a:gd name="T45" fmla="*/ 322 h 370"/>
                <a:gd name="T46" fmla="*/ 209 w 236"/>
                <a:gd name="T47" fmla="*/ 314 h 370"/>
                <a:gd name="T48" fmla="*/ 211 w 236"/>
                <a:gd name="T49" fmla="*/ 305 h 370"/>
                <a:gd name="T50" fmla="*/ 228 w 236"/>
                <a:gd name="T51" fmla="*/ 314 h 370"/>
                <a:gd name="T52" fmla="*/ 236 w 236"/>
                <a:gd name="T53" fmla="*/ 293 h 370"/>
                <a:gd name="T54" fmla="*/ 201 w 236"/>
                <a:gd name="T55" fmla="*/ 259 h 370"/>
                <a:gd name="T56" fmla="*/ 209 w 236"/>
                <a:gd name="T57" fmla="*/ 218 h 370"/>
                <a:gd name="T58" fmla="*/ 203 w 236"/>
                <a:gd name="T59" fmla="*/ 207 h 370"/>
                <a:gd name="T60" fmla="*/ 221 w 236"/>
                <a:gd name="T61" fmla="*/ 167 h 370"/>
                <a:gd name="T62" fmla="*/ 205 w 236"/>
                <a:gd name="T63" fmla="*/ 136 h 370"/>
                <a:gd name="T64" fmla="*/ 217 w 236"/>
                <a:gd name="T65" fmla="*/ 134 h 370"/>
                <a:gd name="T66" fmla="*/ 211 w 236"/>
                <a:gd name="T67" fmla="*/ 109 h 370"/>
                <a:gd name="T68" fmla="*/ 199 w 236"/>
                <a:gd name="T69" fmla="*/ 101 h 370"/>
                <a:gd name="T70" fmla="*/ 205 w 236"/>
                <a:gd name="T71" fmla="*/ 49 h 370"/>
                <a:gd name="T72" fmla="*/ 188 w 236"/>
                <a:gd name="T73" fmla="*/ 34 h 370"/>
                <a:gd name="T74" fmla="*/ 188 w 236"/>
                <a:gd name="T75" fmla="*/ 5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6" h="370">
                  <a:moveTo>
                    <a:pt x="188" y="5"/>
                  </a:moveTo>
                  <a:lnTo>
                    <a:pt x="173" y="0"/>
                  </a:lnTo>
                  <a:lnTo>
                    <a:pt x="153" y="11"/>
                  </a:lnTo>
                  <a:lnTo>
                    <a:pt x="138" y="3"/>
                  </a:lnTo>
                  <a:lnTo>
                    <a:pt x="52" y="7"/>
                  </a:lnTo>
                  <a:lnTo>
                    <a:pt x="34" y="17"/>
                  </a:lnTo>
                  <a:lnTo>
                    <a:pt x="34" y="92"/>
                  </a:lnTo>
                  <a:lnTo>
                    <a:pt x="42" y="99"/>
                  </a:lnTo>
                  <a:lnTo>
                    <a:pt x="42" y="115"/>
                  </a:lnTo>
                  <a:lnTo>
                    <a:pt x="36" y="117"/>
                  </a:lnTo>
                  <a:lnTo>
                    <a:pt x="44" y="126"/>
                  </a:lnTo>
                  <a:lnTo>
                    <a:pt x="50" y="163"/>
                  </a:lnTo>
                  <a:lnTo>
                    <a:pt x="25" y="193"/>
                  </a:lnTo>
                  <a:lnTo>
                    <a:pt x="25" y="222"/>
                  </a:lnTo>
                  <a:lnTo>
                    <a:pt x="0" y="249"/>
                  </a:lnTo>
                  <a:lnTo>
                    <a:pt x="27" y="326"/>
                  </a:lnTo>
                  <a:lnTo>
                    <a:pt x="23" y="347"/>
                  </a:lnTo>
                  <a:lnTo>
                    <a:pt x="56" y="362"/>
                  </a:lnTo>
                  <a:lnTo>
                    <a:pt x="58" y="370"/>
                  </a:lnTo>
                  <a:lnTo>
                    <a:pt x="79" y="356"/>
                  </a:lnTo>
                  <a:lnTo>
                    <a:pt x="88" y="345"/>
                  </a:lnTo>
                  <a:lnTo>
                    <a:pt x="159" y="333"/>
                  </a:lnTo>
                  <a:lnTo>
                    <a:pt x="163" y="322"/>
                  </a:lnTo>
                  <a:lnTo>
                    <a:pt x="209" y="314"/>
                  </a:lnTo>
                  <a:lnTo>
                    <a:pt x="211" y="305"/>
                  </a:lnTo>
                  <a:lnTo>
                    <a:pt x="228" y="314"/>
                  </a:lnTo>
                  <a:lnTo>
                    <a:pt x="236" y="293"/>
                  </a:lnTo>
                  <a:lnTo>
                    <a:pt x="201" y="259"/>
                  </a:lnTo>
                  <a:lnTo>
                    <a:pt x="209" y="218"/>
                  </a:lnTo>
                  <a:lnTo>
                    <a:pt x="203" y="207"/>
                  </a:lnTo>
                  <a:lnTo>
                    <a:pt x="221" y="167"/>
                  </a:lnTo>
                  <a:lnTo>
                    <a:pt x="205" y="136"/>
                  </a:lnTo>
                  <a:lnTo>
                    <a:pt x="217" y="134"/>
                  </a:lnTo>
                  <a:lnTo>
                    <a:pt x="211" y="109"/>
                  </a:lnTo>
                  <a:lnTo>
                    <a:pt x="199" y="101"/>
                  </a:lnTo>
                  <a:lnTo>
                    <a:pt x="205" y="49"/>
                  </a:lnTo>
                  <a:lnTo>
                    <a:pt x="188" y="34"/>
                  </a:lnTo>
                  <a:lnTo>
                    <a:pt x="188" y="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0" name="Freeform 103"/>
            <p:cNvSpPr>
              <a:spLocks/>
            </p:cNvSpPr>
            <p:nvPr/>
          </p:nvSpPr>
          <p:spPr bwMode="auto">
            <a:xfrm rot="127247">
              <a:off x="2504" y="2224"/>
              <a:ext cx="111" cy="138"/>
            </a:xfrm>
            <a:custGeom>
              <a:avLst/>
              <a:gdLst>
                <a:gd name="T0" fmla="*/ 338 w 365"/>
                <a:gd name="T1" fmla="*/ 336 h 380"/>
                <a:gd name="T2" fmla="*/ 234 w 365"/>
                <a:gd name="T3" fmla="*/ 326 h 380"/>
                <a:gd name="T4" fmla="*/ 123 w 365"/>
                <a:gd name="T5" fmla="*/ 338 h 380"/>
                <a:gd name="T6" fmla="*/ 71 w 365"/>
                <a:gd name="T7" fmla="*/ 380 h 380"/>
                <a:gd name="T8" fmla="*/ 64 w 365"/>
                <a:gd name="T9" fmla="*/ 344 h 380"/>
                <a:gd name="T10" fmla="*/ 58 w 365"/>
                <a:gd name="T11" fmla="*/ 342 h 380"/>
                <a:gd name="T12" fmla="*/ 64 w 365"/>
                <a:gd name="T13" fmla="*/ 319 h 380"/>
                <a:gd name="T14" fmla="*/ 79 w 365"/>
                <a:gd name="T15" fmla="*/ 311 h 380"/>
                <a:gd name="T16" fmla="*/ 77 w 365"/>
                <a:gd name="T17" fmla="*/ 294 h 380"/>
                <a:gd name="T18" fmla="*/ 58 w 365"/>
                <a:gd name="T19" fmla="*/ 288 h 380"/>
                <a:gd name="T20" fmla="*/ 41 w 365"/>
                <a:gd name="T21" fmla="*/ 261 h 380"/>
                <a:gd name="T22" fmla="*/ 0 w 365"/>
                <a:gd name="T23" fmla="*/ 242 h 380"/>
                <a:gd name="T24" fmla="*/ 27 w 365"/>
                <a:gd name="T25" fmla="*/ 225 h 380"/>
                <a:gd name="T26" fmla="*/ 19 w 365"/>
                <a:gd name="T27" fmla="*/ 177 h 380"/>
                <a:gd name="T28" fmla="*/ 39 w 365"/>
                <a:gd name="T29" fmla="*/ 173 h 380"/>
                <a:gd name="T30" fmla="*/ 44 w 365"/>
                <a:gd name="T31" fmla="*/ 157 h 380"/>
                <a:gd name="T32" fmla="*/ 35 w 365"/>
                <a:gd name="T33" fmla="*/ 133 h 380"/>
                <a:gd name="T34" fmla="*/ 44 w 365"/>
                <a:gd name="T35" fmla="*/ 127 h 380"/>
                <a:gd name="T36" fmla="*/ 66 w 365"/>
                <a:gd name="T37" fmla="*/ 133 h 380"/>
                <a:gd name="T38" fmla="*/ 64 w 365"/>
                <a:gd name="T39" fmla="*/ 123 h 380"/>
                <a:gd name="T40" fmla="*/ 54 w 365"/>
                <a:gd name="T41" fmla="*/ 106 h 380"/>
                <a:gd name="T42" fmla="*/ 64 w 365"/>
                <a:gd name="T43" fmla="*/ 92 h 380"/>
                <a:gd name="T44" fmla="*/ 58 w 365"/>
                <a:gd name="T45" fmla="*/ 83 h 380"/>
                <a:gd name="T46" fmla="*/ 46 w 365"/>
                <a:gd name="T47" fmla="*/ 69 h 380"/>
                <a:gd name="T48" fmla="*/ 48 w 365"/>
                <a:gd name="T49" fmla="*/ 48 h 380"/>
                <a:gd name="T50" fmla="*/ 44 w 365"/>
                <a:gd name="T51" fmla="*/ 37 h 380"/>
                <a:gd name="T52" fmla="*/ 58 w 365"/>
                <a:gd name="T53" fmla="*/ 23 h 380"/>
                <a:gd name="T54" fmla="*/ 67 w 365"/>
                <a:gd name="T55" fmla="*/ 25 h 380"/>
                <a:gd name="T56" fmla="*/ 79 w 365"/>
                <a:gd name="T57" fmla="*/ 12 h 380"/>
                <a:gd name="T58" fmla="*/ 89 w 365"/>
                <a:gd name="T59" fmla="*/ 12 h 380"/>
                <a:gd name="T60" fmla="*/ 106 w 365"/>
                <a:gd name="T61" fmla="*/ 23 h 380"/>
                <a:gd name="T62" fmla="*/ 131 w 365"/>
                <a:gd name="T63" fmla="*/ 14 h 380"/>
                <a:gd name="T64" fmla="*/ 135 w 365"/>
                <a:gd name="T65" fmla="*/ 2 h 380"/>
                <a:gd name="T66" fmla="*/ 158 w 365"/>
                <a:gd name="T67" fmla="*/ 0 h 380"/>
                <a:gd name="T68" fmla="*/ 169 w 365"/>
                <a:gd name="T69" fmla="*/ 35 h 380"/>
                <a:gd name="T70" fmla="*/ 179 w 365"/>
                <a:gd name="T71" fmla="*/ 21 h 380"/>
                <a:gd name="T72" fmla="*/ 196 w 365"/>
                <a:gd name="T73" fmla="*/ 15 h 380"/>
                <a:gd name="T74" fmla="*/ 211 w 365"/>
                <a:gd name="T75" fmla="*/ 23 h 380"/>
                <a:gd name="T76" fmla="*/ 234 w 365"/>
                <a:gd name="T77" fmla="*/ 54 h 380"/>
                <a:gd name="T78" fmla="*/ 257 w 365"/>
                <a:gd name="T79" fmla="*/ 69 h 380"/>
                <a:gd name="T80" fmla="*/ 261 w 365"/>
                <a:gd name="T81" fmla="*/ 58 h 380"/>
                <a:gd name="T82" fmla="*/ 302 w 365"/>
                <a:gd name="T83" fmla="*/ 46 h 380"/>
                <a:gd name="T84" fmla="*/ 332 w 365"/>
                <a:gd name="T85" fmla="*/ 60 h 380"/>
                <a:gd name="T86" fmla="*/ 349 w 365"/>
                <a:gd name="T87" fmla="*/ 81 h 380"/>
                <a:gd name="T88" fmla="*/ 357 w 365"/>
                <a:gd name="T89" fmla="*/ 86 h 380"/>
                <a:gd name="T90" fmla="*/ 357 w 365"/>
                <a:gd name="T91" fmla="*/ 106 h 380"/>
                <a:gd name="T92" fmla="*/ 351 w 365"/>
                <a:gd name="T93" fmla="*/ 106 h 380"/>
                <a:gd name="T94" fmla="*/ 359 w 365"/>
                <a:gd name="T95" fmla="*/ 113 h 380"/>
                <a:gd name="T96" fmla="*/ 365 w 365"/>
                <a:gd name="T97" fmla="*/ 152 h 380"/>
                <a:gd name="T98" fmla="*/ 340 w 365"/>
                <a:gd name="T99" fmla="*/ 182 h 380"/>
                <a:gd name="T100" fmla="*/ 340 w 365"/>
                <a:gd name="T101" fmla="*/ 211 h 380"/>
                <a:gd name="T102" fmla="*/ 315 w 365"/>
                <a:gd name="T103" fmla="*/ 240 h 380"/>
                <a:gd name="T104" fmla="*/ 340 w 365"/>
                <a:gd name="T105" fmla="*/ 317 h 380"/>
                <a:gd name="T106" fmla="*/ 338 w 365"/>
                <a:gd name="T107" fmla="*/ 33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5" h="380">
                  <a:moveTo>
                    <a:pt x="338" y="336"/>
                  </a:moveTo>
                  <a:lnTo>
                    <a:pt x="234" y="326"/>
                  </a:lnTo>
                  <a:lnTo>
                    <a:pt x="123" y="338"/>
                  </a:lnTo>
                  <a:lnTo>
                    <a:pt x="71" y="380"/>
                  </a:lnTo>
                  <a:lnTo>
                    <a:pt x="64" y="344"/>
                  </a:lnTo>
                  <a:lnTo>
                    <a:pt x="58" y="342"/>
                  </a:lnTo>
                  <a:lnTo>
                    <a:pt x="64" y="319"/>
                  </a:lnTo>
                  <a:lnTo>
                    <a:pt x="79" y="311"/>
                  </a:lnTo>
                  <a:lnTo>
                    <a:pt x="77" y="294"/>
                  </a:lnTo>
                  <a:lnTo>
                    <a:pt x="58" y="288"/>
                  </a:lnTo>
                  <a:lnTo>
                    <a:pt x="41" y="261"/>
                  </a:lnTo>
                  <a:lnTo>
                    <a:pt x="0" y="242"/>
                  </a:lnTo>
                  <a:lnTo>
                    <a:pt x="27" y="225"/>
                  </a:lnTo>
                  <a:lnTo>
                    <a:pt x="19" y="177"/>
                  </a:lnTo>
                  <a:lnTo>
                    <a:pt x="39" y="173"/>
                  </a:lnTo>
                  <a:lnTo>
                    <a:pt x="44" y="157"/>
                  </a:lnTo>
                  <a:lnTo>
                    <a:pt x="35" y="133"/>
                  </a:lnTo>
                  <a:lnTo>
                    <a:pt x="44" y="127"/>
                  </a:lnTo>
                  <a:lnTo>
                    <a:pt x="66" y="133"/>
                  </a:lnTo>
                  <a:lnTo>
                    <a:pt x="64" y="123"/>
                  </a:lnTo>
                  <a:lnTo>
                    <a:pt x="54" y="106"/>
                  </a:lnTo>
                  <a:lnTo>
                    <a:pt x="64" y="92"/>
                  </a:lnTo>
                  <a:lnTo>
                    <a:pt x="58" y="83"/>
                  </a:lnTo>
                  <a:lnTo>
                    <a:pt x="46" y="69"/>
                  </a:lnTo>
                  <a:lnTo>
                    <a:pt x="48" y="48"/>
                  </a:lnTo>
                  <a:lnTo>
                    <a:pt x="44" y="37"/>
                  </a:lnTo>
                  <a:lnTo>
                    <a:pt x="58" y="23"/>
                  </a:lnTo>
                  <a:lnTo>
                    <a:pt x="67" y="25"/>
                  </a:lnTo>
                  <a:lnTo>
                    <a:pt x="79" y="12"/>
                  </a:lnTo>
                  <a:lnTo>
                    <a:pt x="89" y="12"/>
                  </a:lnTo>
                  <a:lnTo>
                    <a:pt x="106" y="23"/>
                  </a:lnTo>
                  <a:lnTo>
                    <a:pt x="131" y="14"/>
                  </a:lnTo>
                  <a:lnTo>
                    <a:pt x="135" y="2"/>
                  </a:lnTo>
                  <a:lnTo>
                    <a:pt x="158" y="0"/>
                  </a:lnTo>
                  <a:lnTo>
                    <a:pt x="169" y="35"/>
                  </a:lnTo>
                  <a:lnTo>
                    <a:pt x="179" y="21"/>
                  </a:lnTo>
                  <a:lnTo>
                    <a:pt x="196" y="15"/>
                  </a:lnTo>
                  <a:lnTo>
                    <a:pt x="211" y="23"/>
                  </a:lnTo>
                  <a:lnTo>
                    <a:pt x="234" y="54"/>
                  </a:lnTo>
                  <a:lnTo>
                    <a:pt x="257" y="69"/>
                  </a:lnTo>
                  <a:lnTo>
                    <a:pt x="261" y="58"/>
                  </a:lnTo>
                  <a:lnTo>
                    <a:pt x="302" y="46"/>
                  </a:lnTo>
                  <a:lnTo>
                    <a:pt x="332" y="60"/>
                  </a:lnTo>
                  <a:lnTo>
                    <a:pt x="349" y="81"/>
                  </a:lnTo>
                  <a:lnTo>
                    <a:pt x="357" y="86"/>
                  </a:lnTo>
                  <a:lnTo>
                    <a:pt x="357" y="106"/>
                  </a:lnTo>
                  <a:lnTo>
                    <a:pt x="351" y="106"/>
                  </a:lnTo>
                  <a:lnTo>
                    <a:pt x="359" y="113"/>
                  </a:lnTo>
                  <a:lnTo>
                    <a:pt x="365" y="152"/>
                  </a:lnTo>
                  <a:lnTo>
                    <a:pt x="340" y="182"/>
                  </a:lnTo>
                  <a:lnTo>
                    <a:pt x="340" y="211"/>
                  </a:lnTo>
                  <a:lnTo>
                    <a:pt x="315" y="240"/>
                  </a:lnTo>
                  <a:lnTo>
                    <a:pt x="340" y="317"/>
                  </a:lnTo>
                  <a:lnTo>
                    <a:pt x="338" y="33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1" name="Freeform 104"/>
            <p:cNvSpPr>
              <a:spLocks/>
            </p:cNvSpPr>
            <p:nvPr/>
          </p:nvSpPr>
          <p:spPr bwMode="auto">
            <a:xfrm rot="127247">
              <a:off x="2463" y="2263"/>
              <a:ext cx="64" cy="91"/>
            </a:xfrm>
            <a:custGeom>
              <a:avLst/>
              <a:gdLst>
                <a:gd name="T0" fmla="*/ 201 w 213"/>
                <a:gd name="T1" fmla="*/ 246 h 246"/>
                <a:gd name="T2" fmla="*/ 188 w 213"/>
                <a:gd name="T3" fmla="*/ 246 h 246"/>
                <a:gd name="T4" fmla="*/ 104 w 213"/>
                <a:gd name="T5" fmla="*/ 200 h 246"/>
                <a:gd name="T6" fmla="*/ 65 w 213"/>
                <a:gd name="T7" fmla="*/ 173 h 246"/>
                <a:gd name="T8" fmla="*/ 42 w 213"/>
                <a:gd name="T9" fmla="*/ 138 h 246"/>
                <a:gd name="T10" fmla="*/ 15 w 213"/>
                <a:gd name="T11" fmla="*/ 127 h 246"/>
                <a:gd name="T12" fmla="*/ 0 w 213"/>
                <a:gd name="T13" fmla="*/ 102 h 246"/>
                <a:gd name="T14" fmla="*/ 17 w 213"/>
                <a:gd name="T15" fmla="*/ 71 h 246"/>
                <a:gd name="T16" fmla="*/ 46 w 213"/>
                <a:gd name="T17" fmla="*/ 56 h 246"/>
                <a:gd name="T18" fmla="*/ 50 w 213"/>
                <a:gd name="T19" fmla="*/ 29 h 246"/>
                <a:gd name="T20" fmla="*/ 86 w 213"/>
                <a:gd name="T21" fmla="*/ 0 h 246"/>
                <a:gd name="T22" fmla="*/ 102 w 213"/>
                <a:gd name="T23" fmla="*/ 10 h 246"/>
                <a:gd name="T24" fmla="*/ 105 w 213"/>
                <a:gd name="T25" fmla="*/ 27 h 246"/>
                <a:gd name="T26" fmla="*/ 111 w 213"/>
                <a:gd name="T27" fmla="*/ 35 h 246"/>
                <a:gd name="T28" fmla="*/ 105 w 213"/>
                <a:gd name="T29" fmla="*/ 71 h 246"/>
                <a:gd name="T30" fmla="*/ 125 w 213"/>
                <a:gd name="T31" fmla="*/ 79 h 246"/>
                <a:gd name="T32" fmla="*/ 146 w 213"/>
                <a:gd name="T33" fmla="*/ 52 h 246"/>
                <a:gd name="T34" fmla="*/ 153 w 213"/>
                <a:gd name="T35" fmla="*/ 60 h 246"/>
                <a:gd name="T36" fmla="*/ 161 w 213"/>
                <a:gd name="T37" fmla="*/ 108 h 246"/>
                <a:gd name="T38" fmla="*/ 134 w 213"/>
                <a:gd name="T39" fmla="*/ 125 h 246"/>
                <a:gd name="T40" fmla="*/ 176 w 213"/>
                <a:gd name="T41" fmla="*/ 144 h 246"/>
                <a:gd name="T42" fmla="*/ 192 w 213"/>
                <a:gd name="T43" fmla="*/ 171 h 246"/>
                <a:gd name="T44" fmla="*/ 209 w 213"/>
                <a:gd name="T45" fmla="*/ 177 h 246"/>
                <a:gd name="T46" fmla="*/ 213 w 213"/>
                <a:gd name="T47" fmla="*/ 194 h 246"/>
                <a:gd name="T48" fmla="*/ 198 w 213"/>
                <a:gd name="T49" fmla="*/ 200 h 246"/>
                <a:gd name="T50" fmla="*/ 192 w 213"/>
                <a:gd name="T51" fmla="*/ 225 h 246"/>
                <a:gd name="T52" fmla="*/ 198 w 213"/>
                <a:gd name="T53" fmla="*/ 227 h 246"/>
                <a:gd name="T54" fmla="*/ 201 w 213"/>
                <a:gd name="T55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3" h="246">
                  <a:moveTo>
                    <a:pt x="201" y="246"/>
                  </a:moveTo>
                  <a:lnTo>
                    <a:pt x="188" y="246"/>
                  </a:lnTo>
                  <a:lnTo>
                    <a:pt x="104" y="200"/>
                  </a:lnTo>
                  <a:lnTo>
                    <a:pt x="65" y="173"/>
                  </a:lnTo>
                  <a:lnTo>
                    <a:pt x="42" y="138"/>
                  </a:lnTo>
                  <a:lnTo>
                    <a:pt x="15" y="127"/>
                  </a:lnTo>
                  <a:lnTo>
                    <a:pt x="0" y="102"/>
                  </a:lnTo>
                  <a:lnTo>
                    <a:pt x="17" y="71"/>
                  </a:lnTo>
                  <a:lnTo>
                    <a:pt x="46" y="56"/>
                  </a:lnTo>
                  <a:lnTo>
                    <a:pt x="50" y="29"/>
                  </a:lnTo>
                  <a:lnTo>
                    <a:pt x="86" y="0"/>
                  </a:lnTo>
                  <a:lnTo>
                    <a:pt x="102" y="10"/>
                  </a:lnTo>
                  <a:lnTo>
                    <a:pt x="105" y="27"/>
                  </a:lnTo>
                  <a:lnTo>
                    <a:pt x="111" y="35"/>
                  </a:lnTo>
                  <a:lnTo>
                    <a:pt x="105" y="71"/>
                  </a:lnTo>
                  <a:lnTo>
                    <a:pt x="125" y="79"/>
                  </a:lnTo>
                  <a:lnTo>
                    <a:pt x="146" y="52"/>
                  </a:lnTo>
                  <a:lnTo>
                    <a:pt x="153" y="60"/>
                  </a:lnTo>
                  <a:lnTo>
                    <a:pt x="161" y="108"/>
                  </a:lnTo>
                  <a:lnTo>
                    <a:pt x="134" y="125"/>
                  </a:lnTo>
                  <a:lnTo>
                    <a:pt x="176" y="144"/>
                  </a:lnTo>
                  <a:lnTo>
                    <a:pt x="192" y="171"/>
                  </a:lnTo>
                  <a:lnTo>
                    <a:pt x="209" y="177"/>
                  </a:lnTo>
                  <a:lnTo>
                    <a:pt x="213" y="194"/>
                  </a:lnTo>
                  <a:lnTo>
                    <a:pt x="198" y="200"/>
                  </a:lnTo>
                  <a:lnTo>
                    <a:pt x="192" y="225"/>
                  </a:lnTo>
                  <a:lnTo>
                    <a:pt x="198" y="227"/>
                  </a:lnTo>
                  <a:lnTo>
                    <a:pt x="201" y="24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2" name="Freeform 105"/>
            <p:cNvSpPr>
              <a:spLocks/>
            </p:cNvSpPr>
            <p:nvPr/>
          </p:nvSpPr>
          <p:spPr bwMode="auto">
            <a:xfrm rot="127247">
              <a:off x="2433" y="2229"/>
              <a:ext cx="55" cy="71"/>
            </a:xfrm>
            <a:custGeom>
              <a:avLst/>
              <a:gdLst>
                <a:gd name="T0" fmla="*/ 104 w 181"/>
                <a:gd name="T1" fmla="*/ 196 h 196"/>
                <a:gd name="T2" fmla="*/ 35 w 181"/>
                <a:gd name="T3" fmla="*/ 140 h 196"/>
                <a:gd name="T4" fmla="*/ 25 w 181"/>
                <a:gd name="T5" fmla="*/ 119 h 196"/>
                <a:gd name="T6" fmla="*/ 16 w 181"/>
                <a:gd name="T7" fmla="*/ 113 h 196"/>
                <a:gd name="T8" fmla="*/ 14 w 181"/>
                <a:gd name="T9" fmla="*/ 104 h 196"/>
                <a:gd name="T10" fmla="*/ 2 w 181"/>
                <a:gd name="T11" fmla="*/ 92 h 196"/>
                <a:gd name="T12" fmla="*/ 8 w 181"/>
                <a:gd name="T13" fmla="*/ 67 h 196"/>
                <a:gd name="T14" fmla="*/ 0 w 181"/>
                <a:gd name="T15" fmla="*/ 54 h 196"/>
                <a:gd name="T16" fmla="*/ 21 w 181"/>
                <a:gd name="T17" fmla="*/ 42 h 196"/>
                <a:gd name="T18" fmla="*/ 52 w 181"/>
                <a:gd name="T19" fmla="*/ 6 h 196"/>
                <a:gd name="T20" fmla="*/ 83 w 181"/>
                <a:gd name="T21" fmla="*/ 6 h 196"/>
                <a:gd name="T22" fmla="*/ 90 w 181"/>
                <a:gd name="T23" fmla="*/ 0 h 196"/>
                <a:gd name="T24" fmla="*/ 117 w 181"/>
                <a:gd name="T25" fmla="*/ 6 h 196"/>
                <a:gd name="T26" fmla="*/ 152 w 181"/>
                <a:gd name="T27" fmla="*/ 65 h 196"/>
                <a:gd name="T28" fmla="*/ 148 w 181"/>
                <a:gd name="T29" fmla="*/ 86 h 196"/>
                <a:gd name="T30" fmla="*/ 150 w 181"/>
                <a:gd name="T31" fmla="*/ 104 h 196"/>
                <a:gd name="T32" fmla="*/ 167 w 181"/>
                <a:gd name="T33" fmla="*/ 92 h 196"/>
                <a:gd name="T34" fmla="*/ 181 w 181"/>
                <a:gd name="T35" fmla="*/ 104 h 196"/>
                <a:gd name="T36" fmla="*/ 152 w 181"/>
                <a:gd name="T37" fmla="*/ 123 h 196"/>
                <a:gd name="T38" fmla="*/ 148 w 181"/>
                <a:gd name="T39" fmla="*/ 150 h 196"/>
                <a:gd name="T40" fmla="*/ 117 w 181"/>
                <a:gd name="T41" fmla="*/ 165 h 196"/>
                <a:gd name="T42" fmla="*/ 104 w 181"/>
                <a:gd name="T43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1" h="196">
                  <a:moveTo>
                    <a:pt x="104" y="196"/>
                  </a:moveTo>
                  <a:lnTo>
                    <a:pt x="35" y="140"/>
                  </a:lnTo>
                  <a:lnTo>
                    <a:pt x="25" y="119"/>
                  </a:lnTo>
                  <a:lnTo>
                    <a:pt x="16" y="113"/>
                  </a:lnTo>
                  <a:lnTo>
                    <a:pt x="14" y="104"/>
                  </a:lnTo>
                  <a:lnTo>
                    <a:pt x="2" y="92"/>
                  </a:lnTo>
                  <a:lnTo>
                    <a:pt x="8" y="67"/>
                  </a:lnTo>
                  <a:lnTo>
                    <a:pt x="0" y="54"/>
                  </a:lnTo>
                  <a:lnTo>
                    <a:pt x="21" y="42"/>
                  </a:lnTo>
                  <a:lnTo>
                    <a:pt x="52" y="6"/>
                  </a:lnTo>
                  <a:lnTo>
                    <a:pt x="83" y="6"/>
                  </a:lnTo>
                  <a:lnTo>
                    <a:pt x="90" y="0"/>
                  </a:lnTo>
                  <a:lnTo>
                    <a:pt x="117" y="6"/>
                  </a:lnTo>
                  <a:lnTo>
                    <a:pt x="152" y="65"/>
                  </a:lnTo>
                  <a:lnTo>
                    <a:pt x="148" y="86"/>
                  </a:lnTo>
                  <a:lnTo>
                    <a:pt x="150" y="104"/>
                  </a:lnTo>
                  <a:lnTo>
                    <a:pt x="167" y="92"/>
                  </a:lnTo>
                  <a:lnTo>
                    <a:pt x="181" y="104"/>
                  </a:lnTo>
                  <a:lnTo>
                    <a:pt x="152" y="123"/>
                  </a:lnTo>
                  <a:lnTo>
                    <a:pt x="148" y="150"/>
                  </a:lnTo>
                  <a:lnTo>
                    <a:pt x="117" y="165"/>
                  </a:lnTo>
                  <a:lnTo>
                    <a:pt x="104" y="19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3" name="Freeform 106"/>
            <p:cNvSpPr>
              <a:spLocks/>
            </p:cNvSpPr>
            <p:nvPr/>
          </p:nvSpPr>
          <p:spPr bwMode="auto">
            <a:xfrm rot="127247">
              <a:off x="2408" y="2171"/>
              <a:ext cx="118" cy="121"/>
            </a:xfrm>
            <a:custGeom>
              <a:avLst/>
              <a:gdLst>
                <a:gd name="T0" fmla="*/ 69 w 389"/>
                <a:gd name="T1" fmla="*/ 173 h 332"/>
                <a:gd name="T2" fmla="*/ 61 w 389"/>
                <a:gd name="T3" fmla="*/ 153 h 332"/>
                <a:gd name="T4" fmla="*/ 46 w 389"/>
                <a:gd name="T5" fmla="*/ 157 h 332"/>
                <a:gd name="T6" fmla="*/ 19 w 389"/>
                <a:gd name="T7" fmla="*/ 119 h 332"/>
                <a:gd name="T8" fmla="*/ 17 w 389"/>
                <a:gd name="T9" fmla="*/ 98 h 332"/>
                <a:gd name="T10" fmla="*/ 0 w 389"/>
                <a:gd name="T11" fmla="*/ 100 h 332"/>
                <a:gd name="T12" fmla="*/ 63 w 389"/>
                <a:gd name="T13" fmla="*/ 61 h 332"/>
                <a:gd name="T14" fmla="*/ 71 w 389"/>
                <a:gd name="T15" fmla="*/ 25 h 332"/>
                <a:gd name="T16" fmla="*/ 159 w 389"/>
                <a:gd name="T17" fmla="*/ 29 h 332"/>
                <a:gd name="T18" fmla="*/ 207 w 389"/>
                <a:gd name="T19" fmla="*/ 50 h 332"/>
                <a:gd name="T20" fmla="*/ 246 w 389"/>
                <a:gd name="T21" fmla="*/ 59 h 332"/>
                <a:gd name="T22" fmla="*/ 280 w 389"/>
                <a:gd name="T23" fmla="*/ 56 h 332"/>
                <a:gd name="T24" fmla="*/ 299 w 389"/>
                <a:gd name="T25" fmla="*/ 46 h 332"/>
                <a:gd name="T26" fmla="*/ 345 w 389"/>
                <a:gd name="T27" fmla="*/ 59 h 332"/>
                <a:gd name="T28" fmla="*/ 345 w 389"/>
                <a:gd name="T29" fmla="*/ 88 h 332"/>
                <a:gd name="T30" fmla="*/ 347 w 389"/>
                <a:gd name="T31" fmla="*/ 111 h 332"/>
                <a:gd name="T32" fmla="*/ 361 w 389"/>
                <a:gd name="T33" fmla="*/ 117 h 332"/>
                <a:gd name="T34" fmla="*/ 380 w 389"/>
                <a:gd name="T35" fmla="*/ 159 h 332"/>
                <a:gd name="T36" fmla="*/ 372 w 389"/>
                <a:gd name="T37" fmla="*/ 182 h 332"/>
                <a:gd name="T38" fmla="*/ 386 w 389"/>
                <a:gd name="T39" fmla="*/ 228 h 332"/>
                <a:gd name="T40" fmla="*/ 386 w 389"/>
                <a:gd name="T41" fmla="*/ 259 h 332"/>
                <a:gd name="T42" fmla="*/ 366 w 389"/>
                <a:gd name="T43" fmla="*/ 261 h 332"/>
                <a:gd name="T44" fmla="*/ 366 w 389"/>
                <a:gd name="T45" fmla="*/ 293 h 332"/>
                <a:gd name="T46" fmla="*/ 340 w 389"/>
                <a:gd name="T47" fmla="*/ 313 h 332"/>
                <a:gd name="T48" fmla="*/ 313 w 389"/>
                <a:gd name="T49" fmla="*/ 332 h 332"/>
                <a:gd name="T50" fmla="*/ 299 w 389"/>
                <a:gd name="T51" fmla="*/ 288 h 332"/>
                <a:gd name="T52" fmla="*/ 290 w 389"/>
                <a:gd name="T53" fmla="*/ 263 h 332"/>
                <a:gd name="T54" fmla="*/ 265 w 389"/>
                <a:gd name="T55" fmla="*/ 263 h 332"/>
                <a:gd name="T56" fmla="*/ 238 w 389"/>
                <a:gd name="T57" fmla="*/ 263 h 332"/>
                <a:gd name="T58" fmla="*/ 238 w 389"/>
                <a:gd name="T59" fmla="*/ 224 h 332"/>
                <a:gd name="T60" fmla="*/ 176 w 389"/>
                <a:gd name="T61" fmla="*/ 157 h 332"/>
                <a:gd name="T62" fmla="*/ 136 w 389"/>
                <a:gd name="T63" fmla="*/ 163 h 332"/>
                <a:gd name="T64" fmla="*/ 86 w 389"/>
                <a:gd name="T65" fmla="*/ 213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9" h="332">
                  <a:moveTo>
                    <a:pt x="86" y="213"/>
                  </a:moveTo>
                  <a:lnTo>
                    <a:pt x="69" y="173"/>
                  </a:lnTo>
                  <a:lnTo>
                    <a:pt x="59" y="169"/>
                  </a:lnTo>
                  <a:lnTo>
                    <a:pt x="61" y="153"/>
                  </a:lnTo>
                  <a:lnTo>
                    <a:pt x="54" y="151"/>
                  </a:lnTo>
                  <a:lnTo>
                    <a:pt x="46" y="157"/>
                  </a:lnTo>
                  <a:lnTo>
                    <a:pt x="33" y="148"/>
                  </a:lnTo>
                  <a:lnTo>
                    <a:pt x="19" y="119"/>
                  </a:lnTo>
                  <a:lnTo>
                    <a:pt x="23" y="111"/>
                  </a:lnTo>
                  <a:lnTo>
                    <a:pt x="17" y="98"/>
                  </a:lnTo>
                  <a:lnTo>
                    <a:pt x="6" y="115"/>
                  </a:lnTo>
                  <a:lnTo>
                    <a:pt x="0" y="100"/>
                  </a:lnTo>
                  <a:lnTo>
                    <a:pt x="25" y="65"/>
                  </a:lnTo>
                  <a:lnTo>
                    <a:pt x="63" y="61"/>
                  </a:lnTo>
                  <a:lnTo>
                    <a:pt x="90" y="50"/>
                  </a:lnTo>
                  <a:lnTo>
                    <a:pt x="71" y="25"/>
                  </a:lnTo>
                  <a:lnTo>
                    <a:pt x="86" y="0"/>
                  </a:lnTo>
                  <a:lnTo>
                    <a:pt x="159" y="29"/>
                  </a:lnTo>
                  <a:lnTo>
                    <a:pt x="203" y="23"/>
                  </a:lnTo>
                  <a:lnTo>
                    <a:pt x="207" y="50"/>
                  </a:lnTo>
                  <a:lnTo>
                    <a:pt x="228" y="40"/>
                  </a:lnTo>
                  <a:lnTo>
                    <a:pt x="246" y="59"/>
                  </a:lnTo>
                  <a:lnTo>
                    <a:pt x="272" y="44"/>
                  </a:lnTo>
                  <a:lnTo>
                    <a:pt x="280" y="56"/>
                  </a:lnTo>
                  <a:lnTo>
                    <a:pt x="295" y="56"/>
                  </a:lnTo>
                  <a:lnTo>
                    <a:pt x="299" y="46"/>
                  </a:lnTo>
                  <a:lnTo>
                    <a:pt x="328" y="33"/>
                  </a:lnTo>
                  <a:lnTo>
                    <a:pt x="345" y="59"/>
                  </a:lnTo>
                  <a:lnTo>
                    <a:pt x="341" y="69"/>
                  </a:lnTo>
                  <a:lnTo>
                    <a:pt x="345" y="88"/>
                  </a:lnTo>
                  <a:lnTo>
                    <a:pt x="361" y="98"/>
                  </a:lnTo>
                  <a:lnTo>
                    <a:pt x="347" y="111"/>
                  </a:lnTo>
                  <a:lnTo>
                    <a:pt x="351" y="121"/>
                  </a:lnTo>
                  <a:lnTo>
                    <a:pt x="361" y="117"/>
                  </a:lnTo>
                  <a:lnTo>
                    <a:pt x="364" y="142"/>
                  </a:lnTo>
                  <a:lnTo>
                    <a:pt x="380" y="159"/>
                  </a:lnTo>
                  <a:lnTo>
                    <a:pt x="368" y="173"/>
                  </a:lnTo>
                  <a:lnTo>
                    <a:pt x="372" y="182"/>
                  </a:lnTo>
                  <a:lnTo>
                    <a:pt x="368" y="205"/>
                  </a:lnTo>
                  <a:lnTo>
                    <a:pt x="386" y="228"/>
                  </a:lnTo>
                  <a:lnTo>
                    <a:pt x="376" y="242"/>
                  </a:lnTo>
                  <a:lnTo>
                    <a:pt x="386" y="259"/>
                  </a:lnTo>
                  <a:lnTo>
                    <a:pt x="389" y="269"/>
                  </a:lnTo>
                  <a:lnTo>
                    <a:pt x="366" y="261"/>
                  </a:lnTo>
                  <a:lnTo>
                    <a:pt x="357" y="269"/>
                  </a:lnTo>
                  <a:lnTo>
                    <a:pt x="366" y="293"/>
                  </a:lnTo>
                  <a:lnTo>
                    <a:pt x="361" y="309"/>
                  </a:lnTo>
                  <a:lnTo>
                    <a:pt x="340" y="313"/>
                  </a:lnTo>
                  <a:lnTo>
                    <a:pt x="334" y="307"/>
                  </a:lnTo>
                  <a:lnTo>
                    <a:pt x="313" y="332"/>
                  </a:lnTo>
                  <a:lnTo>
                    <a:pt x="292" y="324"/>
                  </a:lnTo>
                  <a:lnTo>
                    <a:pt x="299" y="288"/>
                  </a:lnTo>
                  <a:lnTo>
                    <a:pt x="292" y="280"/>
                  </a:lnTo>
                  <a:lnTo>
                    <a:pt x="290" y="263"/>
                  </a:lnTo>
                  <a:lnTo>
                    <a:pt x="274" y="255"/>
                  </a:lnTo>
                  <a:lnTo>
                    <a:pt x="265" y="263"/>
                  </a:lnTo>
                  <a:lnTo>
                    <a:pt x="251" y="251"/>
                  </a:lnTo>
                  <a:lnTo>
                    <a:pt x="238" y="263"/>
                  </a:lnTo>
                  <a:lnTo>
                    <a:pt x="234" y="247"/>
                  </a:lnTo>
                  <a:lnTo>
                    <a:pt x="238" y="224"/>
                  </a:lnTo>
                  <a:lnTo>
                    <a:pt x="203" y="167"/>
                  </a:lnTo>
                  <a:lnTo>
                    <a:pt x="176" y="157"/>
                  </a:lnTo>
                  <a:lnTo>
                    <a:pt x="171" y="163"/>
                  </a:lnTo>
                  <a:lnTo>
                    <a:pt x="136" y="163"/>
                  </a:lnTo>
                  <a:lnTo>
                    <a:pt x="109" y="199"/>
                  </a:lnTo>
                  <a:lnTo>
                    <a:pt x="86" y="21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4" name="Freeform 107"/>
            <p:cNvSpPr>
              <a:spLocks/>
            </p:cNvSpPr>
            <p:nvPr/>
          </p:nvSpPr>
          <p:spPr bwMode="auto">
            <a:xfrm rot="127247">
              <a:off x="2385" y="2167"/>
              <a:ext cx="52" cy="39"/>
            </a:xfrm>
            <a:custGeom>
              <a:avLst/>
              <a:gdLst>
                <a:gd name="T0" fmla="*/ 79 w 169"/>
                <a:gd name="T1" fmla="*/ 108 h 108"/>
                <a:gd name="T2" fmla="*/ 67 w 169"/>
                <a:gd name="T3" fmla="*/ 92 h 108"/>
                <a:gd name="T4" fmla="*/ 50 w 169"/>
                <a:gd name="T5" fmla="*/ 83 h 108"/>
                <a:gd name="T6" fmla="*/ 69 w 169"/>
                <a:gd name="T7" fmla="*/ 67 h 108"/>
                <a:gd name="T8" fmla="*/ 52 w 169"/>
                <a:gd name="T9" fmla="*/ 62 h 108"/>
                <a:gd name="T10" fmla="*/ 66 w 169"/>
                <a:gd name="T11" fmla="*/ 48 h 108"/>
                <a:gd name="T12" fmla="*/ 29 w 169"/>
                <a:gd name="T13" fmla="*/ 54 h 108"/>
                <a:gd name="T14" fmla="*/ 12 w 169"/>
                <a:gd name="T15" fmla="*/ 37 h 108"/>
                <a:gd name="T16" fmla="*/ 0 w 169"/>
                <a:gd name="T17" fmla="*/ 14 h 108"/>
                <a:gd name="T18" fmla="*/ 48 w 169"/>
                <a:gd name="T19" fmla="*/ 12 h 108"/>
                <a:gd name="T20" fmla="*/ 81 w 169"/>
                <a:gd name="T21" fmla="*/ 16 h 108"/>
                <a:gd name="T22" fmla="*/ 100 w 169"/>
                <a:gd name="T23" fmla="*/ 0 h 108"/>
                <a:gd name="T24" fmla="*/ 144 w 169"/>
                <a:gd name="T25" fmla="*/ 0 h 108"/>
                <a:gd name="T26" fmla="*/ 165 w 169"/>
                <a:gd name="T27" fmla="*/ 8 h 108"/>
                <a:gd name="T28" fmla="*/ 152 w 169"/>
                <a:gd name="T29" fmla="*/ 33 h 108"/>
                <a:gd name="T30" fmla="*/ 169 w 169"/>
                <a:gd name="T31" fmla="*/ 58 h 108"/>
                <a:gd name="T32" fmla="*/ 142 w 169"/>
                <a:gd name="T33" fmla="*/ 71 h 108"/>
                <a:gd name="T34" fmla="*/ 104 w 169"/>
                <a:gd name="T35" fmla="*/ 73 h 108"/>
                <a:gd name="T36" fmla="*/ 79 w 169"/>
                <a:gd name="T37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9" h="108">
                  <a:moveTo>
                    <a:pt x="79" y="108"/>
                  </a:moveTo>
                  <a:lnTo>
                    <a:pt x="67" y="92"/>
                  </a:lnTo>
                  <a:lnTo>
                    <a:pt x="50" y="83"/>
                  </a:lnTo>
                  <a:lnTo>
                    <a:pt x="69" y="67"/>
                  </a:lnTo>
                  <a:lnTo>
                    <a:pt x="52" y="62"/>
                  </a:lnTo>
                  <a:lnTo>
                    <a:pt x="66" y="48"/>
                  </a:lnTo>
                  <a:lnTo>
                    <a:pt x="29" y="54"/>
                  </a:lnTo>
                  <a:lnTo>
                    <a:pt x="12" y="37"/>
                  </a:lnTo>
                  <a:lnTo>
                    <a:pt x="0" y="14"/>
                  </a:lnTo>
                  <a:lnTo>
                    <a:pt x="48" y="12"/>
                  </a:lnTo>
                  <a:lnTo>
                    <a:pt x="81" y="16"/>
                  </a:lnTo>
                  <a:lnTo>
                    <a:pt x="100" y="0"/>
                  </a:lnTo>
                  <a:lnTo>
                    <a:pt x="144" y="0"/>
                  </a:lnTo>
                  <a:lnTo>
                    <a:pt x="165" y="8"/>
                  </a:lnTo>
                  <a:lnTo>
                    <a:pt x="152" y="33"/>
                  </a:lnTo>
                  <a:lnTo>
                    <a:pt x="169" y="58"/>
                  </a:lnTo>
                  <a:lnTo>
                    <a:pt x="142" y="71"/>
                  </a:lnTo>
                  <a:lnTo>
                    <a:pt x="104" y="73"/>
                  </a:lnTo>
                  <a:lnTo>
                    <a:pt x="79" y="10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5" name="Freeform 108"/>
            <p:cNvSpPr>
              <a:spLocks/>
            </p:cNvSpPr>
            <p:nvPr/>
          </p:nvSpPr>
          <p:spPr bwMode="auto">
            <a:xfrm rot="127247">
              <a:off x="2385" y="2084"/>
              <a:ext cx="90" cy="96"/>
            </a:xfrm>
            <a:custGeom>
              <a:avLst/>
              <a:gdLst>
                <a:gd name="T0" fmla="*/ 289 w 295"/>
                <a:gd name="T1" fmla="*/ 261 h 265"/>
                <a:gd name="T2" fmla="*/ 295 w 295"/>
                <a:gd name="T3" fmla="*/ 222 h 265"/>
                <a:gd name="T4" fmla="*/ 282 w 295"/>
                <a:gd name="T5" fmla="*/ 205 h 265"/>
                <a:gd name="T6" fmla="*/ 268 w 295"/>
                <a:gd name="T7" fmla="*/ 199 h 265"/>
                <a:gd name="T8" fmla="*/ 259 w 295"/>
                <a:gd name="T9" fmla="*/ 186 h 265"/>
                <a:gd name="T10" fmla="*/ 268 w 295"/>
                <a:gd name="T11" fmla="*/ 171 h 265"/>
                <a:gd name="T12" fmla="*/ 262 w 295"/>
                <a:gd name="T13" fmla="*/ 130 h 265"/>
                <a:gd name="T14" fmla="*/ 247 w 295"/>
                <a:gd name="T15" fmla="*/ 96 h 265"/>
                <a:gd name="T16" fmla="*/ 236 w 295"/>
                <a:gd name="T17" fmla="*/ 94 h 265"/>
                <a:gd name="T18" fmla="*/ 232 w 295"/>
                <a:gd name="T19" fmla="*/ 82 h 265"/>
                <a:gd name="T20" fmla="*/ 224 w 295"/>
                <a:gd name="T21" fmla="*/ 65 h 265"/>
                <a:gd name="T22" fmla="*/ 213 w 295"/>
                <a:gd name="T23" fmla="*/ 61 h 265"/>
                <a:gd name="T24" fmla="*/ 207 w 295"/>
                <a:gd name="T25" fmla="*/ 40 h 265"/>
                <a:gd name="T26" fmla="*/ 176 w 295"/>
                <a:gd name="T27" fmla="*/ 31 h 265"/>
                <a:gd name="T28" fmla="*/ 165 w 295"/>
                <a:gd name="T29" fmla="*/ 10 h 265"/>
                <a:gd name="T30" fmla="*/ 122 w 295"/>
                <a:gd name="T31" fmla="*/ 0 h 265"/>
                <a:gd name="T32" fmla="*/ 97 w 295"/>
                <a:gd name="T33" fmla="*/ 11 h 265"/>
                <a:gd name="T34" fmla="*/ 63 w 295"/>
                <a:gd name="T35" fmla="*/ 8 h 265"/>
                <a:gd name="T36" fmla="*/ 44 w 295"/>
                <a:gd name="T37" fmla="*/ 19 h 265"/>
                <a:gd name="T38" fmla="*/ 36 w 295"/>
                <a:gd name="T39" fmla="*/ 48 h 265"/>
                <a:gd name="T40" fmla="*/ 0 w 295"/>
                <a:gd name="T41" fmla="*/ 92 h 265"/>
                <a:gd name="T42" fmla="*/ 0 w 295"/>
                <a:gd name="T43" fmla="*/ 107 h 265"/>
                <a:gd name="T44" fmla="*/ 13 w 295"/>
                <a:gd name="T45" fmla="*/ 136 h 265"/>
                <a:gd name="T46" fmla="*/ 15 w 295"/>
                <a:gd name="T47" fmla="*/ 161 h 265"/>
                <a:gd name="T48" fmla="*/ 80 w 295"/>
                <a:gd name="T49" fmla="*/ 176 h 265"/>
                <a:gd name="T50" fmla="*/ 136 w 295"/>
                <a:gd name="T51" fmla="*/ 173 h 265"/>
                <a:gd name="T52" fmla="*/ 142 w 295"/>
                <a:gd name="T53" fmla="*/ 184 h 265"/>
                <a:gd name="T54" fmla="*/ 163 w 295"/>
                <a:gd name="T55" fmla="*/ 190 h 265"/>
                <a:gd name="T56" fmla="*/ 182 w 295"/>
                <a:gd name="T57" fmla="*/ 188 h 265"/>
                <a:gd name="T58" fmla="*/ 174 w 295"/>
                <a:gd name="T59" fmla="*/ 201 h 265"/>
                <a:gd name="T60" fmla="*/ 111 w 295"/>
                <a:gd name="T61" fmla="*/ 182 h 265"/>
                <a:gd name="T62" fmla="*/ 86 w 295"/>
                <a:gd name="T63" fmla="*/ 198 h 265"/>
                <a:gd name="T64" fmla="*/ 78 w 295"/>
                <a:gd name="T65" fmla="*/ 190 h 265"/>
                <a:gd name="T66" fmla="*/ 65 w 295"/>
                <a:gd name="T67" fmla="*/ 199 h 265"/>
                <a:gd name="T68" fmla="*/ 5 w 295"/>
                <a:gd name="T69" fmla="*/ 205 h 265"/>
                <a:gd name="T70" fmla="*/ 5 w 295"/>
                <a:gd name="T71" fmla="*/ 234 h 265"/>
                <a:gd name="T72" fmla="*/ 7 w 295"/>
                <a:gd name="T73" fmla="*/ 242 h 265"/>
                <a:gd name="T74" fmla="*/ 55 w 295"/>
                <a:gd name="T75" fmla="*/ 240 h 265"/>
                <a:gd name="T76" fmla="*/ 90 w 295"/>
                <a:gd name="T77" fmla="*/ 246 h 265"/>
                <a:gd name="T78" fmla="*/ 107 w 295"/>
                <a:gd name="T79" fmla="*/ 228 h 265"/>
                <a:gd name="T80" fmla="*/ 151 w 295"/>
                <a:gd name="T81" fmla="*/ 228 h 265"/>
                <a:gd name="T82" fmla="*/ 172 w 295"/>
                <a:gd name="T83" fmla="*/ 236 h 265"/>
                <a:gd name="T84" fmla="*/ 245 w 295"/>
                <a:gd name="T85" fmla="*/ 265 h 265"/>
                <a:gd name="T86" fmla="*/ 289 w 295"/>
                <a:gd name="T87" fmla="*/ 261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95" h="265">
                  <a:moveTo>
                    <a:pt x="289" y="261"/>
                  </a:moveTo>
                  <a:lnTo>
                    <a:pt x="295" y="222"/>
                  </a:lnTo>
                  <a:lnTo>
                    <a:pt x="282" y="205"/>
                  </a:lnTo>
                  <a:lnTo>
                    <a:pt x="268" y="199"/>
                  </a:lnTo>
                  <a:lnTo>
                    <a:pt x="259" y="186"/>
                  </a:lnTo>
                  <a:lnTo>
                    <a:pt x="268" y="171"/>
                  </a:lnTo>
                  <a:lnTo>
                    <a:pt x="262" y="130"/>
                  </a:lnTo>
                  <a:lnTo>
                    <a:pt x="247" y="96"/>
                  </a:lnTo>
                  <a:lnTo>
                    <a:pt x="236" y="94"/>
                  </a:lnTo>
                  <a:lnTo>
                    <a:pt x="232" y="82"/>
                  </a:lnTo>
                  <a:lnTo>
                    <a:pt x="224" y="65"/>
                  </a:lnTo>
                  <a:lnTo>
                    <a:pt x="213" y="61"/>
                  </a:lnTo>
                  <a:lnTo>
                    <a:pt x="207" y="40"/>
                  </a:lnTo>
                  <a:lnTo>
                    <a:pt x="176" y="31"/>
                  </a:lnTo>
                  <a:lnTo>
                    <a:pt x="165" y="10"/>
                  </a:lnTo>
                  <a:lnTo>
                    <a:pt x="122" y="0"/>
                  </a:lnTo>
                  <a:lnTo>
                    <a:pt x="97" y="11"/>
                  </a:lnTo>
                  <a:lnTo>
                    <a:pt x="63" y="8"/>
                  </a:lnTo>
                  <a:lnTo>
                    <a:pt x="44" y="19"/>
                  </a:lnTo>
                  <a:lnTo>
                    <a:pt x="36" y="48"/>
                  </a:lnTo>
                  <a:lnTo>
                    <a:pt x="0" y="92"/>
                  </a:lnTo>
                  <a:lnTo>
                    <a:pt x="0" y="107"/>
                  </a:lnTo>
                  <a:lnTo>
                    <a:pt x="13" y="136"/>
                  </a:lnTo>
                  <a:lnTo>
                    <a:pt x="15" y="161"/>
                  </a:lnTo>
                  <a:lnTo>
                    <a:pt x="80" y="176"/>
                  </a:lnTo>
                  <a:lnTo>
                    <a:pt x="136" y="173"/>
                  </a:lnTo>
                  <a:lnTo>
                    <a:pt x="142" y="184"/>
                  </a:lnTo>
                  <a:lnTo>
                    <a:pt x="163" y="190"/>
                  </a:lnTo>
                  <a:lnTo>
                    <a:pt x="182" y="188"/>
                  </a:lnTo>
                  <a:lnTo>
                    <a:pt x="174" y="201"/>
                  </a:lnTo>
                  <a:lnTo>
                    <a:pt x="111" y="182"/>
                  </a:lnTo>
                  <a:lnTo>
                    <a:pt x="86" y="198"/>
                  </a:lnTo>
                  <a:lnTo>
                    <a:pt x="78" y="190"/>
                  </a:lnTo>
                  <a:lnTo>
                    <a:pt x="65" y="199"/>
                  </a:lnTo>
                  <a:lnTo>
                    <a:pt x="5" y="205"/>
                  </a:lnTo>
                  <a:lnTo>
                    <a:pt x="5" y="234"/>
                  </a:lnTo>
                  <a:lnTo>
                    <a:pt x="7" y="242"/>
                  </a:lnTo>
                  <a:lnTo>
                    <a:pt x="55" y="240"/>
                  </a:lnTo>
                  <a:lnTo>
                    <a:pt x="90" y="246"/>
                  </a:lnTo>
                  <a:lnTo>
                    <a:pt x="107" y="228"/>
                  </a:lnTo>
                  <a:lnTo>
                    <a:pt x="151" y="228"/>
                  </a:lnTo>
                  <a:lnTo>
                    <a:pt x="172" y="236"/>
                  </a:lnTo>
                  <a:lnTo>
                    <a:pt x="245" y="265"/>
                  </a:lnTo>
                  <a:lnTo>
                    <a:pt x="289" y="261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6" name="Freeform 109"/>
            <p:cNvSpPr>
              <a:spLocks/>
            </p:cNvSpPr>
            <p:nvPr/>
          </p:nvSpPr>
          <p:spPr bwMode="auto">
            <a:xfrm rot="127247">
              <a:off x="2386" y="2142"/>
              <a:ext cx="54" cy="14"/>
            </a:xfrm>
            <a:custGeom>
              <a:avLst/>
              <a:gdLst>
                <a:gd name="T0" fmla="*/ 12 w 179"/>
                <a:gd name="T1" fmla="*/ 0 h 42"/>
                <a:gd name="T2" fmla="*/ 0 w 179"/>
                <a:gd name="T3" fmla="*/ 10 h 42"/>
                <a:gd name="T4" fmla="*/ 2 w 179"/>
                <a:gd name="T5" fmla="*/ 42 h 42"/>
                <a:gd name="T6" fmla="*/ 60 w 179"/>
                <a:gd name="T7" fmla="*/ 38 h 42"/>
                <a:gd name="T8" fmla="*/ 75 w 179"/>
                <a:gd name="T9" fmla="*/ 29 h 42"/>
                <a:gd name="T10" fmla="*/ 81 w 179"/>
                <a:gd name="T11" fmla="*/ 37 h 42"/>
                <a:gd name="T12" fmla="*/ 108 w 179"/>
                <a:gd name="T13" fmla="*/ 21 h 42"/>
                <a:gd name="T14" fmla="*/ 173 w 179"/>
                <a:gd name="T15" fmla="*/ 40 h 42"/>
                <a:gd name="T16" fmla="*/ 179 w 179"/>
                <a:gd name="T17" fmla="*/ 27 h 42"/>
                <a:gd name="T18" fmla="*/ 164 w 179"/>
                <a:gd name="T19" fmla="*/ 29 h 42"/>
                <a:gd name="T20" fmla="*/ 139 w 179"/>
                <a:gd name="T21" fmla="*/ 21 h 42"/>
                <a:gd name="T22" fmla="*/ 131 w 179"/>
                <a:gd name="T23" fmla="*/ 12 h 42"/>
                <a:gd name="T24" fmla="*/ 79 w 179"/>
                <a:gd name="T25" fmla="*/ 15 h 42"/>
                <a:gd name="T26" fmla="*/ 12 w 179"/>
                <a:gd name="T2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9" h="42">
                  <a:moveTo>
                    <a:pt x="12" y="0"/>
                  </a:moveTo>
                  <a:lnTo>
                    <a:pt x="0" y="10"/>
                  </a:lnTo>
                  <a:lnTo>
                    <a:pt x="2" y="42"/>
                  </a:lnTo>
                  <a:lnTo>
                    <a:pt x="60" y="38"/>
                  </a:lnTo>
                  <a:lnTo>
                    <a:pt x="75" y="29"/>
                  </a:lnTo>
                  <a:lnTo>
                    <a:pt x="81" y="37"/>
                  </a:lnTo>
                  <a:lnTo>
                    <a:pt x="108" y="21"/>
                  </a:lnTo>
                  <a:lnTo>
                    <a:pt x="173" y="40"/>
                  </a:lnTo>
                  <a:lnTo>
                    <a:pt x="179" y="27"/>
                  </a:lnTo>
                  <a:lnTo>
                    <a:pt x="164" y="29"/>
                  </a:lnTo>
                  <a:lnTo>
                    <a:pt x="139" y="21"/>
                  </a:lnTo>
                  <a:lnTo>
                    <a:pt x="131" y="12"/>
                  </a:lnTo>
                  <a:lnTo>
                    <a:pt x="79" y="15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7" name="Freeform 110"/>
            <p:cNvSpPr>
              <a:spLocks/>
            </p:cNvSpPr>
            <p:nvPr/>
          </p:nvSpPr>
          <p:spPr bwMode="auto">
            <a:xfrm rot="127247">
              <a:off x="2467" y="1924"/>
              <a:ext cx="278" cy="314"/>
            </a:xfrm>
            <a:custGeom>
              <a:avLst/>
              <a:gdLst>
                <a:gd name="T0" fmla="*/ 28 w 915"/>
                <a:gd name="T1" fmla="*/ 580 h 864"/>
                <a:gd name="T2" fmla="*/ 50 w 915"/>
                <a:gd name="T3" fmla="*/ 526 h 864"/>
                <a:gd name="T4" fmla="*/ 92 w 915"/>
                <a:gd name="T5" fmla="*/ 545 h 864"/>
                <a:gd name="T6" fmla="*/ 163 w 915"/>
                <a:gd name="T7" fmla="*/ 532 h 864"/>
                <a:gd name="T8" fmla="*/ 370 w 915"/>
                <a:gd name="T9" fmla="*/ 555 h 864"/>
                <a:gd name="T10" fmla="*/ 362 w 915"/>
                <a:gd name="T11" fmla="*/ 482 h 864"/>
                <a:gd name="T12" fmla="*/ 451 w 915"/>
                <a:gd name="T13" fmla="*/ 6 h 864"/>
                <a:gd name="T14" fmla="*/ 750 w 915"/>
                <a:gd name="T15" fmla="*/ 269 h 864"/>
                <a:gd name="T16" fmla="*/ 813 w 915"/>
                <a:gd name="T17" fmla="*/ 300 h 864"/>
                <a:gd name="T18" fmla="*/ 850 w 915"/>
                <a:gd name="T19" fmla="*/ 323 h 864"/>
                <a:gd name="T20" fmla="*/ 846 w 915"/>
                <a:gd name="T21" fmla="*/ 359 h 864"/>
                <a:gd name="T22" fmla="*/ 915 w 915"/>
                <a:gd name="T23" fmla="*/ 369 h 864"/>
                <a:gd name="T24" fmla="*/ 890 w 915"/>
                <a:gd name="T25" fmla="*/ 549 h 864"/>
                <a:gd name="T26" fmla="*/ 867 w 915"/>
                <a:gd name="T27" fmla="*/ 585 h 864"/>
                <a:gd name="T28" fmla="*/ 792 w 915"/>
                <a:gd name="T29" fmla="*/ 582 h 864"/>
                <a:gd name="T30" fmla="*/ 681 w 915"/>
                <a:gd name="T31" fmla="*/ 591 h 864"/>
                <a:gd name="T32" fmla="*/ 644 w 915"/>
                <a:gd name="T33" fmla="*/ 587 h 864"/>
                <a:gd name="T34" fmla="*/ 550 w 915"/>
                <a:gd name="T35" fmla="*/ 639 h 864"/>
                <a:gd name="T36" fmla="*/ 500 w 915"/>
                <a:gd name="T37" fmla="*/ 664 h 864"/>
                <a:gd name="T38" fmla="*/ 489 w 915"/>
                <a:gd name="T39" fmla="*/ 687 h 864"/>
                <a:gd name="T40" fmla="*/ 447 w 915"/>
                <a:gd name="T41" fmla="*/ 679 h 864"/>
                <a:gd name="T42" fmla="*/ 431 w 915"/>
                <a:gd name="T43" fmla="*/ 708 h 864"/>
                <a:gd name="T44" fmla="*/ 360 w 915"/>
                <a:gd name="T45" fmla="*/ 758 h 864"/>
                <a:gd name="T46" fmla="*/ 372 w 915"/>
                <a:gd name="T47" fmla="*/ 783 h 864"/>
                <a:gd name="T48" fmla="*/ 326 w 915"/>
                <a:gd name="T49" fmla="*/ 848 h 864"/>
                <a:gd name="T50" fmla="*/ 305 w 915"/>
                <a:gd name="T51" fmla="*/ 829 h 864"/>
                <a:gd name="T52" fmla="*/ 280 w 915"/>
                <a:gd name="T53" fmla="*/ 843 h 864"/>
                <a:gd name="T54" fmla="*/ 236 w 915"/>
                <a:gd name="T55" fmla="*/ 841 h 864"/>
                <a:gd name="T56" fmla="*/ 218 w 915"/>
                <a:gd name="T57" fmla="*/ 854 h 864"/>
                <a:gd name="T58" fmla="*/ 191 w 915"/>
                <a:gd name="T59" fmla="*/ 837 h 864"/>
                <a:gd name="T60" fmla="*/ 176 w 915"/>
                <a:gd name="T61" fmla="*/ 816 h 864"/>
                <a:gd name="T62" fmla="*/ 188 w 915"/>
                <a:gd name="T63" fmla="*/ 793 h 864"/>
                <a:gd name="T64" fmla="*/ 167 w 915"/>
                <a:gd name="T65" fmla="*/ 762 h 864"/>
                <a:gd name="T66" fmla="*/ 155 w 915"/>
                <a:gd name="T67" fmla="*/ 726 h 864"/>
                <a:gd name="T68" fmla="*/ 124 w 915"/>
                <a:gd name="T69" fmla="*/ 749 h 864"/>
                <a:gd name="T70" fmla="*/ 99 w 915"/>
                <a:gd name="T71" fmla="*/ 739 h 864"/>
                <a:gd name="T72" fmla="*/ 57 w 915"/>
                <a:gd name="T73" fmla="*/ 733 h 864"/>
                <a:gd name="T74" fmla="*/ 28 w 915"/>
                <a:gd name="T75" fmla="*/ 720 h 864"/>
                <a:gd name="T76" fmla="*/ 28 w 915"/>
                <a:gd name="T77" fmla="*/ 666 h 864"/>
                <a:gd name="T78" fmla="*/ 0 w 915"/>
                <a:gd name="T79" fmla="*/ 641 h 864"/>
                <a:gd name="T80" fmla="*/ 3 w 915"/>
                <a:gd name="T81" fmla="*/ 585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15" h="864">
                  <a:moveTo>
                    <a:pt x="3" y="585"/>
                  </a:moveTo>
                  <a:lnTo>
                    <a:pt x="28" y="580"/>
                  </a:lnTo>
                  <a:lnTo>
                    <a:pt x="30" y="530"/>
                  </a:lnTo>
                  <a:lnTo>
                    <a:pt x="50" y="526"/>
                  </a:lnTo>
                  <a:lnTo>
                    <a:pt x="73" y="570"/>
                  </a:lnTo>
                  <a:lnTo>
                    <a:pt x="92" y="545"/>
                  </a:lnTo>
                  <a:lnTo>
                    <a:pt x="145" y="543"/>
                  </a:lnTo>
                  <a:lnTo>
                    <a:pt x="163" y="532"/>
                  </a:lnTo>
                  <a:lnTo>
                    <a:pt x="168" y="547"/>
                  </a:lnTo>
                  <a:lnTo>
                    <a:pt x="370" y="555"/>
                  </a:lnTo>
                  <a:lnTo>
                    <a:pt x="381" y="505"/>
                  </a:lnTo>
                  <a:lnTo>
                    <a:pt x="362" y="482"/>
                  </a:lnTo>
                  <a:lnTo>
                    <a:pt x="370" y="0"/>
                  </a:lnTo>
                  <a:lnTo>
                    <a:pt x="451" y="6"/>
                  </a:lnTo>
                  <a:lnTo>
                    <a:pt x="752" y="246"/>
                  </a:lnTo>
                  <a:lnTo>
                    <a:pt x="750" y="269"/>
                  </a:lnTo>
                  <a:lnTo>
                    <a:pt x="782" y="300"/>
                  </a:lnTo>
                  <a:lnTo>
                    <a:pt x="813" y="300"/>
                  </a:lnTo>
                  <a:lnTo>
                    <a:pt x="817" y="317"/>
                  </a:lnTo>
                  <a:lnTo>
                    <a:pt x="850" y="323"/>
                  </a:lnTo>
                  <a:lnTo>
                    <a:pt x="859" y="334"/>
                  </a:lnTo>
                  <a:lnTo>
                    <a:pt x="846" y="359"/>
                  </a:lnTo>
                  <a:lnTo>
                    <a:pt x="861" y="373"/>
                  </a:lnTo>
                  <a:lnTo>
                    <a:pt x="915" y="369"/>
                  </a:lnTo>
                  <a:lnTo>
                    <a:pt x="903" y="511"/>
                  </a:lnTo>
                  <a:lnTo>
                    <a:pt x="890" y="549"/>
                  </a:lnTo>
                  <a:lnTo>
                    <a:pt x="896" y="561"/>
                  </a:lnTo>
                  <a:lnTo>
                    <a:pt x="867" y="585"/>
                  </a:lnTo>
                  <a:lnTo>
                    <a:pt x="805" y="587"/>
                  </a:lnTo>
                  <a:lnTo>
                    <a:pt x="792" y="582"/>
                  </a:lnTo>
                  <a:lnTo>
                    <a:pt x="721" y="603"/>
                  </a:lnTo>
                  <a:lnTo>
                    <a:pt x="681" y="591"/>
                  </a:lnTo>
                  <a:lnTo>
                    <a:pt x="650" y="597"/>
                  </a:lnTo>
                  <a:lnTo>
                    <a:pt x="644" y="587"/>
                  </a:lnTo>
                  <a:lnTo>
                    <a:pt x="562" y="616"/>
                  </a:lnTo>
                  <a:lnTo>
                    <a:pt x="550" y="639"/>
                  </a:lnTo>
                  <a:lnTo>
                    <a:pt x="514" y="639"/>
                  </a:lnTo>
                  <a:lnTo>
                    <a:pt x="500" y="664"/>
                  </a:lnTo>
                  <a:lnTo>
                    <a:pt x="479" y="666"/>
                  </a:lnTo>
                  <a:lnTo>
                    <a:pt x="489" y="687"/>
                  </a:lnTo>
                  <a:lnTo>
                    <a:pt x="462" y="701"/>
                  </a:lnTo>
                  <a:lnTo>
                    <a:pt x="447" y="679"/>
                  </a:lnTo>
                  <a:lnTo>
                    <a:pt x="422" y="695"/>
                  </a:lnTo>
                  <a:lnTo>
                    <a:pt x="431" y="708"/>
                  </a:lnTo>
                  <a:lnTo>
                    <a:pt x="403" y="754"/>
                  </a:lnTo>
                  <a:lnTo>
                    <a:pt x="360" y="758"/>
                  </a:lnTo>
                  <a:lnTo>
                    <a:pt x="355" y="770"/>
                  </a:lnTo>
                  <a:lnTo>
                    <a:pt x="372" y="783"/>
                  </a:lnTo>
                  <a:lnTo>
                    <a:pt x="347" y="844"/>
                  </a:lnTo>
                  <a:lnTo>
                    <a:pt x="326" y="848"/>
                  </a:lnTo>
                  <a:lnTo>
                    <a:pt x="316" y="864"/>
                  </a:lnTo>
                  <a:lnTo>
                    <a:pt x="305" y="829"/>
                  </a:lnTo>
                  <a:lnTo>
                    <a:pt x="282" y="831"/>
                  </a:lnTo>
                  <a:lnTo>
                    <a:pt x="280" y="843"/>
                  </a:lnTo>
                  <a:lnTo>
                    <a:pt x="253" y="852"/>
                  </a:lnTo>
                  <a:lnTo>
                    <a:pt x="236" y="841"/>
                  </a:lnTo>
                  <a:lnTo>
                    <a:pt x="228" y="839"/>
                  </a:lnTo>
                  <a:lnTo>
                    <a:pt x="218" y="854"/>
                  </a:lnTo>
                  <a:lnTo>
                    <a:pt x="205" y="850"/>
                  </a:lnTo>
                  <a:lnTo>
                    <a:pt x="191" y="837"/>
                  </a:lnTo>
                  <a:lnTo>
                    <a:pt x="188" y="810"/>
                  </a:lnTo>
                  <a:lnTo>
                    <a:pt x="176" y="816"/>
                  </a:lnTo>
                  <a:lnTo>
                    <a:pt x="172" y="806"/>
                  </a:lnTo>
                  <a:lnTo>
                    <a:pt x="188" y="793"/>
                  </a:lnTo>
                  <a:lnTo>
                    <a:pt x="174" y="781"/>
                  </a:lnTo>
                  <a:lnTo>
                    <a:pt x="167" y="762"/>
                  </a:lnTo>
                  <a:lnTo>
                    <a:pt x="174" y="750"/>
                  </a:lnTo>
                  <a:lnTo>
                    <a:pt x="155" y="726"/>
                  </a:lnTo>
                  <a:lnTo>
                    <a:pt x="126" y="739"/>
                  </a:lnTo>
                  <a:lnTo>
                    <a:pt x="124" y="749"/>
                  </a:lnTo>
                  <a:lnTo>
                    <a:pt x="107" y="749"/>
                  </a:lnTo>
                  <a:lnTo>
                    <a:pt x="99" y="739"/>
                  </a:lnTo>
                  <a:lnTo>
                    <a:pt x="74" y="750"/>
                  </a:lnTo>
                  <a:lnTo>
                    <a:pt x="57" y="733"/>
                  </a:lnTo>
                  <a:lnTo>
                    <a:pt x="36" y="745"/>
                  </a:lnTo>
                  <a:lnTo>
                    <a:pt x="28" y="720"/>
                  </a:lnTo>
                  <a:lnTo>
                    <a:pt x="38" y="683"/>
                  </a:lnTo>
                  <a:lnTo>
                    <a:pt x="28" y="666"/>
                  </a:lnTo>
                  <a:lnTo>
                    <a:pt x="7" y="658"/>
                  </a:lnTo>
                  <a:lnTo>
                    <a:pt x="0" y="641"/>
                  </a:lnTo>
                  <a:lnTo>
                    <a:pt x="9" y="628"/>
                  </a:lnTo>
                  <a:lnTo>
                    <a:pt x="3" y="58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8" name="Freeform 111"/>
            <p:cNvSpPr>
              <a:spLocks/>
            </p:cNvSpPr>
            <p:nvPr/>
          </p:nvSpPr>
          <p:spPr bwMode="auto">
            <a:xfrm rot="127247">
              <a:off x="2567" y="2138"/>
              <a:ext cx="133" cy="118"/>
            </a:xfrm>
            <a:custGeom>
              <a:avLst/>
              <a:gdLst>
                <a:gd name="T0" fmla="*/ 366 w 434"/>
                <a:gd name="T1" fmla="*/ 240 h 323"/>
                <a:gd name="T2" fmla="*/ 347 w 434"/>
                <a:gd name="T3" fmla="*/ 236 h 323"/>
                <a:gd name="T4" fmla="*/ 336 w 434"/>
                <a:gd name="T5" fmla="*/ 246 h 323"/>
                <a:gd name="T6" fmla="*/ 305 w 434"/>
                <a:gd name="T7" fmla="*/ 236 h 323"/>
                <a:gd name="T8" fmla="*/ 290 w 434"/>
                <a:gd name="T9" fmla="*/ 231 h 323"/>
                <a:gd name="T10" fmla="*/ 270 w 434"/>
                <a:gd name="T11" fmla="*/ 242 h 323"/>
                <a:gd name="T12" fmla="*/ 255 w 434"/>
                <a:gd name="T13" fmla="*/ 234 h 323"/>
                <a:gd name="T14" fmla="*/ 169 w 434"/>
                <a:gd name="T15" fmla="*/ 238 h 323"/>
                <a:gd name="T16" fmla="*/ 151 w 434"/>
                <a:gd name="T17" fmla="*/ 248 h 323"/>
                <a:gd name="T18" fmla="*/ 151 w 434"/>
                <a:gd name="T19" fmla="*/ 323 h 323"/>
                <a:gd name="T20" fmla="*/ 134 w 434"/>
                <a:gd name="T21" fmla="*/ 302 h 323"/>
                <a:gd name="T22" fmla="*/ 104 w 434"/>
                <a:gd name="T23" fmla="*/ 288 h 323"/>
                <a:gd name="T24" fmla="*/ 63 w 434"/>
                <a:gd name="T25" fmla="*/ 300 h 323"/>
                <a:gd name="T26" fmla="*/ 59 w 434"/>
                <a:gd name="T27" fmla="*/ 311 h 323"/>
                <a:gd name="T28" fmla="*/ 36 w 434"/>
                <a:gd name="T29" fmla="*/ 296 h 323"/>
                <a:gd name="T30" fmla="*/ 13 w 434"/>
                <a:gd name="T31" fmla="*/ 265 h 323"/>
                <a:gd name="T32" fmla="*/ 0 w 434"/>
                <a:gd name="T33" fmla="*/ 257 h 323"/>
                <a:gd name="T34" fmla="*/ 25 w 434"/>
                <a:gd name="T35" fmla="*/ 196 h 323"/>
                <a:gd name="T36" fmla="*/ 8 w 434"/>
                <a:gd name="T37" fmla="*/ 183 h 323"/>
                <a:gd name="T38" fmla="*/ 13 w 434"/>
                <a:gd name="T39" fmla="*/ 171 h 323"/>
                <a:gd name="T40" fmla="*/ 56 w 434"/>
                <a:gd name="T41" fmla="*/ 167 h 323"/>
                <a:gd name="T42" fmla="*/ 84 w 434"/>
                <a:gd name="T43" fmla="*/ 121 h 323"/>
                <a:gd name="T44" fmla="*/ 75 w 434"/>
                <a:gd name="T45" fmla="*/ 108 h 323"/>
                <a:gd name="T46" fmla="*/ 100 w 434"/>
                <a:gd name="T47" fmla="*/ 92 h 323"/>
                <a:gd name="T48" fmla="*/ 115 w 434"/>
                <a:gd name="T49" fmla="*/ 114 h 323"/>
                <a:gd name="T50" fmla="*/ 142 w 434"/>
                <a:gd name="T51" fmla="*/ 100 h 323"/>
                <a:gd name="T52" fmla="*/ 132 w 434"/>
                <a:gd name="T53" fmla="*/ 79 h 323"/>
                <a:gd name="T54" fmla="*/ 153 w 434"/>
                <a:gd name="T55" fmla="*/ 77 h 323"/>
                <a:gd name="T56" fmla="*/ 167 w 434"/>
                <a:gd name="T57" fmla="*/ 52 h 323"/>
                <a:gd name="T58" fmla="*/ 203 w 434"/>
                <a:gd name="T59" fmla="*/ 52 h 323"/>
                <a:gd name="T60" fmla="*/ 215 w 434"/>
                <a:gd name="T61" fmla="*/ 29 h 323"/>
                <a:gd name="T62" fmla="*/ 297 w 434"/>
                <a:gd name="T63" fmla="*/ 0 h 323"/>
                <a:gd name="T64" fmla="*/ 303 w 434"/>
                <a:gd name="T65" fmla="*/ 10 h 323"/>
                <a:gd name="T66" fmla="*/ 334 w 434"/>
                <a:gd name="T67" fmla="*/ 4 h 323"/>
                <a:gd name="T68" fmla="*/ 336 w 434"/>
                <a:gd name="T69" fmla="*/ 4 h 323"/>
                <a:gd name="T70" fmla="*/ 334 w 434"/>
                <a:gd name="T71" fmla="*/ 25 h 323"/>
                <a:gd name="T72" fmla="*/ 326 w 434"/>
                <a:gd name="T73" fmla="*/ 37 h 323"/>
                <a:gd name="T74" fmla="*/ 334 w 434"/>
                <a:gd name="T75" fmla="*/ 45 h 323"/>
                <a:gd name="T76" fmla="*/ 351 w 434"/>
                <a:gd name="T77" fmla="*/ 83 h 323"/>
                <a:gd name="T78" fmla="*/ 380 w 434"/>
                <a:gd name="T79" fmla="*/ 92 h 323"/>
                <a:gd name="T80" fmla="*/ 389 w 434"/>
                <a:gd name="T81" fmla="*/ 110 h 323"/>
                <a:gd name="T82" fmla="*/ 374 w 434"/>
                <a:gd name="T83" fmla="*/ 116 h 323"/>
                <a:gd name="T84" fmla="*/ 405 w 434"/>
                <a:gd name="T85" fmla="*/ 148 h 323"/>
                <a:gd name="T86" fmla="*/ 432 w 434"/>
                <a:gd name="T87" fmla="*/ 150 h 323"/>
                <a:gd name="T88" fmla="*/ 426 w 434"/>
                <a:gd name="T89" fmla="*/ 175 h 323"/>
                <a:gd name="T90" fmla="*/ 434 w 434"/>
                <a:gd name="T91" fmla="*/ 200 h 323"/>
                <a:gd name="T92" fmla="*/ 426 w 434"/>
                <a:gd name="T93" fmla="*/ 217 h 323"/>
                <a:gd name="T94" fmla="*/ 395 w 434"/>
                <a:gd name="T95" fmla="*/ 217 h 323"/>
                <a:gd name="T96" fmla="*/ 366 w 434"/>
                <a:gd name="T97" fmla="*/ 24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4" h="323">
                  <a:moveTo>
                    <a:pt x="366" y="240"/>
                  </a:moveTo>
                  <a:lnTo>
                    <a:pt x="347" y="236"/>
                  </a:lnTo>
                  <a:lnTo>
                    <a:pt x="336" y="246"/>
                  </a:lnTo>
                  <a:lnTo>
                    <a:pt x="305" y="236"/>
                  </a:lnTo>
                  <a:lnTo>
                    <a:pt x="290" y="231"/>
                  </a:lnTo>
                  <a:lnTo>
                    <a:pt x="270" y="242"/>
                  </a:lnTo>
                  <a:lnTo>
                    <a:pt x="255" y="234"/>
                  </a:lnTo>
                  <a:lnTo>
                    <a:pt x="169" y="238"/>
                  </a:lnTo>
                  <a:lnTo>
                    <a:pt x="151" y="248"/>
                  </a:lnTo>
                  <a:lnTo>
                    <a:pt x="151" y="323"/>
                  </a:lnTo>
                  <a:lnTo>
                    <a:pt x="134" y="302"/>
                  </a:lnTo>
                  <a:lnTo>
                    <a:pt x="104" y="288"/>
                  </a:lnTo>
                  <a:lnTo>
                    <a:pt x="63" y="300"/>
                  </a:lnTo>
                  <a:lnTo>
                    <a:pt x="59" y="311"/>
                  </a:lnTo>
                  <a:lnTo>
                    <a:pt x="36" y="296"/>
                  </a:lnTo>
                  <a:lnTo>
                    <a:pt x="13" y="265"/>
                  </a:lnTo>
                  <a:lnTo>
                    <a:pt x="0" y="257"/>
                  </a:lnTo>
                  <a:lnTo>
                    <a:pt x="25" y="196"/>
                  </a:lnTo>
                  <a:lnTo>
                    <a:pt x="8" y="183"/>
                  </a:lnTo>
                  <a:lnTo>
                    <a:pt x="13" y="171"/>
                  </a:lnTo>
                  <a:lnTo>
                    <a:pt x="56" y="167"/>
                  </a:lnTo>
                  <a:lnTo>
                    <a:pt x="84" y="121"/>
                  </a:lnTo>
                  <a:lnTo>
                    <a:pt x="75" y="108"/>
                  </a:lnTo>
                  <a:lnTo>
                    <a:pt x="100" y="92"/>
                  </a:lnTo>
                  <a:lnTo>
                    <a:pt x="115" y="114"/>
                  </a:lnTo>
                  <a:lnTo>
                    <a:pt x="142" y="100"/>
                  </a:lnTo>
                  <a:lnTo>
                    <a:pt x="132" y="79"/>
                  </a:lnTo>
                  <a:lnTo>
                    <a:pt x="153" y="77"/>
                  </a:lnTo>
                  <a:lnTo>
                    <a:pt x="167" y="52"/>
                  </a:lnTo>
                  <a:lnTo>
                    <a:pt x="203" y="52"/>
                  </a:lnTo>
                  <a:lnTo>
                    <a:pt x="215" y="29"/>
                  </a:lnTo>
                  <a:lnTo>
                    <a:pt x="297" y="0"/>
                  </a:lnTo>
                  <a:lnTo>
                    <a:pt x="303" y="10"/>
                  </a:lnTo>
                  <a:lnTo>
                    <a:pt x="334" y="4"/>
                  </a:lnTo>
                  <a:lnTo>
                    <a:pt x="336" y="4"/>
                  </a:lnTo>
                  <a:lnTo>
                    <a:pt x="334" y="25"/>
                  </a:lnTo>
                  <a:lnTo>
                    <a:pt x="326" y="37"/>
                  </a:lnTo>
                  <a:lnTo>
                    <a:pt x="334" y="45"/>
                  </a:lnTo>
                  <a:lnTo>
                    <a:pt x="351" y="83"/>
                  </a:lnTo>
                  <a:lnTo>
                    <a:pt x="380" y="92"/>
                  </a:lnTo>
                  <a:lnTo>
                    <a:pt x="389" y="110"/>
                  </a:lnTo>
                  <a:lnTo>
                    <a:pt x="374" y="116"/>
                  </a:lnTo>
                  <a:lnTo>
                    <a:pt x="405" y="148"/>
                  </a:lnTo>
                  <a:lnTo>
                    <a:pt x="432" y="150"/>
                  </a:lnTo>
                  <a:lnTo>
                    <a:pt x="426" y="175"/>
                  </a:lnTo>
                  <a:lnTo>
                    <a:pt x="434" y="200"/>
                  </a:lnTo>
                  <a:lnTo>
                    <a:pt x="426" y="217"/>
                  </a:lnTo>
                  <a:lnTo>
                    <a:pt x="395" y="217"/>
                  </a:lnTo>
                  <a:lnTo>
                    <a:pt x="366" y="24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9" name="Freeform 112"/>
            <p:cNvSpPr>
              <a:spLocks/>
            </p:cNvSpPr>
            <p:nvPr/>
          </p:nvSpPr>
          <p:spPr bwMode="auto">
            <a:xfrm rot="127247">
              <a:off x="2404" y="1875"/>
              <a:ext cx="202" cy="257"/>
            </a:xfrm>
            <a:custGeom>
              <a:avLst/>
              <a:gdLst>
                <a:gd name="T0" fmla="*/ 201 w 664"/>
                <a:gd name="T1" fmla="*/ 675 h 707"/>
                <a:gd name="T2" fmla="*/ 190 w 664"/>
                <a:gd name="T3" fmla="*/ 673 h 707"/>
                <a:gd name="T4" fmla="*/ 186 w 664"/>
                <a:gd name="T5" fmla="*/ 661 h 707"/>
                <a:gd name="T6" fmla="*/ 178 w 664"/>
                <a:gd name="T7" fmla="*/ 644 h 707"/>
                <a:gd name="T8" fmla="*/ 167 w 664"/>
                <a:gd name="T9" fmla="*/ 640 h 707"/>
                <a:gd name="T10" fmla="*/ 161 w 664"/>
                <a:gd name="T11" fmla="*/ 619 h 707"/>
                <a:gd name="T12" fmla="*/ 130 w 664"/>
                <a:gd name="T13" fmla="*/ 610 h 707"/>
                <a:gd name="T14" fmla="*/ 119 w 664"/>
                <a:gd name="T15" fmla="*/ 589 h 707"/>
                <a:gd name="T16" fmla="*/ 76 w 664"/>
                <a:gd name="T17" fmla="*/ 579 h 707"/>
                <a:gd name="T18" fmla="*/ 51 w 664"/>
                <a:gd name="T19" fmla="*/ 590 h 707"/>
                <a:gd name="T20" fmla="*/ 17 w 664"/>
                <a:gd name="T21" fmla="*/ 587 h 707"/>
                <a:gd name="T22" fmla="*/ 0 w 664"/>
                <a:gd name="T23" fmla="*/ 598 h 707"/>
                <a:gd name="T24" fmla="*/ 5 w 664"/>
                <a:gd name="T25" fmla="*/ 566 h 707"/>
                <a:gd name="T26" fmla="*/ 38 w 664"/>
                <a:gd name="T27" fmla="*/ 498 h 707"/>
                <a:gd name="T28" fmla="*/ 30 w 664"/>
                <a:gd name="T29" fmla="*/ 420 h 707"/>
                <a:gd name="T30" fmla="*/ 21 w 664"/>
                <a:gd name="T31" fmla="*/ 408 h 707"/>
                <a:gd name="T32" fmla="*/ 34 w 664"/>
                <a:gd name="T33" fmla="*/ 399 h 707"/>
                <a:gd name="T34" fmla="*/ 50 w 664"/>
                <a:gd name="T35" fmla="*/ 354 h 707"/>
                <a:gd name="T36" fmla="*/ 27 w 664"/>
                <a:gd name="T37" fmla="*/ 328 h 707"/>
                <a:gd name="T38" fmla="*/ 23 w 664"/>
                <a:gd name="T39" fmla="*/ 312 h 707"/>
                <a:gd name="T40" fmla="*/ 3 w 664"/>
                <a:gd name="T41" fmla="*/ 326 h 707"/>
                <a:gd name="T42" fmla="*/ 13 w 664"/>
                <a:gd name="T43" fmla="*/ 299 h 707"/>
                <a:gd name="T44" fmla="*/ 232 w 664"/>
                <a:gd name="T45" fmla="*/ 312 h 707"/>
                <a:gd name="T46" fmla="*/ 232 w 664"/>
                <a:gd name="T47" fmla="*/ 222 h 707"/>
                <a:gd name="T48" fmla="*/ 295 w 664"/>
                <a:gd name="T49" fmla="*/ 193 h 707"/>
                <a:gd name="T50" fmla="*/ 322 w 664"/>
                <a:gd name="T51" fmla="*/ 46 h 707"/>
                <a:gd name="T52" fmla="*/ 504 w 664"/>
                <a:gd name="T53" fmla="*/ 59 h 707"/>
                <a:gd name="T54" fmla="*/ 506 w 664"/>
                <a:gd name="T55" fmla="*/ 0 h 707"/>
                <a:gd name="T56" fmla="*/ 664 w 664"/>
                <a:gd name="T57" fmla="*/ 128 h 707"/>
                <a:gd name="T58" fmla="*/ 583 w 664"/>
                <a:gd name="T59" fmla="*/ 122 h 707"/>
                <a:gd name="T60" fmla="*/ 575 w 664"/>
                <a:gd name="T61" fmla="*/ 604 h 707"/>
                <a:gd name="T62" fmla="*/ 594 w 664"/>
                <a:gd name="T63" fmla="*/ 627 h 707"/>
                <a:gd name="T64" fmla="*/ 583 w 664"/>
                <a:gd name="T65" fmla="*/ 677 h 707"/>
                <a:gd name="T66" fmla="*/ 381 w 664"/>
                <a:gd name="T67" fmla="*/ 669 h 707"/>
                <a:gd name="T68" fmla="*/ 376 w 664"/>
                <a:gd name="T69" fmla="*/ 654 h 707"/>
                <a:gd name="T70" fmla="*/ 358 w 664"/>
                <a:gd name="T71" fmla="*/ 665 h 707"/>
                <a:gd name="T72" fmla="*/ 305 w 664"/>
                <a:gd name="T73" fmla="*/ 667 h 707"/>
                <a:gd name="T74" fmla="*/ 286 w 664"/>
                <a:gd name="T75" fmla="*/ 692 h 707"/>
                <a:gd name="T76" fmla="*/ 263 w 664"/>
                <a:gd name="T77" fmla="*/ 648 h 707"/>
                <a:gd name="T78" fmla="*/ 243 w 664"/>
                <a:gd name="T79" fmla="*/ 652 h 707"/>
                <a:gd name="T80" fmla="*/ 241 w 664"/>
                <a:gd name="T81" fmla="*/ 702 h 707"/>
                <a:gd name="T82" fmla="*/ 216 w 664"/>
                <a:gd name="T83" fmla="*/ 707 h 707"/>
                <a:gd name="T84" fmla="*/ 201 w 664"/>
                <a:gd name="T85" fmla="*/ 675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64" h="707">
                  <a:moveTo>
                    <a:pt x="201" y="675"/>
                  </a:moveTo>
                  <a:lnTo>
                    <a:pt x="190" y="673"/>
                  </a:lnTo>
                  <a:lnTo>
                    <a:pt x="186" y="661"/>
                  </a:lnTo>
                  <a:lnTo>
                    <a:pt x="178" y="644"/>
                  </a:lnTo>
                  <a:lnTo>
                    <a:pt x="167" y="640"/>
                  </a:lnTo>
                  <a:lnTo>
                    <a:pt x="161" y="619"/>
                  </a:lnTo>
                  <a:lnTo>
                    <a:pt x="130" y="610"/>
                  </a:lnTo>
                  <a:lnTo>
                    <a:pt x="119" y="589"/>
                  </a:lnTo>
                  <a:lnTo>
                    <a:pt x="76" y="579"/>
                  </a:lnTo>
                  <a:lnTo>
                    <a:pt x="51" y="590"/>
                  </a:lnTo>
                  <a:lnTo>
                    <a:pt x="17" y="587"/>
                  </a:lnTo>
                  <a:lnTo>
                    <a:pt x="0" y="598"/>
                  </a:lnTo>
                  <a:lnTo>
                    <a:pt x="5" y="566"/>
                  </a:lnTo>
                  <a:lnTo>
                    <a:pt x="38" y="498"/>
                  </a:lnTo>
                  <a:lnTo>
                    <a:pt x="30" y="420"/>
                  </a:lnTo>
                  <a:lnTo>
                    <a:pt x="21" y="408"/>
                  </a:lnTo>
                  <a:lnTo>
                    <a:pt x="34" y="399"/>
                  </a:lnTo>
                  <a:lnTo>
                    <a:pt x="50" y="354"/>
                  </a:lnTo>
                  <a:lnTo>
                    <a:pt x="27" y="328"/>
                  </a:lnTo>
                  <a:lnTo>
                    <a:pt x="23" y="312"/>
                  </a:lnTo>
                  <a:lnTo>
                    <a:pt x="3" y="326"/>
                  </a:lnTo>
                  <a:lnTo>
                    <a:pt x="13" y="299"/>
                  </a:lnTo>
                  <a:lnTo>
                    <a:pt x="232" y="312"/>
                  </a:lnTo>
                  <a:lnTo>
                    <a:pt x="232" y="222"/>
                  </a:lnTo>
                  <a:lnTo>
                    <a:pt x="295" y="193"/>
                  </a:lnTo>
                  <a:lnTo>
                    <a:pt x="322" y="46"/>
                  </a:lnTo>
                  <a:lnTo>
                    <a:pt x="504" y="59"/>
                  </a:lnTo>
                  <a:lnTo>
                    <a:pt x="506" y="0"/>
                  </a:lnTo>
                  <a:lnTo>
                    <a:pt x="664" y="128"/>
                  </a:lnTo>
                  <a:lnTo>
                    <a:pt x="583" y="122"/>
                  </a:lnTo>
                  <a:lnTo>
                    <a:pt x="575" y="604"/>
                  </a:lnTo>
                  <a:lnTo>
                    <a:pt x="594" y="627"/>
                  </a:lnTo>
                  <a:lnTo>
                    <a:pt x="583" y="677"/>
                  </a:lnTo>
                  <a:lnTo>
                    <a:pt x="381" y="669"/>
                  </a:lnTo>
                  <a:lnTo>
                    <a:pt x="376" y="654"/>
                  </a:lnTo>
                  <a:lnTo>
                    <a:pt x="358" y="665"/>
                  </a:lnTo>
                  <a:lnTo>
                    <a:pt x="305" y="667"/>
                  </a:lnTo>
                  <a:lnTo>
                    <a:pt x="286" y="692"/>
                  </a:lnTo>
                  <a:lnTo>
                    <a:pt x="263" y="648"/>
                  </a:lnTo>
                  <a:lnTo>
                    <a:pt x="243" y="652"/>
                  </a:lnTo>
                  <a:lnTo>
                    <a:pt x="241" y="702"/>
                  </a:lnTo>
                  <a:lnTo>
                    <a:pt x="216" y="707"/>
                  </a:lnTo>
                  <a:lnTo>
                    <a:pt x="201" y="67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0" name="Freeform 113"/>
            <p:cNvSpPr>
              <a:spLocks/>
            </p:cNvSpPr>
            <p:nvPr/>
          </p:nvSpPr>
          <p:spPr bwMode="auto">
            <a:xfrm rot="127247">
              <a:off x="2411" y="1851"/>
              <a:ext cx="151" cy="137"/>
            </a:xfrm>
            <a:custGeom>
              <a:avLst/>
              <a:gdLst>
                <a:gd name="T0" fmla="*/ 2 w 497"/>
                <a:gd name="T1" fmla="*/ 361 h 374"/>
                <a:gd name="T2" fmla="*/ 221 w 497"/>
                <a:gd name="T3" fmla="*/ 374 h 374"/>
                <a:gd name="T4" fmla="*/ 221 w 497"/>
                <a:gd name="T5" fmla="*/ 284 h 374"/>
                <a:gd name="T6" fmla="*/ 284 w 497"/>
                <a:gd name="T7" fmla="*/ 255 h 374"/>
                <a:gd name="T8" fmla="*/ 311 w 497"/>
                <a:gd name="T9" fmla="*/ 108 h 374"/>
                <a:gd name="T10" fmla="*/ 493 w 497"/>
                <a:gd name="T11" fmla="*/ 121 h 374"/>
                <a:gd name="T12" fmla="*/ 495 w 497"/>
                <a:gd name="T13" fmla="*/ 62 h 374"/>
                <a:gd name="T14" fmla="*/ 497 w 497"/>
                <a:gd name="T15" fmla="*/ 21 h 374"/>
                <a:gd name="T16" fmla="*/ 278 w 497"/>
                <a:gd name="T17" fmla="*/ 0 h 374"/>
                <a:gd name="T18" fmla="*/ 232 w 497"/>
                <a:gd name="T19" fmla="*/ 63 h 374"/>
                <a:gd name="T20" fmla="*/ 186 w 497"/>
                <a:gd name="T21" fmla="*/ 81 h 374"/>
                <a:gd name="T22" fmla="*/ 167 w 497"/>
                <a:gd name="T23" fmla="*/ 113 h 374"/>
                <a:gd name="T24" fmla="*/ 159 w 497"/>
                <a:gd name="T25" fmla="*/ 148 h 374"/>
                <a:gd name="T26" fmla="*/ 111 w 497"/>
                <a:gd name="T27" fmla="*/ 202 h 374"/>
                <a:gd name="T28" fmla="*/ 54 w 497"/>
                <a:gd name="T29" fmla="*/ 290 h 374"/>
                <a:gd name="T30" fmla="*/ 12 w 497"/>
                <a:gd name="T31" fmla="*/ 340 h 374"/>
                <a:gd name="T32" fmla="*/ 0 w 497"/>
                <a:gd name="T33" fmla="*/ 361 h 374"/>
                <a:gd name="T34" fmla="*/ 2 w 497"/>
                <a:gd name="T35" fmla="*/ 361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7" h="374">
                  <a:moveTo>
                    <a:pt x="2" y="361"/>
                  </a:moveTo>
                  <a:lnTo>
                    <a:pt x="221" y="374"/>
                  </a:lnTo>
                  <a:lnTo>
                    <a:pt x="221" y="284"/>
                  </a:lnTo>
                  <a:lnTo>
                    <a:pt x="284" y="255"/>
                  </a:lnTo>
                  <a:lnTo>
                    <a:pt x="311" y="108"/>
                  </a:lnTo>
                  <a:lnTo>
                    <a:pt x="493" y="121"/>
                  </a:lnTo>
                  <a:lnTo>
                    <a:pt x="495" y="62"/>
                  </a:lnTo>
                  <a:lnTo>
                    <a:pt x="497" y="21"/>
                  </a:lnTo>
                  <a:lnTo>
                    <a:pt x="278" y="0"/>
                  </a:lnTo>
                  <a:lnTo>
                    <a:pt x="232" y="63"/>
                  </a:lnTo>
                  <a:lnTo>
                    <a:pt x="186" y="81"/>
                  </a:lnTo>
                  <a:lnTo>
                    <a:pt x="167" y="113"/>
                  </a:lnTo>
                  <a:lnTo>
                    <a:pt x="159" y="148"/>
                  </a:lnTo>
                  <a:lnTo>
                    <a:pt x="111" y="202"/>
                  </a:lnTo>
                  <a:lnTo>
                    <a:pt x="54" y="290"/>
                  </a:lnTo>
                  <a:lnTo>
                    <a:pt x="12" y="340"/>
                  </a:lnTo>
                  <a:lnTo>
                    <a:pt x="0" y="361"/>
                  </a:lnTo>
                  <a:lnTo>
                    <a:pt x="2" y="361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1" name="Freeform 114"/>
            <p:cNvSpPr>
              <a:spLocks/>
            </p:cNvSpPr>
            <p:nvPr/>
          </p:nvSpPr>
          <p:spPr bwMode="auto">
            <a:xfrm rot="127247">
              <a:off x="2500" y="1704"/>
              <a:ext cx="194" cy="160"/>
            </a:xfrm>
            <a:custGeom>
              <a:avLst/>
              <a:gdLst>
                <a:gd name="T0" fmla="*/ 219 w 637"/>
                <a:gd name="T1" fmla="*/ 437 h 437"/>
                <a:gd name="T2" fmla="*/ 221 w 637"/>
                <a:gd name="T3" fmla="*/ 387 h 437"/>
                <a:gd name="T4" fmla="*/ 290 w 637"/>
                <a:gd name="T5" fmla="*/ 347 h 437"/>
                <a:gd name="T6" fmla="*/ 300 w 637"/>
                <a:gd name="T7" fmla="*/ 334 h 437"/>
                <a:gd name="T8" fmla="*/ 330 w 637"/>
                <a:gd name="T9" fmla="*/ 336 h 437"/>
                <a:gd name="T10" fmla="*/ 348 w 637"/>
                <a:gd name="T11" fmla="*/ 322 h 437"/>
                <a:gd name="T12" fmla="*/ 386 w 637"/>
                <a:gd name="T13" fmla="*/ 326 h 437"/>
                <a:gd name="T14" fmla="*/ 493 w 637"/>
                <a:gd name="T15" fmla="*/ 269 h 437"/>
                <a:gd name="T16" fmla="*/ 482 w 637"/>
                <a:gd name="T17" fmla="*/ 236 h 437"/>
                <a:gd name="T18" fmla="*/ 541 w 637"/>
                <a:gd name="T19" fmla="*/ 224 h 437"/>
                <a:gd name="T20" fmla="*/ 545 w 637"/>
                <a:gd name="T21" fmla="*/ 213 h 437"/>
                <a:gd name="T22" fmla="*/ 580 w 637"/>
                <a:gd name="T23" fmla="*/ 207 h 437"/>
                <a:gd name="T24" fmla="*/ 612 w 637"/>
                <a:gd name="T25" fmla="*/ 213 h 437"/>
                <a:gd name="T26" fmla="*/ 637 w 637"/>
                <a:gd name="T27" fmla="*/ 198 h 437"/>
                <a:gd name="T28" fmla="*/ 622 w 637"/>
                <a:gd name="T29" fmla="*/ 159 h 437"/>
                <a:gd name="T30" fmla="*/ 620 w 637"/>
                <a:gd name="T31" fmla="*/ 75 h 437"/>
                <a:gd name="T32" fmla="*/ 605 w 637"/>
                <a:gd name="T33" fmla="*/ 52 h 437"/>
                <a:gd name="T34" fmla="*/ 578 w 637"/>
                <a:gd name="T35" fmla="*/ 38 h 437"/>
                <a:gd name="T36" fmla="*/ 524 w 637"/>
                <a:gd name="T37" fmla="*/ 38 h 437"/>
                <a:gd name="T38" fmla="*/ 470 w 637"/>
                <a:gd name="T39" fmla="*/ 13 h 437"/>
                <a:gd name="T40" fmla="*/ 472 w 637"/>
                <a:gd name="T41" fmla="*/ 0 h 437"/>
                <a:gd name="T42" fmla="*/ 444 w 637"/>
                <a:gd name="T43" fmla="*/ 0 h 437"/>
                <a:gd name="T44" fmla="*/ 432 w 637"/>
                <a:gd name="T45" fmla="*/ 13 h 437"/>
                <a:gd name="T46" fmla="*/ 419 w 637"/>
                <a:gd name="T47" fmla="*/ 23 h 437"/>
                <a:gd name="T48" fmla="*/ 294 w 637"/>
                <a:gd name="T49" fmla="*/ 123 h 437"/>
                <a:gd name="T50" fmla="*/ 277 w 637"/>
                <a:gd name="T51" fmla="*/ 142 h 437"/>
                <a:gd name="T52" fmla="*/ 192 w 637"/>
                <a:gd name="T53" fmla="*/ 240 h 437"/>
                <a:gd name="T54" fmla="*/ 194 w 637"/>
                <a:gd name="T55" fmla="*/ 301 h 437"/>
                <a:gd name="T56" fmla="*/ 142 w 637"/>
                <a:gd name="T57" fmla="*/ 357 h 437"/>
                <a:gd name="T58" fmla="*/ 83 w 637"/>
                <a:gd name="T59" fmla="*/ 386 h 437"/>
                <a:gd name="T60" fmla="*/ 0 w 637"/>
                <a:gd name="T61" fmla="*/ 418 h 437"/>
                <a:gd name="T62" fmla="*/ 219 w 637"/>
                <a:gd name="T63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37" h="437">
                  <a:moveTo>
                    <a:pt x="219" y="437"/>
                  </a:moveTo>
                  <a:lnTo>
                    <a:pt x="221" y="387"/>
                  </a:lnTo>
                  <a:lnTo>
                    <a:pt x="290" y="347"/>
                  </a:lnTo>
                  <a:lnTo>
                    <a:pt x="300" y="334"/>
                  </a:lnTo>
                  <a:lnTo>
                    <a:pt x="330" y="336"/>
                  </a:lnTo>
                  <a:lnTo>
                    <a:pt x="348" y="322"/>
                  </a:lnTo>
                  <a:lnTo>
                    <a:pt x="386" y="326"/>
                  </a:lnTo>
                  <a:lnTo>
                    <a:pt x="493" y="269"/>
                  </a:lnTo>
                  <a:lnTo>
                    <a:pt x="482" y="236"/>
                  </a:lnTo>
                  <a:lnTo>
                    <a:pt x="541" y="224"/>
                  </a:lnTo>
                  <a:lnTo>
                    <a:pt x="545" y="213"/>
                  </a:lnTo>
                  <a:lnTo>
                    <a:pt x="580" y="207"/>
                  </a:lnTo>
                  <a:lnTo>
                    <a:pt x="612" y="213"/>
                  </a:lnTo>
                  <a:lnTo>
                    <a:pt x="637" y="198"/>
                  </a:lnTo>
                  <a:lnTo>
                    <a:pt x="622" y="159"/>
                  </a:lnTo>
                  <a:lnTo>
                    <a:pt x="620" y="75"/>
                  </a:lnTo>
                  <a:lnTo>
                    <a:pt x="605" y="52"/>
                  </a:lnTo>
                  <a:lnTo>
                    <a:pt x="578" y="38"/>
                  </a:lnTo>
                  <a:lnTo>
                    <a:pt x="524" y="38"/>
                  </a:lnTo>
                  <a:lnTo>
                    <a:pt x="470" y="13"/>
                  </a:lnTo>
                  <a:lnTo>
                    <a:pt x="472" y="0"/>
                  </a:lnTo>
                  <a:lnTo>
                    <a:pt x="444" y="0"/>
                  </a:lnTo>
                  <a:lnTo>
                    <a:pt x="432" y="13"/>
                  </a:lnTo>
                  <a:lnTo>
                    <a:pt x="419" y="23"/>
                  </a:lnTo>
                  <a:lnTo>
                    <a:pt x="294" y="123"/>
                  </a:lnTo>
                  <a:lnTo>
                    <a:pt x="277" y="142"/>
                  </a:lnTo>
                  <a:lnTo>
                    <a:pt x="192" y="240"/>
                  </a:lnTo>
                  <a:lnTo>
                    <a:pt x="194" y="301"/>
                  </a:lnTo>
                  <a:lnTo>
                    <a:pt x="142" y="357"/>
                  </a:lnTo>
                  <a:lnTo>
                    <a:pt x="83" y="386"/>
                  </a:lnTo>
                  <a:lnTo>
                    <a:pt x="0" y="418"/>
                  </a:lnTo>
                  <a:lnTo>
                    <a:pt x="219" y="43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2" name="Freeform 115"/>
            <p:cNvSpPr>
              <a:spLocks/>
            </p:cNvSpPr>
            <p:nvPr/>
          </p:nvSpPr>
          <p:spPr bwMode="auto">
            <a:xfrm rot="127247">
              <a:off x="2563" y="1695"/>
              <a:ext cx="323" cy="369"/>
            </a:xfrm>
            <a:custGeom>
              <a:avLst/>
              <a:gdLst>
                <a:gd name="T0" fmla="*/ 459 w 1061"/>
                <a:gd name="T1" fmla="*/ 884 h 1011"/>
                <a:gd name="T2" fmla="*/ 457 w 1061"/>
                <a:gd name="T3" fmla="*/ 907 h 1011"/>
                <a:gd name="T4" fmla="*/ 489 w 1061"/>
                <a:gd name="T5" fmla="*/ 938 h 1011"/>
                <a:gd name="T6" fmla="*/ 520 w 1061"/>
                <a:gd name="T7" fmla="*/ 938 h 1011"/>
                <a:gd name="T8" fmla="*/ 524 w 1061"/>
                <a:gd name="T9" fmla="*/ 955 h 1011"/>
                <a:gd name="T10" fmla="*/ 557 w 1061"/>
                <a:gd name="T11" fmla="*/ 961 h 1011"/>
                <a:gd name="T12" fmla="*/ 566 w 1061"/>
                <a:gd name="T13" fmla="*/ 972 h 1011"/>
                <a:gd name="T14" fmla="*/ 553 w 1061"/>
                <a:gd name="T15" fmla="*/ 997 h 1011"/>
                <a:gd name="T16" fmla="*/ 568 w 1061"/>
                <a:gd name="T17" fmla="*/ 1011 h 1011"/>
                <a:gd name="T18" fmla="*/ 620 w 1061"/>
                <a:gd name="T19" fmla="*/ 1009 h 1011"/>
                <a:gd name="T20" fmla="*/ 620 w 1061"/>
                <a:gd name="T21" fmla="*/ 1007 h 1011"/>
                <a:gd name="T22" fmla="*/ 702 w 1061"/>
                <a:gd name="T23" fmla="*/ 1001 h 1011"/>
                <a:gd name="T24" fmla="*/ 777 w 1061"/>
                <a:gd name="T25" fmla="*/ 940 h 1011"/>
                <a:gd name="T26" fmla="*/ 935 w 1061"/>
                <a:gd name="T27" fmla="*/ 836 h 1011"/>
                <a:gd name="T28" fmla="*/ 1061 w 1061"/>
                <a:gd name="T29" fmla="*/ 769 h 1011"/>
                <a:gd name="T30" fmla="*/ 1044 w 1061"/>
                <a:gd name="T31" fmla="*/ 732 h 1011"/>
                <a:gd name="T32" fmla="*/ 1009 w 1061"/>
                <a:gd name="T33" fmla="*/ 707 h 1011"/>
                <a:gd name="T34" fmla="*/ 961 w 1061"/>
                <a:gd name="T35" fmla="*/ 692 h 1011"/>
                <a:gd name="T36" fmla="*/ 946 w 1061"/>
                <a:gd name="T37" fmla="*/ 652 h 1011"/>
                <a:gd name="T38" fmla="*/ 937 w 1061"/>
                <a:gd name="T39" fmla="*/ 619 h 1011"/>
                <a:gd name="T40" fmla="*/ 958 w 1061"/>
                <a:gd name="T41" fmla="*/ 577 h 1011"/>
                <a:gd name="T42" fmla="*/ 948 w 1061"/>
                <a:gd name="T43" fmla="*/ 414 h 1011"/>
                <a:gd name="T44" fmla="*/ 931 w 1061"/>
                <a:gd name="T45" fmla="*/ 393 h 1011"/>
                <a:gd name="T46" fmla="*/ 931 w 1061"/>
                <a:gd name="T47" fmla="*/ 331 h 1011"/>
                <a:gd name="T48" fmla="*/ 912 w 1061"/>
                <a:gd name="T49" fmla="*/ 276 h 1011"/>
                <a:gd name="T50" fmla="*/ 885 w 1061"/>
                <a:gd name="T51" fmla="*/ 260 h 1011"/>
                <a:gd name="T52" fmla="*/ 873 w 1061"/>
                <a:gd name="T53" fmla="*/ 232 h 1011"/>
                <a:gd name="T54" fmla="*/ 842 w 1061"/>
                <a:gd name="T55" fmla="*/ 195 h 1011"/>
                <a:gd name="T56" fmla="*/ 844 w 1061"/>
                <a:gd name="T57" fmla="*/ 168 h 1011"/>
                <a:gd name="T58" fmla="*/ 887 w 1061"/>
                <a:gd name="T59" fmla="*/ 132 h 1011"/>
                <a:gd name="T60" fmla="*/ 887 w 1061"/>
                <a:gd name="T61" fmla="*/ 63 h 1011"/>
                <a:gd name="T62" fmla="*/ 906 w 1061"/>
                <a:gd name="T63" fmla="*/ 17 h 1011"/>
                <a:gd name="T64" fmla="*/ 879 w 1061"/>
                <a:gd name="T65" fmla="*/ 15 h 1011"/>
                <a:gd name="T66" fmla="*/ 860 w 1061"/>
                <a:gd name="T67" fmla="*/ 3 h 1011"/>
                <a:gd name="T68" fmla="*/ 848 w 1061"/>
                <a:gd name="T69" fmla="*/ 13 h 1011"/>
                <a:gd name="T70" fmla="*/ 819 w 1061"/>
                <a:gd name="T71" fmla="*/ 0 h 1011"/>
                <a:gd name="T72" fmla="*/ 768 w 1061"/>
                <a:gd name="T73" fmla="*/ 24 h 1011"/>
                <a:gd name="T74" fmla="*/ 702 w 1061"/>
                <a:gd name="T75" fmla="*/ 7 h 1011"/>
                <a:gd name="T76" fmla="*/ 643 w 1061"/>
                <a:gd name="T77" fmla="*/ 17 h 1011"/>
                <a:gd name="T78" fmla="*/ 551 w 1061"/>
                <a:gd name="T79" fmla="*/ 26 h 1011"/>
                <a:gd name="T80" fmla="*/ 491 w 1061"/>
                <a:gd name="T81" fmla="*/ 55 h 1011"/>
                <a:gd name="T82" fmla="*/ 443 w 1061"/>
                <a:gd name="T83" fmla="*/ 55 h 1011"/>
                <a:gd name="T84" fmla="*/ 422 w 1061"/>
                <a:gd name="T85" fmla="*/ 80 h 1011"/>
                <a:gd name="T86" fmla="*/ 390 w 1061"/>
                <a:gd name="T87" fmla="*/ 90 h 1011"/>
                <a:gd name="T88" fmla="*/ 403 w 1061"/>
                <a:gd name="T89" fmla="*/ 111 h 1011"/>
                <a:gd name="T90" fmla="*/ 405 w 1061"/>
                <a:gd name="T91" fmla="*/ 195 h 1011"/>
                <a:gd name="T92" fmla="*/ 420 w 1061"/>
                <a:gd name="T93" fmla="*/ 234 h 1011"/>
                <a:gd name="T94" fmla="*/ 395 w 1061"/>
                <a:gd name="T95" fmla="*/ 249 h 1011"/>
                <a:gd name="T96" fmla="*/ 363 w 1061"/>
                <a:gd name="T97" fmla="*/ 243 h 1011"/>
                <a:gd name="T98" fmla="*/ 328 w 1061"/>
                <a:gd name="T99" fmla="*/ 249 h 1011"/>
                <a:gd name="T100" fmla="*/ 324 w 1061"/>
                <a:gd name="T101" fmla="*/ 260 h 1011"/>
                <a:gd name="T102" fmla="*/ 265 w 1061"/>
                <a:gd name="T103" fmla="*/ 272 h 1011"/>
                <a:gd name="T104" fmla="*/ 276 w 1061"/>
                <a:gd name="T105" fmla="*/ 305 h 1011"/>
                <a:gd name="T106" fmla="*/ 169 w 1061"/>
                <a:gd name="T107" fmla="*/ 362 h 1011"/>
                <a:gd name="T108" fmla="*/ 131 w 1061"/>
                <a:gd name="T109" fmla="*/ 358 h 1011"/>
                <a:gd name="T110" fmla="*/ 113 w 1061"/>
                <a:gd name="T111" fmla="*/ 372 h 1011"/>
                <a:gd name="T112" fmla="*/ 83 w 1061"/>
                <a:gd name="T113" fmla="*/ 370 h 1011"/>
                <a:gd name="T114" fmla="*/ 73 w 1061"/>
                <a:gd name="T115" fmla="*/ 383 h 1011"/>
                <a:gd name="T116" fmla="*/ 4 w 1061"/>
                <a:gd name="T117" fmla="*/ 423 h 1011"/>
                <a:gd name="T118" fmla="*/ 2 w 1061"/>
                <a:gd name="T119" fmla="*/ 473 h 1011"/>
                <a:gd name="T120" fmla="*/ 0 w 1061"/>
                <a:gd name="T121" fmla="*/ 516 h 1011"/>
                <a:gd name="T122" fmla="*/ 158 w 1061"/>
                <a:gd name="T123" fmla="*/ 644 h 1011"/>
                <a:gd name="T124" fmla="*/ 459 w 1061"/>
                <a:gd name="T125" fmla="*/ 884 h 10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1" h="1011">
                  <a:moveTo>
                    <a:pt x="459" y="884"/>
                  </a:moveTo>
                  <a:lnTo>
                    <a:pt x="457" y="907"/>
                  </a:lnTo>
                  <a:lnTo>
                    <a:pt x="489" y="938"/>
                  </a:lnTo>
                  <a:lnTo>
                    <a:pt x="520" y="938"/>
                  </a:lnTo>
                  <a:lnTo>
                    <a:pt x="524" y="955"/>
                  </a:lnTo>
                  <a:lnTo>
                    <a:pt x="557" y="961"/>
                  </a:lnTo>
                  <a:lnTo>
                    <a:pt x="566" y="972"/>
                  </a:lnTo>
                  <a:lnTo>
                    <a:pt x="553" y="997"/>
                  </a:lnTo>
                  <a:lnTo>
                    <a:pt x="568" y="1011"/>
                  </a:lnTo>
                  <a:lnTo>
                    <a:pt x="620" y="1009"/>
                  </a:lnTo>
                  <a:lnTo>
                    <a:pt x="620" y="1007"/>
                  </a:lnTo>
                  <a:lnTo>
                    <a:pt x="702" y="1001"/>
                  </a:lnTo>
                  <a:lnTo>
                    <a:pt x="777" y="940"/>
                  </a:lnTo>
                  <a:lnTo>
                    <a:pt x="935" y="836"/>
                  </a:lnTo>
                  <a:lnTo>
                    <a:pt x="1061" y="769"/>
                  </a:lnTo>
                  <a:lnTo>
                    <a:pt x="1044" y="732"/>
                  </a:lnTo>
                  <a:lnTo>
                    <a:pt x="1009" y="707"/>
                  </a:lnTo>
                  <a:lnTo>
                    <a:pt x="961" y="692"/>
                  </a:lnTo>
                  <a:lnTo>
                    <a:pt x="946" y="652"/>
                  </a:lnTo>
                  <a:lnTo>
                    <a:pt x="937" y="619"/>
                  </a:lnTo>
                  <a:lnTo>
                    <a:pt x="958" y="577"/>
                  </a:lnTo>
                  <a:lnTo>
                    <a:pt x="948" y="414"/>
                  </a:lnTo>
                  <a:lnTo>
                    <a:pt x="931" y="393"/>
                  </a:lnTo>
                  <a:lnTo>
                    <a:pt x="931" y="331"/>
                  </a:lnTo>
                  <a:lnTo>
                    <a:pt x="912" y="276"/>
                  </a:lnTo>
                  <a:lnTo>
                    <a:pt x="885" y="260"/>
                  </a:lnTo>
                  <a:lnTo>
                    <a:pt x="873" y="232"/>
                  </a:lnTo>
                  <a:lnTo>
                    <a:pt x="842" y="195"/>
                  </a:lnTo>
                  <a:lnTo>
                    <a:pt x="844" y="168"/>
                  </a:lnTo>
                  <a:lnTo>
                    <a:pt x="887" y="132"/>
                  </a:lnTo>
                  <a:lnTo>
                    <a:pt x="887" y="63"/>
                  </a:lnTo>
                  <a:lnTo>
                    <a:pt x="906" y="17"/>
                  </a:lnTo>
                  <a:lnTo>
                    <a:pt x="879" y="15"/>
                  </a:lnTo>
                  <a:lnTo>
                    <a:pt x="860" y="3"/>
                  </a:lnTo>
                  <a:lnTo>
                    <a:pt x="848" y="13"/>
                  </a:lnTo>
                  <a:lnTo>
                    <a:pt x="819" y="0"/>
                  </a:lnTo>
                  <a:lnTo>
                    <a:pt x="768" y="24"/>
                  </a:lnTo>
                  <a:lnTo>
                    <a:pt x="702" y="7"/>
                  </a:lnTo>
                  <a:lnTo>
                    <a:pt x="643" y="17"/>
                  </a:lnTo>
                  <a:lnTo>
                    <a:pt x="551" y="26"/>
                  </a:lnTo>
                  <a:lnTo>
                    <a:pt x="491" y="55"/>
                  </a:lnTo>
                  <a:lnTo>
                    <a:pt x="443" y="55"/>
                  </a:lnTo>
                  <a:lnTo>
                    <a:pt x="422" y="80"/>
                  </a:lnTo>
                  <a:lnTo>
                    <a:pt x="390" y="90"/>
                  </a:lnTo>
                  <a:lnTo>
                    <a:pt x="403" y="111"/>
                  </a:lnTo>
                  <a:lnTo>
                    <a:pt x="405" y="195"/>
                  </a:lnTo>
                  <a:lnTo>
                    <a:pt x="420" y="234"/>
                  </a:lnTo>
                  <a:lnTo>
                    <a:pt x="395" y="249"/>
                  </a:lnTo>
                  <a:lnTo>
                    <a:pt x="363" y="243"/>
                  </a:lnTo>
                  <a:lnTo>
                    <a:pt x="328" y="249"/>
                  </a:lnTo>
                  <a:lnTo>
                    <a:pt x="324" y="260"/>
                  </a:lnTo>
                  <a:lnTo>
                    <a:pt x="265" y="272"/>
                  </a:lnTo>
                  <a:lnTo>
                    <a:pt x="276" y="305"/>
                  </a:lnTo>
                  <a:lnTo>
                    <a:pt x="169" y="362"/>
                  </a:lnTo>
                  <a:lnTo>
                    <a:pt x="131" y="358"/>
                  </a:lnTo>
                  <a:lnTo>
                    <a:pt x="113" y="372"/>
                  </a:lnTo>
                  <a:lnTo>
                    <a:pt x="83" y="370"/>
                  </a:lnTo>
                  <a:lnTo>
                    <a:pt x="73" y="383"/>
                  </a:lnTo>
                  <a:lnTo>
                    <a:pt x="4" y="423"/>
                  </a:lnTo>
                  <a:lnTo>
                    <a:pt x="2" y="473"/>
                  </a:lnTo>
                  <a:lnTo>
                    <a:pt x="0" y="516"/>
                  </a:lnTo>
                  <a:lnTo>
                    <a:pt x="158" y="644"/>
                  </a:lnTo>
                  <a:lnTo>
                    <a:pt x="459" y="88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3" name="Freeform 116"/>
            <p:cNvSpPr>
              <a:spLocks/>
            </p:cNvSpPr>
            <p:nvPr/>
          </p:nvSpPr>
          <p:spPr bwMode="auto">
            <a:xfrm rot="127247">
              <a:off x="2823" y="1699"/>
              <a:ext cx="63" cy="147"/>
            </a:xfrm>
            <a:custGeom>
              <a:avLst/>
              <a:gdLst>
                <a:gd name="T0" fmla="*/ 98 w 206"/>
                <a:gd name="T1" fmla="*/ 404 h 404"/>
                <a:gd name="T2" fmla="*/ 89 w 206"/>
                <a:gd name="T3" fmla="*/ 395 h 404"/>
                <a:gd name="T4" fmla="*/ 89 w 206"/>
                <a:gd name="T5" fmla="*/ 333 h 404"/>
                <a:gd name="T6" fmla="*/ 70 w 206"/>
                <a:gd name="T7" fmla="*/ 278 h 404"/>
                <a:gd name="T8" fmla="*/ 43 w 206"/>
                <a:gd name="T9" fmla="*/ 262 h 404"/>
                <a:gd name="T10" fmla="*/ 31 w 206"/>
                <a:gd name="T11" fmla="*/ 234 h 404"/>
                <a:gd name="T12" fmla="*/ 0 w 206"/>
                <a:gd name="T13" fmla="*/ 197 h 404"/>
                <a:gd name="T14" fmla="*/ 2 w 206"/>
                <a:gd name="T15" fmla="*/ 170 h 404"/>
                <a:gd name="T16" fmla="*/ 45 w 206"/>
                <a:gd name="T17" fmla="*/ 134 h 404"/>
                <a:gd name="T18" fmla="*/ 45 w 206"/>
                <a:gd name="T19" fmla="*/ 65 h 404"/>
                <a:gd name="T20" fmla="*/ 64 w 206"/>
                <a:gd name="T21" fmla="*/ 21 h 404"/>
                <a:gd name="T22" fmla="*/ 68 w 206"/>
                <a:gd name="T23" fmla="*/ 19 h 404"/>
                <a:gd name="T24" fmla="*/ 98 w 206"/>
                <a:gd name="T25" fmla="*/ 15 h 404"/>
                <a:gd name="T26" fmla="*/ 121 w 206"/>
                <a:gd name="T27" fmla="*/ 0 h 404"/>
                <a:gd name="T28" fmla="*/ 162 w 206"/>
                <a:gd name="T29" fmla="*/ 9 h 404"/>
                <a:gd name="T30" fmla="*/ 165 w 206"/>
                <a:gd name="T31" fmla="*/ 30 h 404"/>
                <a:gd name="T32" fmla="*/ 192 w 206"/>
                <a:gd name="T33" fmla="*/ 15 h 404"/>
                <a:gd name="T34" fmla="*/ 196 w 206"/>
                <a:gd name="T35" fmla="*/ 30 h 404"/>
                <a:gd name="T36" fmla="*/ 175 w 206"/>
                <a:gd name="T37" fmla="*/ 51 h 404"/>
                <a:gd name="T38" fmla="*/ 190 w 206"/>
                <a:gd name="T39" fmla="*/ 97 h 404"/>
                <a:gd name="T40" fmla="*/ 169 w 206"/>
                <a:gd name="T41" fmla="*/ 159 h 404"/>
                <a:gd name="T42" fmla="*/ 137 w 206"/>
                <a:gd name="T43" fmla="*/ 163 h 404"/>
                <a:gd name="T44" fmla="*/ 158 w 206"/>
                <a:gd name="T45" fmla="*/ 203 h 404"/>
                <a:gd name="T46" fmla="*/ 179 w 206"/>
                <a:gd name="T47" fmla="*/ 203 h 404"/>
                <a:gd name="T48" fmla="*/ 206 w 206"/>
                <a:gd name="T49" fmla="*/ 228 h 404"/>
                <a:gd name="T50" fmla="*/ 202 w 206"/>
                <a:gd name="T51" fmla="*/ 261 h 404"/>
                <a:gd name="T52" fmla="*/ 162 w 206"/>
                <a:gd name="T53" fmla="*/ 299 h 404"/>
                <a:gd name="T54" fmla="*/ 144 w 206"/>
                <a:gd name="T55" fmla="*/ 307 h 404"/>
                <a:gd name="T56" fmla="*/ 131 w 206"/>
                <a:gd name="T57" fmla="*/ 360 h 404"/>
                <a:gd name="T58" fmla="*/ 123 w 206"/>
                <a:gd name="T59" fmla="*/ 387 h 404"/>
                <a:gd name="T60" fmla="*/ 98 w 206"/>
                <a:gd name="T61" fmla="*/ 404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06" h="404">
                  <a:moveTo>
                    <a:pt x="98" y="404"/>
                  </a:moveTo>
                  <a:lnTo>
                    <a:pt x="89" y="395"/>
                  </a:lnTo>
                  <a:lnTo>
                    <a:pt x="89" y="333"/>
                  </a:lnTo>
                  <a:lnTo>
                    <a:pt x="70" y="278"/>
                  </a:lnTo>
                  <a:lnTo>
                    <a:pt x="43" y="262"/>
                  </a:lnTo>
                  <a:lnTo>
                    <a:pt x="31" y="234"/>
                  </a:lnTo>
                  <a:lnTo>
                    <a:pt x="0" y="197"/>
                  </a:lnTo>
                  <a:lnTo>
                    <a:pt x="2" y="170"/>
                  </a:lnTo>
                  <a:lnTo>
                    <a:pt x="45" y="134"/>
                  </a:lnTo>
                  <a:lnTo>
                    <a:pt x="45" y="65"/>
                  </a:lnTo>
                  <a:lnTo>
                    <a:pt x="64" y="21"/>
                  </a:lnTo>
                  <a:lnTo>
                    <a:pt x="68" y="19"/>
                  </a:lnTo>
                  <a:lnTo>
                    <a:pt x="98" y="15"/>
                  </a:lnTo>
                  <a:lnTo>
                    <a:pt x="121" y="0"/>
                  </a:lnTo>
                  <a:lnTo>
                    <a:pt x="162" y="9"/>
                  </a:lnTo>
                  <a:lnTo>
                    <a:pt x="165" y="30"/>
                  </a:lnTo>
                  <a:lnTo>
                    <a:pt x="192" y="15"/>
                  </a:lnTo>
                  <a:lnTo>
                    <a:pt x="196" y="30"/>
                  </a:lnTo>
                  <a:lnTo>
                    <a:pt x="175" y="51"/>
                  </a:lnTo>
                  <a:lnTo>
                    <a:pt x="190" y="97"/>
                  </a:lnTo>
                  <a:lnTo>
                    <a:pt x="169" y="159"/>
                  </a:lnTo>
                  <a:lnTo>
                    <a:pt x="137" y="163"/>
                  </a:lnTo>
                  <a:lnTo>
                    <a:pt x="158" y="203"/>
                  </a:lnTo>
                  <a:lnTo>
                    <a:pt x="179" y="203"/>
                  </a:lnTo>
                  <a:lnTo>
                    <a:pt x="206" y="228"/>
                  </a:lnTo>
                  <a:lnTo>
                    <a:pt x="202" y="261"/>
                  </a:lnTo>
                  <a:lnTo>
                    <a:pt x="162" y="299"/>
                  </a:lnTo>
                  <a:lnTo>
                    <a:pt x="144" y="307"/>
                  </a:lnTo>
                  <a:lnTo>
                    <a:pt x="131" y="360"/>
                  </a:lnTo>
                  <a:lnTo>
                    <a:pt x="123" y="387"/>
                  </a:lnTo>
                  <a:lnTo>
                    <a:pt x="98" y="40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4" name="Freeform 117"/>
            <p:cNvSpPr>
              <a:spLocks/>
            </p:cNvSpPr>
            <p:nvPr/>
          </p:nvSpPr>
          <p:spPr bwMode="auto">
            <a:xfrm rot="127247">
              <a:off x="2846" y="1788"/>
              <a:ext cx="247" cy="276"/>
            </a:xfrm>
            <a:custGeom>
              <a:avLst/>
              <a:gdLst>
                <a:gd name="T0" fmla="*/ 124 w 813"/>
                <a:gd name="T1" fmla="*/ 539 h 756"/>
                <a:gd name="T2" fmla="*/ 107 w 813"/>
                <a:gd name="T3" fmla="*/ 504 h 756"/>
                <a:gd name="T4" fmla="*/ 72 w 813"/>
                <a:gd name="T5" fmla="*/ 479 h 756"/>
                <a:gd name="T6" fmla="*/ 24 w 813"/>
                <a:gd name="T7" fmla="*/ 464 h 756"/>
                <a:gd name="T8" fmla="*/ 9 w 813"/>
                <a:gd name="T9" fmla="*/ 424 h 756"/>
                <a:gd name="T10" fmla="*/ 0 w 813"/>
                <a:gd name="T11" fmla="*/ 391 h 756"/>
                <a:gd name="T12" fmla="*/ 21 w 813"/>
                <a:gd name="T13" fmla="*/ 349 h 756"/>
                <a:gd name="T14" fmla="*/ 11 w 813"/>
                <a:gd name="T15" fmla="*/ 186 h 756"/>
                <a:gd name="T16" fmla="*/ 3 w 813"/>
                <a:gd name="T17" fmla="*/ 174 h 756"/>
                <a:gd name="T18" fmla="*/ 28 w 813"/>
                <a:gd name="T19" fmla="*/ 157 h 756"/>
                <a:gd name="T20" fmla="*/ 36 w 813"/>
                <a:gd name="T21" fmla="*/ 130 h 756"/>
                <a:gd name="T22" fmla="*/ 49 w 813"/>
                <a:gd name="T23" fmla="*/ 77 h 756"/>
                <a:gd name="T24" fmla="*/ 67 w 813"/>
                <a:gd name="T25" fmla="*/ 69 h 756"/>
                <a:gd name="T26" fmla="*/ 107 w 813"/>
                <a:gd name="T27" fmla="*/ 31 h 756"/>
                <a:gd name="T28" fmla="*/ 111 w 813"/>
                <a:gd name="T29" fmla="*/ 0 h 756"/>
                <a:gd name="T30" fmla="*/ 145 w 813"/>
                <a:gd name="T31" fmla="*/ 0 h 756"/>
                <a:gd name="T32" fmla="*/ 166 w 813"/>
                <a:gd name="T33" fmla="*/ 17 h 756"/>
                <a:gd name="T34" fmla="*/ 303 w 813"/>
                <a:gd name="T35" fmla="*/ 46 h 756"/>
                <a:gd name="T36" fmla="*/ 326 w 813"/>
                <a:gd name="T37" fmla="*/ 105 h 756"/>
                <a:gd name="T38" fmla="*/ 391 w 813"/>
                <a:gd name="T39" fmla="*/ 111 h 756"/>
                <a:gd name="T40" fmla="*/ 439 w 813"/>
                <a:gd name="T41" fmla="*/ 134 h 756"/>
                <a:gd name="T42" fmla="*/ 539 w 813"/>
                <a:gd name="T43" fmla="*/ 126 h 756"/>
                <a:gd name="T44" fmla="*/ 535 w 813"/>
                <a:gd name="T45" fmla="*/ 69 h 756"/>
                <a:gd name="T46" fmla="*/ 560 w 813"/>
                <a:gd name="T47" fmla="*/ 38 h 756"/>
                <a:gd name="T48" fmla="*/ 590 w 813"/>
                <a:gd name="T49" fmla="*/ 17 h 756"/>
                <a:gd name="T50" fmla="*/ 671 w 813"/>
                <a:gd name="T51" fmla="*/ 21 h 756"/>
                <a:gd name="T52" fmla="*/ 683 w 813"/>
                <a:gd name="T53" fmla="*/ 36 h 756"/>
                <a:gd name="T54" fmla="*/ 788 w 813"/>
                <a:gd name="T55" fmla="*/ 77 h 756"/>
                <a:gd name="T56" fmla="*/ 813 w 813"/>
                <a:gd name="T57" fmla="*/ 727 h 756"/>
                <a:gd name="T58" fmla="*/ 763 w 813"/>
                <a:gd name="T59" fmla="*/ 729 h 756"/>
                <a:gd name="T60" fmla="*/ 763 w 813"/>
                <a:gd name="T61" fmla="*/ 756 h 756"/>
                <a:gd name="T62" fmla="*/ 326 w 813"/>
                <a:gd name="T63" fmla="*/ 535 h 756"/>
                <a:gd name="T64" fmla="*/ 230 w 813"/>
                <a:gd name="T65" fmla="*/ 591 h 756"/>
                <a:gd name="T66" fmla="*/ 189 w 813"/>
                <a:gd name="T67" fmla="*/ 562 h 756"/>
                <a:gd name="T68" fmla="*/ 159 w 813"/>
                <a:gd name="T69" fmla="*/ 552 h 756"/>
                <a:gd name="T70" fmla="*/ 124 w 813"/>
                <a:gd name="T71" fmla="*/ 539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13" h="756">
                  <a:moveTo>
                    <a:pt x="124" y="539"/>
                  </a:moveTo>
                  <a:lnTo>
                    <a:pt x="107" y="504"/>
                  </a:lnTo>
                  <a:lnTo>
                    <a:pt x="72" y="479"/>
                  </a:lnTo>
                  <a:lnTo>
                    <a:pt x="24" y="464"/>
                  </a:lnTo>
                  <a:lnTo>
                    <a:pt x="9" y="424"/>
                  </a:lnTo>
                  <a:lnTo>
                    <a:pt x="0" y="391"/>
                  </a:lnTo>
                  <a:lnTo>
                    <a:pt x="21" y="349"/>
                  </a:lnTo>
                  <a:lnTo>
                    <a:pt x="11" y="186"/>
                  </a:lnTo>
                  <a:lnTo>
                    <a:pt x="3" y="174"/>
                  </a:lnTo>
                  <a:lnTo>
                    <a:pt x="28" y="157"/>
                  </a:lnTo>
                  <a:lnTo>
                    <a:pt x="36" y="130"/>
                  </a:lnTo>
                  <a:lnTo>
                    <a:pt x="49" y="77"/>
                  </a:lnTo>
                  <a:lnTo>
                    <a:pt x="67" y="69"/>
                  </a:lnTo>
                  <a:lnTo>
                    <a:pt x="107" y="31"/>
                  </a:lnTo>
                  <a:lnTo>
                    <a:pt x="111" y="0"/>
                  </a:lnTo>
                  <a:lnTo>
                    <a:pt x="145" y="0"/>
                  </a:lnTo>
                  <a:lnTo>
                    <a:pt x="166" y="17"/>
                  </a:lnTo>
                  <a:lnTo>
                    <a:pt x="303" y="46"/>
                  </a:lnTo>
                  <a:lnTo>
                    <a:pt x="326" y="105"/>
                  </a:lnTo>
                  <a:lnTo>
                    <a:pt x="391" y="111"/>
                  </a:lnTo>
                  <a:lnTo>
                    <a:pt x="439" y="134"/>
                  </a:lnTo>
                  <a:lnTo>
                    <a:pt x="539" y="126"/>
                  </a:lnTo>
                  <a:lnTo>
                    <a:pt x="535" y="69"/>
                  </a:lnTo>
                  <a:lnTo>
                    <a:pt x="560" y="38"/>
                  </a:lnTo>
                  <a:lnTo>
                    <a:pt x="590" y="17"/>
                  </a:lnTo>
                  <a:lnTo>
                    <a:pt x="671" y="21"/>
                  </a:lnTo>
                  <a:lnTo>
                    <a:pt x="683" y="36"/>
                  </a:lnTo>
                  <a:lnTo>
                    <a:pt x="788" y="77"/>
                  </a:lnTo>
                  <a:lnTo>
                    <a:pt x="813" y="727"/>
                  </a:lnTo>
                  <a:lnTo>
                    <a:pt x="763" y="729"/>
                  </a:lnTo>
                  <a:lnTo>
                    <a:pt x="763" y="756"/>
                  </a:lnTo>
                  <a:lnTo>
                    <a:pt x="326" y="535"/>
                  </a:lnTo>
                  <a:lnTo>
                    <a:pt x="230" y="591"/>
                  </a:lnTo>
                  <a:lnTo>
                    <a:pt x="189" y="562"/>
                  </a:lnTo>
                  <a:lnTo>
                    <a:pt x="159" y="552"/>
                  </a:lnTo>
                  <a:lnTo>
                    <a:pt x="124" y="53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5" name="Freeform 118"/>
            <p:cNvSpPr>
              <a:spLocks/>
            </p:cNvSpPr>
            <p:nvPr/>
          </p:nvSpPr>
          <p:spPr bwMode="auto">
            <a:xfrm rot="127247">
              <a:off x="3085" y="1823"/>
              <a:ext cx="182" cy="197"/>
            </a:xfrm>
            <a:custGeom>
              <a:avLst/>
              <a:gdLst>
                <a:gd name="T0" fmla="*/ 0 w 593"/>
                <a:gd name="T1" fmla="*/ 0 h 539"/>
                <a:gd name="T2" fmla="*/ 2 w 593"/>
                <a:gd name="T3" fmla="*/ 2 h 539"/>
                <a:gd name="T4" fmla="*/ 23 w 593"/>
                <a:gd name="T5" fmla="*/ 539 h 539"/>
                <a:gd name="T6" fmla="*/ 466 w 593"/>
                <a:gd name="T7" fmla="*/ 531 h 539"/>
                <a:gd name="T8" fmla="*/ 528 w 593"/>
                <a:gd name="T9" fmla="*/ 516 h 539"/>
                <a:gd name="T10" fmla="*/ 593 w 593"/>
                <a:gd name="T11" fmla="*/ 466 h 539"/>
                <a:gd name="T12" fmla="*/ 582 w 593"/>
                <a:gd name="T13" fmla="*/ 429 h 539"/>
                <a:gd name="T14" fmla="*/ 593 w 593"/>
                <a:gd name="T15" fmla="*/ 406 h 539"/>
                <a:gd name="T16" fmla="*/ 578 w 593"/>
                <a:gd name="T17" fmla="*/ 406 h 539"/>
                <a:gd name="T18" fmla="*/ 480 w 593"/>
                <a:gd name="T19" fmla="*/ 266 h 539"/>
                <a:gd name="T20" fmla="*/ 484 w 593"/>
                <a:gd name="T21" fmla="*/ 253 h 539"/>
                <a:gd name="T22" fmla="*/ 474 w 593"/>
                <a:gd name="T23" fmla="*/ 243 h 539"/>
                <a:gd name="T24" fmla="*/ 470 w 593"/>
                <a:gd name="T25" fmla="*/ 226 h 539"/>
                <a:gd name="T26" fmla="*/ 428 w 593"/>
                <a:gd name="T27" fmla="*/ 167 h 539"/>
                <a:gd name="T28" fmla="*/ 417 w 593"/>
                <a:gd name="T29" fmla="*/ 165 h 539"/>
                <a:gd name="T30" fmla="*/ 386 w 593"/>
                <a:gd name="T31" fmla="*/ 109 h 539"/>
                <a:gd name="T32" fmla="*/ 388 w 593"/>
                <a:gd name="T33" fmla="*/ 96 h 539"/>
                <a:gd name="T34" fmla="*/ 370 w 593"/>
                <a:gd name="T35" fmla="*/ 55 h 539"/>
                <a:gd name="T36" fmla="*/ 378 w 593"/>
                <a:gd name="T37" fmla="*/ 44 h 539"/>
                <a:gd name="T38" fmla="*/ 370 w 593"/>
                <a:gd name="T39" fmla="*/ 26 h 539"/>
                <a:gd name="T40" fmla="*/ 326 w 593"/>
                <a:gd name="T41" fmla="*/ 5 h 539"/>
                <a:gd name="T42" fmla="*/ 257 w 593"/>
                <a:gd name="T43" fmla="*/ 21 h 539"/>
                <a:gd name="T44" fmla="*/ 248 w 593"/>
                <a:gd name="T45" fmla="*/ 34 h 539"/>
                <a:gd name="T46" fmla="*/ 234 w 593"/>
                <a:gd name="T47" fmla="*/ 34 h 539"/>
                <a:gd name="T48" fmla="*/ 221 w 593"/>
                <a:gd name="T49" fmla="*/ 48 h 539"/>
                <a:gd name="T50" fmla="*/ 142 w 593"/>
                <a:gd name="T51" fmla="*/ 34 h 539"/>
                <a:gd name="T52" fmla="*/ 119 w 593"/>
                <a:gd name="T53" fmla="*/ 25 h 539"/>
                <a:gd name="T54" fmla="*/ 31 w 593"/>
                <a:gd name="T55" fmla="*/ 0 h 539"/>
                <a:gd name="T56" fmla="*/ 0 w 593"/>
                <a:gd name="T57" fmla="*/ 0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93" h="539">
                  <a:moveTo>
                    <a:pt x="0" y="0"/>
                  </a:moveTo>
                  <a:lnTo>
                    <a:pt x="2" y="2"/>
                  </a:lnTo>
                  <a:lnTo>
                    <a:pt x="23" y="539"/>
                  </a:lnTo>
                  <a:lnTo>
                    <a:pt x="466" y="531"/>
                  </a:lnTo>
                  <a:lnTo>
                    <a:pt x="528" y="516"/>
                  </a:lnTo>
                  <a:lnTo>
                    <a:pt x="593" y="466"/>
                  </a:lnTo>
                  <a:lnTo>
                    <a:pt x="582" y="429"/>
                  </a:lnTo>
                  <a:lnTo>
                    <a:pt x="593" y="406"/>
                  </a:lnTo>
                  <a:lnTo>
                    <a:pt x="578" y="406"/>
                  </a:lnTo>
                  <a:lnTo>
                    <a:pt x="480" y="266"/>
                  </a:lnTo>
                  <a:lnTo>
                    <a:pt x="484" y="253"/>
                  </a:lnTo>
                  <a:lnTo>
                    <a:pt x="474" y="243"/>
                  </a:lnTo>
                  <a:lnTo>
                    <a:pt x="470" y="226"/>
                  </a:lnTo>
                  <a:lnTo>
                    <a:pt x="428" y="167"/>
                  </a:lnTo>
                  <a:lnTo>
                    <a:pt x="417" y="165"/>
                  </a:lnTo>
                  <a:lnTo>
                    <a:pt x="386" y="109"/>
                  </a:lnTo>
                  <a:lnTo>
                    <a:pt x="388" y="96"/>
                  </a:lnTo>
                  <a:lnTo>
                    <a:pt x="370" y="55"/>
                  </a:lnTo>
                  <a:lnTo>
                    <a:pt x="378" y="44"/>
                  </a:lnTo>
                  <a:lnTo>
                    <a:pt x="370" y="26"/>
                  </a:lnTo>
                  <a:lnTo>
                    <a:pt x="326" y="5"/>
                  </a:lnTo>
                  <a:lnTo>
                    <a:pt x="257" y="21"/>
                  </a:lnTo>
                  <a:lnTo>
                    <a:pt x="248" y="34"/>
                  </a:lnTo>
                  <a:lnTo>
                    <a:pt x="234" y="34"/>
                  </a:lnTo>
                  <a:lnTo>
                    <a:pt x="221" y="48"/>
                  </a:lnTo>
                  <a:lnTo>
                    <a:pt x="142" y="34"/>
                  </a:lnTo>
                  <a:lnTo>
                    <a:pt x="119" y="25"/>
                  </a:lnTo>
                  <a:lnTo>
                    <a:pt x="31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6" name="Freeform 119"/>
            <p:cNvSpPr>
              <a:spLocks/>
            </p:cNvSpPr>
            <p:nvPr/>
          </p:nvSpPr>
          <p:spPr bwMode="auto">
            <a:xfrm rot="127247">
              <a:off x="3038" y="1993"/>
              <a:ext cx="276" cy="414"/>
            </a:xfrm>
            <a:custGeom>
              <a:avLst/>
              <a:gdLst>
                <a:gd name="T0" fmla="*/ 150 w 908"/>
                <a:gd name="T1" fmla="*/ 184 h 1137"/>
                <a:gd name="T2" fmla="*/ 100 w 908"/>
                <a:gd name="T3" fmla="*/ 205 h 1137"/>
                <a:gd name="T4" fmla="*/ 115 w 908"/>
                <a:gd name="T5" fmla="*/ 441 h 1137"/>
                <a:gd name="T6" fmla="*/ 81 w 908"/>
                <a:gd name="T7" fmla="*/ 452 h 1137"/>
                <a:gd name="T8" fmla="*/ 41 w 908"/>
                <a:gd name="T9" fmla="*/ 508 h 1137"/>
                <a:gd name="T10" fmla="*/ 16 w 908"/>
                <a:gd name="T11" fmla="*/ 545 h 1137"/>
                <a:gd name="T12" fmla="*/ 0 w 908"/>
                <a:gd name="T13" fmla="*/ 600 h 1137"/>
                <a:gd name="T14" fmla="*/ 43 w 908"/>
                <a:gd name="T15" fmla="*/ 642 h 1137"/>
                <a:gd name="T16" fmla="*/ 64 w 908"/>
                <a:gd name="T17" fmla="*/ 690 h 1137"/>
                <a:gd name="T18" fmla="*/ 98 w 908"/>
                <a:gd name="T19" fmla="*/ 767 h 1137"/>
                <a:gd name="T20" fmla="*/ 137 w 908"/>
                <a:gd name="T21" fmla="*/ 842 h 1137"/>
                <a:gd name="T22" fmla="*/ 190 w 908"/>
                <a:gd name="T23" fmla="*/ 886 h 1137"/>
                <a:gd name="T24" fmla="*/ 254 w 908"/>
                <a:gd name="T25" fmla="*/ 949 h 1137"/>
                <a:gd name="T26" fmla="*/ 292 w 908"/>
                <a:gd name="T27" fmla="*/ 988 h 1137"/>
                <a:gd name="T28" fmla="*/ 369 w 908"/>
                <a:gd name="T29" fmla="*/ 1084 h 1137"/>
                <a:gd name="T30" fmla="*/ 438 w 908"/>
                <a:gd name="T31" fmla="*/ 1072 h 1137"/>
                <a:gd name="T32" fmla="*/ 513 w 908"/>
                <a:gd name="T33" fmla="*/ 1137 h 1137"/>
                <a:gd name="T34" fmla="*/ 566 w 908"/>
                <a:gd name="T35" fmla="*/ 1120 h 1137"/>
                <a:gd name="T36" fmla="*/ 611 w 908"/>
                <a:gd name="T37" fmla="*/ 1112 h 1137"/>
                <a:gd name="T38" fmla="*/ 706 w 908"/>
                <a:gd name="T39" fmla="*/ 1066 h 1137"/>
                <a:gd name="T40" fmla="*/ 785 w 908"/>
                <a:gd name="T41" fmla="*/ 1049 h 1137"/>
                <a:gd name="T42" fmla="*/ 752 w 908"/>
                <a:gd name="T43" fmla="*/ 1013 h 1137"/>
                <a:gd name="T44" fmla="*/ 685 w 908"/>
                <a:gd name="T45" fmla="*/ 905 h 1137"/>
                <a:gd name="T46" fmla="*/ 635 w 908"/>
                <a:gd name="T47" fmla="*/ 865 h 1137"/>
                <a:gd name="T48" fmla="*/ 691 w 908"/>
                <a:gd name="T49" fmla="*/ 758 h 1137"/>
                <a:gd name="T50" fmla="*/ 735 w 908"/>
                <a:gd name="T51" fmla="*/ 713 h 1137"/>
                <a:gd name="T52" fmla="*/ 772 w 908"/>
                <a:gd name="T53" fmla="*/ 606 h 1137"/>
                <a:gd name="T54" fmla="*/ 808 w 908"/>
                <a:gd name="T55" fmla="*/ 516 h 1137"/>
                <a:gd name="T56" fmla="*/ 825 w 908"/>
                <a:gd name="T57" fmla="*/ 380 h 1137"/>
                <a:gd name="T58" fmla="*/ 847 w 908"/>
                <a:gd name="T59" fmla="*/ 339 h 1137"/>
                <a:gd name="T60" fmla="*/ 883 w 908"/>
                <a:gd name="T61" fmla="*/ 316 h 1137"/>
                <a:gd name="T62" fmla="*/ 856 w 908"/>
                <a:gd name="T63" fmla="*/ 266 h 1137"/>
                <a:gd name="T64" fmla="*/ 820 w 908"/>
                <a:gd name="T65" fmla="*/ 172 h 1137"/>
                <a:gd name="T66" fmla="*/ 791 w 908"/>
                <a:gd name="T67" fmla="*/ 65 h 1137"/>
                <a:gd name="T68" fmla="*/ 739 w 908"/>
                <a:gd name="T69" fmla="*/ 21 h 1137"/>
                <a:gd name="T70" fmla="*/ 651 w 908"/>
                <a:gd name="T71" fmla="*/ 48 h 1137"/>
                <a:gd name="T72" fmla="*/ 146 w 908"/>
                <a:gd name="T73" fmla="*/ 71 h 1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8" h="1137">
                  <a:moveTo>
                    <a:pt x="144" y="59"/>
                  </a:moveTo>
                  <a:lnTo>
                    <a:pt x="150" y="184"/>
                  </a:lnTo>
                  <a:lnTo>
                    <a:pt x="100" y="186"/>
                  </a:lnTo>
                  <a:lnTo>
                    <a:pt x="100" y="205"/>
                  </a:lnTo>
                  <a:lnTo>
                    <a:pt x="102" y="209"/>
                  </a:lnTo>
                  <a:lnTo>
                    <a:pt x="115" y="441"/>
                  </a:lnTo>
                  <a:lnTo>
                    <a:pt x="92" y="435"/>
                  </a:lnTo>
                  <a:lnTo>
                    <a:pt x="81" y="452"/>
                  </a:lnTo>
                  <a:lnTo>
                    <a:pt x="62" y="443"/>
                  </a:lnTo>
                  <a:lnTo>
                    <a:pt x="41" y="508"/>
                  </a:lnTo>
                  <a:lnTo>
                    <a:pt x="50" y="525"/>
                  </a:lnTo>
                  <a:lnTo>
                    <a:pt x="16" y="545"/>
                  </a:lnTo>
                  <a:lnTo>
                    <a:pt x="20" y="573"/>
                  </a:lnTo>
                  <a:lnTo>
                    <a:pt x="0" y="600"/>
                  </a:lnTo>
                  <a:lnTo>
                    <a:pt x="25" y="598"/>
                  </a:lnTo>
                  <a:lnTo>
                    <a:pt x="43" y="642"/>
                  </a:lnTo>
                  <a:lnTo>
                    <a:pt x="39" y="673"/>
                  </a:lnTo>
                  <a:lnTo>
                    <a:pt x="64" y="690"/>
                  </a:lnTo>
                  <a:lnTo>
                    <a:pt x="56" y="715"/>
                  </a:lnTo>
                  <a:lnTo>
                    <a:pt x="98" y="767"/>
                  </a:lnTo>
                  <a:lnTo>
                    <a:pt x="102" y="832"/>
                  </a:lnTo>
                  <a:lnTo>
                    <a:pt x="137" y="842"/>
                  </a:lnTo>
                  <a:lnTo>
                    <a:pt x="139" y="861"/>
                  </a:lnTo>
                  <a:lnTo>
                    <a:pt x="190" y="886"/>
                  </a:lnTo>
                  <a:lnTo>
                    <a:pt x="200" y="913"/>
                  </a:lnTo>
                  <a:lnTo>
                    <a:pt x="254" y="949"/>
                  </a:lnTo>
                  <a:lnTo>
                    <a:pt x="250" y="967"/>
                  </a:lnTo>
                  <a:lnTo>
                    <a:pt x="292" y="988"/>
                  </a:lnTo>
                  <a:lnTo>
                    <a:pt x="311" y="1043"/>
                  </a:lnTo>
                  <a:lnTo>
                    <a:pt x="369" y="1084"/>
                  </a:lnTo>
                  <a:lnTo>
                    <a:pt x="415" y="1084"/>
                  </a:lnTo>
                  <a:lnTo>
                    <a:pt x="438" y="1072"/>
                  </a:lnTo>
                  <a:lnTo>
                    <a:pt x="470" y="1097"/>
                  </a:lnTo>
                  <a:lnTo>
                    <a:pt x="513" y="1137"/>
                  </a:lnTo>
                  <a:lnTo>
                    <a:pt x="526" y="1120"/>
                  </a:lnTo>
                  <a:lnTo>
                    <a:pt x="566" y="1120"/>
                  </a:lnTo>
                  <a:lnTo>
                    <a:pt x="582" y="1137"/>
                  </a:lnTo>
                  <a:lnTo>
                    <a:pt x="611" y="1112"/>
                  </a:lnTo>
                  <a:lnTo>
                    <a:pt x="670" y="1116"/>
                  </a:lnTo>
                  <a:lnTo>
                    <a:pt x="706" y="1066"/>
                  </a:lnTo>
                  <a:lnTo>
                    <a:pt x="802" y="1063"/>
                  </a:lnTo>
                  <a:lnTo>
                    <a:pt x="785" y="1049"/>
                  </a:lnTo>
                  <a:lnTo>
                    <a:pt x="793" y="1022"/>
                  </a:lnTo>
                  <a:lnTo>
                    <a:pt x="752" y="1013"/>
                  </a:lnTo>
                  <a:lnTo>
                    <a:pt x="726" y="947"/>
                  </a:lnTo>
                  <a:lnTo>
                    <a:pt x="685" y="905"/>
                  </a:lnTo>
                  <a:lnTo>
                    <a:pt x="641" y="890"/>
                  </a:lnTo>
                  <a:lnTo>
                    <a:pt x="635" y="865"/>
                  </a:lnTo>
                  <a:lnTo>
                    <a:pt x="689" y="832"/>
                  </a:lnTo>
                  <a:lnTo>
                    <a:pt x="691" y="758"/>
                  </a:lnTo>
                  <a:lnTo>
                    <a:pt x="706" y="708"/>
                  </a:lnTo>
                  <a:lnTo>
                    <a:pt x="735" y="713"/>
                  </a:lnTo>
                  <a:lnTo>
                    <a:pt x="739" y="654"/>
                  </a:lnTo>
                  <a:lnTo>
                    <a:pt x="772" y="606"/>
                  </a:lnTo>
                  <a:lnTo>
                    <a:pt x="802" y="600"/>
                  </a:lnTo>
                  <a:lnTo>
                    <a:pt x="808" y="516"/>
                  </a:lnTo>
                  <a:lnTo>
                    <a:pt x="804" y="454"/>
                  </a:lnTo>
                  <a:lnTo>
                    <a:pt x="825" y="380"/>
                  </a:lnTo>
                  <a:lnTo>
                    <a:pt x="818" y="353"/>
                  </a:lnTo>
                  <a:lnTo>
                    <a:pt x="847" y="339"/>
                  </a:lnTo>
                  <a:lnTo>
                    <a:pt x="858" y="316"/>
                  </a:lnTo>
                  <a:lnTo>
                    <a:pt x="883" y="316"/>
                  </a:lnTo>
                  <a:lnTo>
                    <a:pt x="908" y="280"/>
                  </a:lnTo>
                  <a:lnTo>
                    <a:pt x="856" y="266"/>
                  </a:lnTo>
                  <a:lnTo>
                    <a:pt x="825" y="230"/>
                  </a:lnTo>
                  <a:lnTo>
                    <a:pt x="820" y="172"/>
                  </a:lnTo>
                  <a:lnTo>
                    <a:pt x="812" y="161"/>
                  </a:lnTo>
                  <a:lnTo>
                    <a:pt x="791" y="65"/>
                  </a:lnTo>
                  <a:lnTo>
                    <a:pt x="764" y="32"/>
                  </a:lnTo>
                  <a:lnTo>
                    <a:pt x="739" y="21"/>
                  </a:lnTo>
                  <a:lnTo>
                    <a:pt x="714" y="0"/>
                  </a:lnTo>
                  <a:lnTo>
                    <a:pt x="651" y="48"/>
                  </a:lnTo>
                  <a:lnTo>
                    <a:pt x="589" y="63"/>
                  </a:lnTo>
                  <a:lnTo>
                    <a:pt x="146" y="71"/>
                  </a:lnTo>
                  <a:lnTo>
                    <a:pt x="144" y="5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7" name="Freeform 120"/>
            <p:cNvSpPr>
              <a:spLocks/>
            </p:cNvSpPr>
            <p:nvPr/>
          </p:nvSpPr>
          <p:spPr bwMode="auto">
            <a:xfrm rot="127247">
              <a:off x="3230" y="2102"/>
              <a:ext cx="248" cy="305"/>
            </a:xfrm>
            <a:custGeom>
              <a:avLst/>
              <a:gdLst>
                <a:gd name="T0" fmla="*/ 164 w 816"/>
                <a:gd name="T1" fmla="*/ 782 h 838"/>
                <a:gd name="T2" fmla="*/ 165 w 816"/>
                <a:gd name="T3" fmla="*/ 782 h 838"/>
                <a:gd name="T4" fmla="*/ 150 w 816"/>
                <a:gd name="T5" fmla="*/ 769 h 838"/>
                <a:gd name="T6" fmla="*/ 158 w 816"/>
                <a:gd name="T7" fmla="*/ 740 h 838"/>
                <a:gd name="T8" fmla="*/ 116 w 816"/>
                <a:gd name="T9" fmla="*/ 733 h 838"/>
                <a:gd name="T10" fmla="*/ 89 w 816"/>
                <a:gd name="T11" fmla="*/ 665 h 838"/>
                <a:gd name="T12" fmla="*/ 50 w 816"/>
                <a:gd name="T13" fmla="*/ 625 h 838"/>
                <a:gd name="T14" fmla="*/ 4 w 816"/>
                <a:gd name="T15" fmla="*/ 610 h 838"/>
                <a:gd name="T16" fmla="*/ 0 w 816"/>
                <a:gd name="T17" fmla="*/ 585 h 838"/>
                <a:gd name="T18" fmla="*/ 52 w 816"/>
                <a:gd name="T19" fmla="*/ 552 h 838"/>
                <a:gd name="T20" fmla="*/ 54 w 816"/>
                <a:gd name="T21" fmla="*/ 477 h 838"/>
                <a:gd name="T22" fmla="*/ 71 w 816"/>
                <a:gd name="T23" fmla="*/ 428 h 838"/>
                <a:gd name="T24" fmla="*/ 100 w 816"/>
                <a:gd name="T25" fmla="*/ 431 h 838"/>
                <a:gd name="T26" fmla="*/ 102 w 816"/>
                <a:gd name="T27" fmla="*/ 372 h 838"/>
                <a:gd name="T28" fmla="*/ 137 w 816"/>
                <a:gd name="T29" fmla="*/ 324 h 838"/>
                <a:gd name="T30" fmla="*/ 165 w 816"/>
                <a:gd name="T31" fmla="*/ 320 h 838"/>
                <a:gd name="T32" fmla="*/ 173 w 816"/>
                <a:gd name="T33" fmla="*/ 236 h 838"/>
                <a:gd name="T34" fmla="*/ 169 w 816"/>
                <a:gd name="T35" fmla="*/ 174 h 838"/>
                <a:gd name="T36" fmla="*/ 188 w 816"/>
                <a:gd name="T37" fmla="*/ 100 h 838"/>
                <a:gd name="T38" fmla="*/ 183 w 816"/>
                <a:gd name="T39" fmla="*/ 73 h 838"/>
                <a:gd name="T40" fmla="*/ 212 w 816"/>
                <a:gd name="T41" fmla="*/ 57 h 838"/>
                <a:gd name="T42" fmla="*/ 223 w 816"/>
                <a:gd name="T43" fmla="*/ 36 h 838"/>
                <a:gd name="T44" fmla="*/ 248 w 816"/>
                <a:gd name="T45" fmla="*/ 36 h 838"/>
                <a:gd name="T46" fmla="*/ 273 w 816"/>
                <a:gd name="T47" fmla="*/ 0 h 838"/>
                <a:gd name="T48" fmla="*/ 300 w 816"/>
                <a:gd name="T49" fmla="*/ 75 h 838"/>
                <a:gd name="T50" fmla="*/ 307 w 816"/>
                <a:gd name="T51" fmla="*/ 119 h 838"/>
                <a:gd name="T52" fmla="*/ 332 w 816"/>
                <a:gd name="T53" fmla="*/ 149 h 838"/>
                <a:gd name="T54" fmla="*/ 348 w 816"/>
                <a:gd name="T55" fmla="*/ 136 h 838"/>
                <a:gd name="T56" fmla="*/ 375 w 816"/>
                <a:gd name="T57" fmla="*/ 172 h 838"/>
                <a:gd name="T58" fmla="*/ 436 w 816"/>
                <a:gd name="T59" fmla="*/ 207 h 838"/>
                <a:gd name="T60" fmla="*/ 446 w 816"/>
                <a:gd name="T61" fmla="*/ 222 h 838"/>
                <a:gd name="T62" fmla="*/ 467 w 816"/>
                <a:gd name="T63" fmla="*/ 232 h 838"/>
                <a:gd name="T64" fmla="*/ 520 w 816"/>
                <a:gd name="T65" fmla="*/ 295 h 838"/>
                <a:gd name="T66" fmla="*/ 497 w 816"/>
                <a:gd name="T67" fmla="*/ 311 h 838"/>
                <a:gd name="T68" fmla="*/ 474 w 816"/>
                <a:gd name="T69" fmla="*/ 362 h 838"/>
                <a:gd name="T70" fmla="*/ 469 w 816"/>
                <a:gd name="T71" fmla="*/ 387 h 838"/>
                <a:gd name="T72" fmla="*/ 507 w 816"/>
                <a:gd name="T73" fmla="*/ 397 h 838"/>
                <a:gd name="T74" fmla="*/ 532 w 816"/>
                <a:gd name="T75" fmla="*/ 395 h 838"/>
                <a:gd name="T76" fmla="*/ 528 w 816"/>
                <a:gd name="T77" fmla="*/ 408 h 838"/>
                <a:gd name="T78" fmla="*/ 532 w 816"/>
                <a:gd name="T79" fmla="*/ 428 h 838"/>
                <a:gd name="T80" fmla="*/ 572 w 816"/>
                <a:gd name="T81" fmla="*/ 491 h 838"/>
                <a:gd name="T82" fmla="*/ 584 w 816"/>
                <a:gd name="T83" fmla="*/ 491 h 838"/>
                <a:gd name="T84" fmla="*/ 593 w 816"/>
                <a:gd name="T85" fmla="*/ 518 h 838"/>
                <a:gd name="T86" fmla="*/ 666 w 816"/>
                <a:gd name="T87" fmla="*/ 527 h 838"/>
                <a:gd name="T88" fmla="*/ 731 w 816"/>
                <a:gd name="T89" fmla="*/ 550 h 838"/>
                <a:gd name="T90" fmla="*/ 781 w 816"/>
                <a:gd name="T91" fmla="*/ 558 h 838"/>
                <a:gd name="T92" fmla="*/ 816 w 816"/>
                <a:gd name="T93" fmla="*/ 556 h 838"/>
                <a:gd name="T94" fmla="*/ 670 w 816"/>
                <a:gd name="T95" fmla="*/ 756 h 838"/>
                <a:gd name="T96" fmla="*/ 614 w 816"/>
                <a:gd name="T97" fmla="*/ 752 h 838"/>
                <a:gd name="T98" fmla="*/ 545 w 816"/>
                <a:gd name="T99" fmla="*/ 792 h 838"/>
                <a:gd name="T100" fmla="*/ 509 w 816"/>
                <a:gd name="T101" fmla="*/ 794 h 838"/>
                <a:gd name="T102" fmla="*/ 497 w 816"/>
                <a:gd name="T103" fmla="*/ 807 h 838"/>
                <a:gd name="T104" fmla="*/ 478 w 816"/>
                <a:gd name="T105" fmla="*/ 807 h 838"/>
                <a:gd name="T106" fmla="*/ 457 w 816"/>
                <a:gd name="T107" fmla="*/ 813 h 838"/>
                <a:gd name="T108" fmla="*/ 434 w 816"/>
                <a:gd name="T109" fmla="*/ 802 h 838"/>
                <a:gd name="T110" fmla="*/ 398 w 816"/>
                <a:gd name="T111" fmla="*/ 813 h 838"/>
                <a:gd name="T112" fmla="*/ 367 w 816"/>
                <a:gd name="T113" fmla="*/ 838 h 838"/>
                <a:gd name="T114" fmla="*/ 277 w 816"/>
                <a:gd name="T115" fmla="*/ 829 h 838"/>
                <a:gd name="T116" fmla="*/ 231 w 816"/>
                <a:gd name="T117" fmla="*/ 798 h 838"/>
                <a:gd name="T118" fmla="*/ 213 w 816"/>
                <a:gd name="T119" fmla="*/ 788 h 838"/>
                <a:gd name="T120" fmla="*/ 196 w 816"/>
                <a:gd name="T121" fmla="*/ 794 h 838"/>
                <a:gd name="T122" fmla="*/ 164 w 816"/>
                <a:gd name="T123" fmla="*/ 782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16" h="838">
                  <a:moveTo>
                    <a:pt x="164" y="782"/>
                  </a:moveTo>
                  <a:lnTo>
                    <a:pt x="165" y="782"/>
                  </a:lnTo>
                  <a:lnTo>
                    <a:pt x="150" y="769"/>
                  </a:lnTo>
                  <a:lnTo>
                    <a:pt x="158" y="740"/>
                  </a:lnTo>
                  <a:lnTo>
                    <a:pt x="116" y="733"/>
                  </a:lnTo>
                  <a:lnTo>
                    <a:pt x="89" y="665"/>
                  </a:lnTo>
                  <a:lnTo>
                    <a:pt x="50" y="625"/>
                  </a:lnTo>
                  <a:lnTo>
                    <a:pt x="4" y="610"/>
                  </a:lnTo>
                  <a:lnTo>
                    <a:pt x="0" y="585"/>
                  </a:lnTo>
                  <a:lnTo>
                    <a:pt x="52" y="552"/>
                  </a:lnTo>
                  <a:lnTo>
                    <a:pt x="54" y="477"/>
                  </a:lnTo>
                  <a:lnTo>
                    <a:pt x="71" y="428"/>
                  </a:lnTo>
                  <a:lnTo>
                    <a:pt x="100" y="431"/>
                  </a:lnTo>
                  <a:lnTo>
                    <a:pt x="102" y="372"/>
                  </a:lnTo>
                  <a:lnTo>
                    <a:pt x="137" y="324"/>
                  </a:lnTo>
                  <a:lnTo>
                    <a:pt x="165" y="320"/>
                  </a:lnTo>
                  <a:lnTo>
                    <a:pt x="173" y="236"/>
                  </a:lnTo>
                  <a:lnTo>
                    <a:pt x="169" y="174"/>
                  </a:lnTo>
                  <a:lnTo>
                    <a:pt x="188" y="100"/>
                  </a:lnTo>
                  <a:lnTo>
                    <a:pt x="183" y="73"/>
                  </a:lnTo>
                  <a:lnTo>
                    <a:pt x="212" y="57"/>
                  </a:lnTo>
                  <a:lnTo>
                    <a:pt x="223" y="36"/>
                  </a:lnTo>
                  <a:lnTo>
                    <a:pt x="248" y="36"/>
                  </a:lnTo>
                  <a:lnTo>
                    <a:pt x="273" y="0"/>
                  </a:lnTo>
                  <a:lnTo>
                    <a:pt x="300" y="75"/>
                  </a:lnTo>
                  <a:lnTo>
                    <a:pt x="307" y="119"/>
                  </a:lnTo>
                  <a:lnTo>
                    <a:pt x="332" y="149"/>
                  </a:lnTo>
                  <a:lnTo>
                    <a:pt x="348" y="136"/>
                  </a:lnTo>
                  <a:lnTo>
                    <a:pt x="375" y="172"/>
                  </a:lnTo>
                  <a:lnTo>
                    <a:pt x="436" y="207"/>
                  </a:lnTo>
                  <a:lnTo>
                    <a:pt x="446" y="222"/>
                  </a:lnTo>
                  <a:lnTo>
                    <a:pt x="467" y="232"/>
                  </a:lnTo>
                  <a:lnTo>
                    <a:pt x="520" y="295"/>
                  </a:lnTo>
                  <a:lnTo>
                    <a:pt x="497" y="311"/>
                  </a:lnTo>
                  <a:lnTo>
                    <a:pt x="474" y="362"/>
                  </a:lnTo>
                  <a:lnTo>
                    <a:pt x="469" y="387"/>
                  </a:lnTo>
                  <a:lnTo>
                    <a:pt x="507" y="397"/>
                  </a:lnTo>
                  <a:lnTo>
                    <a:pt x="532" y="395"/>
                  </a:lnTo>
                  <a:lnTo>
                    <a:pt x="528" y="408"/>
                  </a:lnTo>
                  <a:lnTo>
                    <a:pt x="532" y="428"/>
                  </a:lnTo>
                  <a:lnTo>
                    <a:pt x="572" y="491"/>
                  </a:lnTo>
                  <a:lnTo>
                    <a:pt x="584" y="491"/>
                  </a:lnTo>
                  <a:lnTo>
                    <a:pt x="593" y="518"/>
                  </a:lnTo>
                  <a:lnTo>
                    <a:pt x="666" y="527"/>
                  </a:lnTo>
                  <a:lnTo>
                    <a:pt x="731" y="550"/>
                  </a:lnTo>
                  <a:lnTo>
                    <a:pt x="781" y="558"/>
                  </a:lnTo>
                  <a:lnTo>
                    <a:pt x="816" y="556"/>
                  </a:lnTo>
                  <a:lnTo>
                    <a:pt x="670" y="756"/>
                  </a:lnTo>
                  <a:lnTo>
                    <a:pt x="614" y="752"/>
                  </a:lnTo>
                  <a:lnTo>
                    <a:pt x="545" y="792"/>
                  </a:lnTo>
                  <a:lnTo>
                    <a:pt x="509" y="794"/>
                  </a:lnTo>
                  <a:lnTo>
                    <a:pt x="497" y="807"/>
                  </a:lnTo>
                  <a:lnTo>
                    <a:pt x="478" y="807"/>
                  </a:lnTo>
                  <a:lnTo>
                    <a:pt x="457" y="813"/>
                  </a:lnTo>
                  <a:lnTo>
                    <a:pt x="434" y="802"/>
                  </a:lnTo>
                  <a:lnTo>
                    <a:pt x="398" y="813"/>
                  </a:lnTo>
                  <a:lnTo>
                    <a:pt x="367" y="838"/>
                  </a:lnTo>
                  <a:lnTo>
                    <a:pt x="277" y="829"/>
                  </a:lnTo>
                  <a:lnTo>
                    <a:pt x="231" y="798"/>
                  </a:lnTo>
                  <a:lnTo>
                    <a:pt x="213" y="788"/>
                  </a:lnTo>
                  <a:lnTo>
                    <a:pt x="196" y="794"/>
                  </a:lnTo>
                  <a:lnTo>
                    <a:pt x="164" y="78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8" name="Freeform 121"/>
            <p:cNvSpPr>
              <a:spLocks/>
            </p:cNvSpPr>
            <p:nvPr/>
          </p:nvSpPr>
          <p:spPr bwMode="auto">
            <a:xfrm rot="127247">
              <a:off x="3363" y="2206"/>
              <a:ext cx="194" cy="314"/>
            </a:xfrm>
            <a:custGeom>
              <a:avLst/>
              <a:gdLst>
                <a:gd name="T0" fmla="*/ 79 w 637"/>
                <a:gd name="T1" fmla="*/ 123 h 863"/>
                <a:gd name="T2" fmla="*/ 77 w 637"/>
                <a:gd name="T3" fmla="*/ 136 h 863"/>
                <a:gd name="T4" fmla="*/ 79 w 637"/>
                <a:gd name="T5" fmla="*/ 156 h 863"/>
                <a:gd name="T6" fmla="*/ 119 w 637"/>
                <a:gd name="T7" fmla="*/ 219 h 863"/>
                <a:gd name="T8" fmla="*/ 131 w 637"/>
                <a:gd name="T9" fmla="*/ 217 h 863"/>
                <a:gd name="T10" fmla="*/ 140 w 637"/>
                <a:gd name="T11" fmla="*/ 244 h 863"/>
                <a:gd name="T12" fmla="*/ 213 w 637"/>
                <a:gd name="T13" fmla="*/ 255 h 863"/>
                <a:gd name="T14" fmla="*/ 280 w 637"/>
                <a:gd name="T15" fmla="*/ 278 h 863"/>
                <a:gd name="T16" fmla="*/ 330 w 637"/>
                <a:gd name="T17" fmla="*/ 284 h 863"/>
                <a:gd name="T18" fmla="*/ 365 w 637"/>
                <a:gd name="T19" fmla="*/ 282 h 863"/>
                <a:gd name="T20" fmla="*/ 219 w 637"/>
                <a:gd name="T21" fmla="*/ 482 h 863"/>
                <a:gd name="T22" fmla="*/ 161 w 637"/>
                <a:gd name="T23" fmla="*/ 480 h 863"/>
                <a:gd name="T24" fmla="*/ 94 w 637"/>
                <a:gd name="T25" fmla="*/ 518 h 863"/>
                <a:gd name="T26" fmla="*/ 56 w 637"/>
                <a:gd name="T27" fmla="*/ 522 h 863"/>
                <a:gd name="T28" fmla="*/ 46 w 637"/>
                <a:gd name="T29" fmla="*/ 535 h 863"/>
                <a:gd name="T30" fmla="*/ 44 w 637"/>
                <a:gd name="T31" fmla="*/ 535 h 863"/>
                <a:gd name="T32" fmla="*/ 44 w 637"/>
                <a:gd name="T33" fmla="*/ 537 h 863"/>
                <a:gd name="T34" fmla="*/ 0 w 637"/>
                <a:gd name="T35" fmla="*/ 604 h 863"/>
                <a:gd name="T36" fmla="*/ 0 w 637"/>
                <a:gd name="T37" fmla="*/ 812 h 863"/>
                <a:gd name="T38" fmla="*/ 39 w 637"/>
                <a:gd name="T39" fmla="*/ 863 h 863"/>
                <a:gd name="T40" fmla="*/ 56 w 637"/>
                <a:gd name="T41" fmla="*/ 842 h 863"/>
                <a:gd name="T42" fmla="*/ 73 w 637"/>
                <a:gd name="T43" fmla="*/ 819 h 863"/>
                <a:gd name="T44" fmla="*/ 64 w 637"/>
                <a:gd name="T45" fmla="*/ 802 h 863"/>
                <a:gd name="T46" fmla="*/ 98 w 637"/>
                <a:gd name="T47" fmla="*/ 796 h 863"/>
                <a:gd name="T48" fmla="*/ 136 w 637"/>
                <a:gd name="T49" fmla="*/ 752 h 863"/>
                <a:gd name="T50" fmla="*/ 156 w 637"/>
                <a:gd name="T51" fmla="*/ 741 h 863"/>
                <a:gd name="T52" fmla="*/ 183 w 637"/>
                <a:gd name="T53" fmla="*/ 714 h 863"/>
                <a:gd name="T54" fmla="*/ 254 w 637"/>
                <a:gd name="T55" fmla="*/ 616 h 863"/>
                <a:gd name="T56" fmla="*/ 271 w 637"/>
                <a:gd name="T57" fmla="*/ 606 h 863"/>
                <a:gd name="T58" fmla="*/ 290 w 637"/>
                <a:gd name="T59" fmla="*/ 583 h 863"/>
                <a:gd name="T60" fmla="*/ 317 w 637"/>
                <a:gd name="T61" fmla="*/ 547 h 863"/>
                <a:gd name="T62" fmla="*/ 396 w 637"/>
                <a:gd name="T63" fmla="*/ 451 h 863"/>
                <a:gd name="T64" fmla="*/ 417 w 637"/>
                <a:gd name="T65" fmla="*/ 445 h 863"/>
                <a:gd name="T66" fmla="*/ 428 w 637"/>
                <a:gd name="T67" fmla="*/ 434 h 863"/>
                <a:gd name="T68" fmla="*/ 424 w 637"/>
                <a:gd name="T69" fmla="*/ 418 h 863"/>
                <a:gd name="T70" fmla="*/ 447 w 637"/>
                <a:gd name="T71" fmla="*/ 376 h 863"/>
                <a:gd name="T72" fmla="*/ 472 w 637"/>
                <a:gd name="T73" fmla="*/ 324 h 863"/>
                <a:gd name="T74" fmla="*/ 472 w 637"/>
                <a:gd name="T75" fmla="*/ 309 h 863"/>
                <a:gd name="T76" fmla="*/ 484 w 637"/>
                <a:gd name="T77" fmla="*/ 294 h 863"/>
                <a:gd name="T78" fmla="*/ 528 w 637"/>
                <a:gd name="T79" fmla="*/ 196 h 863"/>
                <a:gd name="T80" fmla="*/ 578 w 637"/>
                <a:gd name="T81" fmla="*/ 163 h 863"/>
                <a:gd name="T82" fmla="*/ 612 w 637"/>
                <a:gd name="T83" fmla="*/ 75 h 863"/>
                <a:gd name="T84" fmla="*/ 637 w 637"/>
                <a:gd name="T85" fmla="*/ 65 h 863"/>
                <a:gd name="T86" fmla="*/ 603 w 637"/>
                <a:gd name="T87" fmla="*/ 44 h 863"/>
                <a:gd name="T88" fmla="*/ 593 w 637"/>
                <a:gd name="T89" fmla="*/ 0 h 863"/>
                <a:gd name="T90" fmla="*/ 547 w 637"/>
                <a:gd name="T91" fmla="*/ 10 h 863"/>
                <a:gd name="T92" fmla="*/ 528 w 637"/>
                <a:gd name="T93" fmla="*/ 40 h 863"/>
                <a:gd name="T94" fmla="*/ 507 w 637"/>
                <a:gd name="T95" fmla="*/ 39 h 863"/>
                <a:gd name="T96" fmla="*/ 476 w 637"/>
                <a:gd name="T97" fmla="*/ 75 h 863"/>
                <a:gd name="T98" fmla="*/ 455 w 637"/>
                <a:gd name="T99" fmla="*/ 85 h 863"/>
                <a:gd name="T100" fmla="*/ 403 w 637"/>
                <a:gd name="T101" fmla="*/ 75 h 863"/>
                <a:gd name="T102" fmla="*/ 348 w 637"/>
                <a:gd name="T103" fmla="*/ 104 h 863"/>
                <a:gd name="T104" fmla="*/ 307 w 637"/>
                <a:gd name="T105" fmla="*/ 96 h 863"/>
                <a:gd name="T106" fmla="*/ 252 w 637"/>
                <a:gd name="T107" fmla="*/ 108 h 863"/>
                <a:gd name="T108" fmla="*/ 215 w 637"/>
                <a:gd name="T109" fmla="*/ 142 h 863"/>
                <a:gd name="T110" fmla="*/ 152 w 637"/>
                <a:gd name="T111" fmla="*/ 150 h 863"/>
                <a:gd name="T112" fmla="*/ 125 w 637"/>
                <a:gd name="T113" fmla="*/ 138 h 863"/>
                <a:gd name="T114" fmla="*/ 98 w 637"/>
                <a:gd name="T115" fmla="*/ 96 h 863"/>
                <a:gd name="T116" fmla="*/ 81 w 637"/>
                <a:gd name="T117" fmla="*/ 121 h 863"/>
                <a:gd name="T118" fmla="*/ 81 w 637"/>
                <a:gd name="T119" fmla="*/ 125 h 863"/>
                <a:gd name="T120" fmla="*/ 79 w 637"/>
                <a:gd name="T121" fmla="*/ 123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37" h="863">
                  <a:moveTo>
                    <a:pt x="79" y="123"/>
                  </a:moveTo>
                  <a:lnTo>
                    <a:pt x="77" y="136"/>
                  </a:lnTo>
                  <a:lnTo>
                    <a:pt x="79" y="156"/>
                  </a:lnTo>
                  <a:lnTo>
                    <a:pt x="119" y="219"/>
                  </a:lnTo>
                  <a:lnTo>
                    <a:pt x="131" y="217"/>
                  </a:lnTo>
                  <a:lnTo>
                    <a:pt x="140" y="244"/>
                  </a:lnTo>
                  <a:lnTo>
                    <a:pt x="213" y="255"/>
                  </a:lnTo>
                  <a:lnTo>
                    <a:pt x="280" y="278"/>
                  </a:lnTo>
                  <a:lnTo>
                    <a:pt x="330" y="284"/>
                  </a:lnTo>
                  <a:lnTo>
                    <a:pt x="365" y="282"/>
                  </a:lnTo>
                  <a:lnTo>
                    <a:pt x="219" y="482"/>
                  </a:lnTo>
                  <a:lnTo>
                    <a:pt x="161" y="480"/>
                  </a:lnTo>
                  <a:lnTo>
                    <a:pt x="94" y="518"/>
                  </a:lnTo>
                  <a:lnTo>
                    <a:pt x="56" y="522"/>
                  </a:lnTo>
                  <a:lnTo>
                    <a:pt x="46" y="535"/>
                  </a:lnTo>
                  <a:lnTo>
                    <a:pt x="44" y="535"/>
                  </a:lnTo>
                  <a:lnTo>
                    <a:pt x="44" y="537"/>
                  </a:lnTo>
                  <a:lnTo>
                    <a:pt x="0" y="604"/>
                  </a:lnTo>
                  <a:lnTo>
                    <a:pt x="0" y="812"/>
                  </a:lnTo>
                  <a:lnTo>
                    <a:pt x="39" y="863"/>
                  </a:lnTo>
                  <a:lnTo>
                    <a:pt x="56" y="842"/>
                  </a:lnTo>
                  <a:lnTo>
                    <a:pt x="73" y="819"/>
                  </a:lnTo>
                  <a:lnTo>
                    <a:pt x="64" y="802"/>
                  </a:lnTo>
                  <a:lnTo>
                    <a:pt x="98" y="796"/>
                  </a:lnTo>
                  <a:lnTo>
                    <a:pt x="136" y="752"/>
                  </a:lnTo>
                  <a:lnTo>
                    <a:pt x="156" y="741"/>
                  </a:lnTo>
                  <a:lnTo>
                    <a:pt x="183" y="714"/>
                  </a:lnTo>
                  <a:lnTo>
                    <a:pt x="254" y="616"/>
                  </a:lnTo>
                  <a:lnTo>
                    <a:pt x="271" y="606"/>
                  </a:lnTo>
                  <a:lnTo>
                    <a:pt x="290" y="583"/>
                  </a:lnTo>
                  <a:lnTo>
                    <a:pt x="317" y="547"/>
                  </a:lnTo>
                  <a:lnTo>
                    <a:pt x="396" y="451"/>
                  </a:lnTo>
                  <a:lnTo>
                    <a:pt x="417" y="445"/>
                  </a:lnTo>
                  <a:lnTo>
                    <a:pt x="428" y="434"/>
                  </a:lnTo>
                  <a:lnTo>
                    <a:pt x="424" y="418"/>
                  </a:lnTo>
                  <a:lnTo>
                    <a:pt x="447" y="376"/>
                  </a:lnTo>
                  <a:lnTo>
                    <a:pt x="472" y="324"/>
                  </a:lnTo>
                  <a:lnTo>
                    <a:pt x="472" y="309"/>
                  </a:lnTo>
                  <a:lnTo>
                    <a:pt x="484" y="294"/>
                  </a:lnTo>
                  <a:lnTo>
                    <a:pt x="528" y="196"/>
                  </a:lnTo>
                  <a:lnTo>
                    <a:pt x="578" y="163"/>
                  </a:lnTo>
                  <a:lnTo>
                    <a:pt x="612" y="75"/>
                  </a:lnTo>
                  <a:lnTo>
                    <a:pt x="637" y="65"/>
                  </a:lnTo>
                  <a:lnTo>
                    <a:pt x="603" y="44"/>
                  </a:lnTo>
                  <a:lnTo>
                    <a:pt x="593" y="0"/>
                  </a:lnTo>
                  <a:lnTo>
                    <a:pt x="547" y="10"/>
                  </a:lnTo>
                  <a:lnTo>
                    <a:pt x="528" y="40"/>
                  </a:lnTo>
                  <a:lnTo>
                    <a:pt x="507" y="39"/>
                  </a:lnTo>
                  <a:lnTo>
                    <a:pt x="476" y="75"/>
                  </a:lnTo>
                  <a:lnTo>
                    <a:pt x="455" y="85"/>
                  </a:lnTo>
                  <a:lnTo>
                    <a:pt x="403" y="75"/>
                  </a:lnTo>
                  <a:lnTo>
                    <a:pt x="348" y="104"/>
                  </a:lnTo>
                  <a:lnTo>
                    <a:pt x="307" y="96"/>
                  </a:lnTo>
                  <a:lnTo>
                    <a:pt x="252" y="108"/>
                  </a:lnTo>
                  <a:lnTo>
                    <a:pt x="215" y="142"/>
                  </a:lnTo>
                  <a:lnTo>
                    <a:pt x="152" y="150"/>
                  </a:lnTo>
                  <a:lnTo>
                    <a:pt x="125" y="138"/>
                  </a:lnTo>
                  <a:lnTo>
                    <a:pt x="98" y="96"/>
                  </a:lnTo>
                  <a:lnTo>
                    <a:pt x="81" y="121"/>
                  </a:lnTo>
                  <a:lnTo>
                    <a:pt x="81" y="125"/>
                  </a:lnTo>
                  <a:lnTo>
                    <a:pt x="79" y="12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09" name="Freeform 122"/>
            <p:cNvSpPr>
              <a:spLocks noEditPoints="1"/>
            </p:cNvSpPr>
            <p:nvPr/>
          </p:nvSpPr>
          <p:spPr bwMode="auto">
            <a:xfrm rot="127247">
              <a:off x="3235" y="2386"/>
              <a:ext cx="138" cy="197"/>
            </a:xfrm>
            <a:custGeom>
              <a:avLst/>
              <a:gdLst>
                <a:gd name="T0" fmla="*/ 454 w 454"/>
                <a:gd name="T1" fmla="*/ 26 h 541"/>
                <a:gd name="T2" fmla="*/ 454 w 454"/>
                <a:gd name="T3" fmla="*/ 26 h 541"/>
                <a:gd name="T4" fmla="*/ 454 w 454"/>
                <a:gd name="T5" fmla="*/ 26 h 541"/>
                <a:gd name="T6" fmla="*/ 5 w 454"/>
                <a:gd name="T7" fmla="*/ 32 h 541"/>
                <a:gd name="T8" fmla="*/ 26 w 454"/>
                <a:gd name="T9" fmla="*/ 3 h 541"/>
                <a:gd name="T10" fmla="*/ 120 w 454"/>
                <a:gd name="T11" fmla="*/ 0 h 541"/>
                <a:gd name="T12" fmla="*/ 153 w 454"/>
                <a:gd name="T13" fmla="*/ 11 h 541"/>
                <a:gd name="T14" fmla="*/ 168 w 454"/>
                <a:gd name="T15" fmla="*/ 5 h 541"/>
                <a:gd name="T16" fmla="*/ 188 w 454"/>
                <a:gd name="T17" fmla="*/ 17 h 541"/>
                <a:gd name="T18" fmla="*/ 234 w 454"/>
                <a:gd name="T19" fmla="*/ 48 h 541"/>
                <a:gd name="T20" fmla="*/ 322 w 454"/>
                <a:gd name="T21" fmla="*/ 57 h 541"/>
                <a:gd name="T22" fmla="*/ 355 w 454"/>
                <a:gd name="T23" fmla="*/ 30 h 541"/>
                <a:gd name="T24" fmla="*/ 389 w 454"/>
                <a:gd name="T25" fmla="*/ 19 h 541"/>
                <a:gd name="T26" fmla="*/ 412 w 454"/>
                <a:gd name="T27" fmla="*/ 32 h 541"/>
                <a:gd name="T28" fmla="*/ 433 w 454"/>
                <a:gd name="T29" fmla="*/ 26 h 541"/>
                <a:gd name="T30" fmla="*/ 452 w 454"/>
                <a:gd name="T31" fmla="*/ 26 h 541"/>
                <a:gd name="T32" fmla="*/ 452 w 454"/>
                <a:gd name="T33" fmla="*/ 28 h 541"/>
                <a:gd name="T34" fmla="*/ 408 w 454"/>
                <a:gd name="T35" fmla="*/ 95 h 541"/>
                <a:gd name="T36" fmla="*/ 408 w 454"/>
                <a:gd name="T37" fmla="*/ 303 h 541"/>
                <a:gd name="T38" fmla="*/ 445 w 454"/>
                <a:gd name="T39" fmla="*/ 353 h 541"/>
                <a:gd name="T40" fmla="*/ 412 w 454"/>
                <a:gd name="T41" fmla="*/ 368 h 541"/>
                <a:gd name="T42" fmla="*/ 412 w 454"/>
                <a:gd name="T43" fmla="*/ 381 h 541"/>
                <a:gd name="T44" fmla="*/ 395 w 454"/>
                <a:gd name="T45" fmla="*/ 406 h 541"/>
                <a:gd name="T46" fmla="*/ 372 w 454"/>
                <a:gd name="T47" fmla="*/ 406 h 541"/>
                <a:gd name="T48" fmla="*/ 349 w 454"/>
                <a:gd name="T49" fmla="*/ 418 h 541"/>
                <a:gd name="T50" fmla="*/ 358 w 454"/>
                <a:gd name="T51" fmla="*/ 437 h 541"/>
                <a:gd name="T52" fmla="*/ 349 w 454"/>
                <a:gd name="T53" fmla="*/ 485 h 541"/>
                <a:gd name="T54" fmla="*/ 332 w 454"/>
                <a:gd name="T55" fmla="*/ 502 h 541"/>
                <a:gd name="T56" fmla="*/ 318 w 454"/>
                <a:gd name="T57" fmla="*/ 533 h 541"/>
                <a:gd name="T58" fmla="*/ 301 w 454"/>
                <a:gd name="T59" fmla="*/ 541 h 541"/>
                <a:gd name="T60" fmla="*/ 293 w 454"/>
                <a:gd name="T61" fmla="*/ 527 h 541"/>
                <a:gd name="T62" fmla="*/ 222 w 454"/>
                <a:gd name="T63" fmla="*/ 483 h 541"/>
                <a:gd name="T64" fmla="*/ 213 w 454"/>
                <a:gd name="T65" fmla="*/ 462 h 541"/>
                <a:gd name="T66" fmla="*/ 218 w 454"/>
                <a:gd name="T67" fmla="*/ 450 h 541"/>
                <a:gd name="T68" fmla="*/ 209 w 454"/>
                <a:gd name="T69" fmla="*/ 435 h 541"/>
                <a:gd name="T70" fmla="*/ 5 w 454"/>
                <a:gd name="T71" fmla="*/ 324 h 541"/>
                <a:gd name="T72" fmla="*/ 7 w 454"/>
                <a:gd name="T73" fmla="*/ 278 h 541"/>
                <a:gd name="T74" fmla="*/ 0 w 454"/>
                <a:gd name="T75" fmla="*/ 260 h 541"/>
                <a:gd name="T76" fmla="*/ 23 w 454"/>
                <a:gd name="T77" fmla="*/ 230 h 541"/>
                <a:gd name="T78" fmla="*/ 42 w 454"/>
                <a:gd name="T79" fmla="*/ 191 h 541"/>
                <a:gd name="T80" fmla="*/ 65 w 454"/>
                <a:gd name="T81" fmla="*/ 176 h 541"/>
                <a:gd name="T82" fmla="*/ 65 w 454"/>
                <a:gd name="T83" fmla="*/ 134 h 541"/>
                <a:gd name="T84" fmla="*/ 59 w 454"/>
                <a:gd name="T85" fmla="*/ 109 h 541"/>
                <a:gd name="T86" fmla="*/ 40 w 454"/>
                <a:gd name="T87" fmla="*/ 90 h 541"/>
                <a:gd name="T88" fmla="*/ 34 w 454"/>
                <a:gd name="T89" fmla="*/ 55 h 541"/>
                <a:gd name="T90" fmla="*/ 5 w 454"/>
                <a:gd name="T91" fmla="*/ 32 h 541"/>
                <a:gd name="T92" fmla="*/ 122 w 454"/>
                <a:gd name="T93" fmla="*/ 0 h 541"/>
                <a:gd name="T94" fmla="*/ 120 w 454"/>
                <a:gd name="T95" fmla="*/ 0 h 541"/>
                <a:gd name="T96" fmla="*/ 122 w 454"/>
                <a:gd name="T97" fmla="*/ 0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4" h="541">
                  <a:moveTo>
                    <a:pt x="454" y="26"/>
                  </a:moveTo>
                  <a:lnTo>
                    <a:pt x="454" y="26"/>
                  </a:lnTo>
                  <a:lnTo>
                    <a:pt x="454" y="26"/>
                  </a:lnTo>
                  <a:close/>
                  <a:moveTo>
                    <a:pt x="5" y="32"/>
                  </a:moveTo>
                  <a:lnTo>
                    <a:pt x="26" y="3"/>
                  </a:lnTo>
                  <a:lnTo>
                    <a:pt x="120" y="0"/>
                  </a:lnTo>
                  <a:lnTo>
                    <a:pt x="153" y="11"/>
                  </a:lnTo>
                  <a:lnTo>
                    <a:pt x="168" y="5"/>
                  </a:lnTo>
                  <a:lnTo>
                    <a:pt x="188" y="17"/>
                  </a:lnTo>
                  <a:lnTo>
                    <a:pt x="234" y="48"/>
                  </a:lnTo>
                  <a:lnTo>
                    <a:pt x="322" y="57"/>
                  </a:lnTo>
                  <a:lnTo>
                    <a:pt x="355" y="30"/>
                  </a:lnTo>
                  <a:lnTo>
                    <a:pt x="389" y="19"/>
                  </a:lnTo>
                  <a:lnTo>
                    <a:pt x="412" y="32"/>
                  </a:lnTo>
                  <a:lnTo>
                    <a:pt x="433" y="26"/>
                  </a:lnTo>
                  <a:lnTo>
                    <a:pt x="452" y="26"/>
                  </a:lnTo>
                  <a:lnTo>
                    <a:pt x="452" y="28"/>
                  </a:lnTo>
                  <a:lnTo>
                    <a:pt x="408" y="95"/>
                  </a:lnTo>
                  <a:lnTo>
                    <a:pt x="408" y="303"/>
                  </a:lnTo>
                  <a:lnTo>
                    <a:pt x="445" y="353"/>
                  </a:lnTo>
                  <a:lnTo>
                    <a:pt x="412" y="368"/>
                  </a:lnTo>
                  <a:lnTo>
                    <a:pt x="412" y="381"/>
                  </a:lnTo>
                  <a:lnTo>
                    <a:pt x="395" y="406"/>
                  </a:lnTo>
                  <a:lnTo>
                    <a:pt x="372" y="406"/>
                  </a:lnTo>
                  <a:lnTo>
                    <a:pt x="349" y="418"/>
                  </a:lnTo>
                  <a:lnTo>
                    <a:pt x="358" y="437"/>
                  </a:lnTo>
                  <a:lnTo>
                    <a:pt x="349" y="485"/>
                  </a:lnTo>
                  <a:lnTo>
                    <a:pt x="332" y="502"/>
                  </a:lnTo>
                  <a:lnTo>
                    <a:pt x="318" y="533"/>
                  </a:lnTo>
                  <a:lnTo>
                    <a:pt x="301" y="541"/>
                  </a:lnTo>
                  <a:lnTo>
                    <a:pt x="293" y="527"/>
                  </a:lnTo>
                  <a:lnTo>
                    <a:pt x="222" y="483"/>
                  </a:lnTo>
                  <a:lnTo>
                    <a:pt x="213" y="462"/>
                  </a:lnTo>
                  <a:lnTo>
                    <a:pt x="218" y="450"/>
                  </a:lnTo>
                  <a:lnTo>
                    <a:pt x="209" y="435"/>
                  </a:lnTo>
                  <a:lnTo>
                    <a:pt x="5" y="324"/>
                  </a:lnTo>
                  <a:lnTo>
                    <a:pt x="7" y="278"/>
                  </a:lnTo>
                  <a:lnTo>
                    <a:pt x="0" y="260"/>
                  </a:lnTo>
                  <a:lnTo>
                    <a:pt x="23" y="230"/>
                  </a:lnTo>
                  <a:lnTo>
                    <a:pt x="42" y="191"/>
                  </a:lnTo>
                  <a:lnTo>
                    <a:pt x="65" y="176"/>
                  </a:lnTo>
                  <a:lnTo>
                    <a:pt x="65" y="134"/>
                  </a:lnTo>
                  <a:lnTo>
                    <a:pt x="59" y="109"/>
                  </a:lnTo>
                  <a:lnTo>
                    <a:pt x="40" y="90"/>
                  </a:lnTo>
                  <a:lnTo>
                    <a:pt x="34" y="55"/>
                  </a:lnTo>
                  <a:lnTo>
                    <a:pt x="5" y="32"/>
                  </a:lnTo>
                  <a:close/>
                  <a:moveTo>
                    <a:pt x="122" y="0"/>
                  </a:moveTo>
                  <a:lnTo>
                    <a:pt x="120" y="0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0" name="Freeform 123"/>
            <p:cNvSpPr>
              <a:spLocks/>
            </p:cNvSpPr>
            <p:nvPr/>
          </p:nvSpPr>
          <p:spPr bwMode="auto">
            <a:xfrm rot="127247">
              <a:off x="3154" y="2501"/>
              <a:ext cx="183" cy="227"/>
            </a:xfrm>
            <a:custGeom>
              <a:avLst/>
              <a:gdLst>
                <a:gd name="T0" fmla="*/ 253 w 597"/>
                <a:gd name="T1" fmla="*/ 0 h 621"/>
                <a:gd name="T2" fmla="*/ 69 w 597"/>
                <a:gd name="T3" fmla="*/ 2 h 621"/>
                <a:gd name="T4" fmla="*/ 60 w 597"/>
                <a:gd name="T5" fmla="*/ 9 h 621"/>
                <a:gd name="T6" fmla="*/ 84 w 597"/>
                <a:gd name="T7" fmla="*/ 36 h 621"/>
                <a:gd name="T8" fmla="*/ 77 w 597"/>
                <a:gd name="T9" fmla="*/ 92 h 621"/>
                <a:gd name="T10" fmla="*/ 31 w 597"/>
                <a:gd name="T11" fmla="*/ 94 h 621"/>
                <a:gd name="T12" fmla="*/ 29 w 597"/>
                <a:gd name="T13" fmla="*/ 109 h 621"/>
                <a:gd name="T14" fmla="*/ 61 w 597"/>
                <a:gd name="T15" fmla="*/ 100 h 621"/>
                <a:gd name="T16" fmla="*/ 61 w 597"/>
                <a:gd name="T17" fmla="*/ 109 h 621"/>
                <a:gd name="T18" fmla="*/ 86 w 597"/>
                <a:gd name="T19" fmla="*/ 130 h 621"/>
                <a:gd name="T20" fmla="*/ 86 w 597"/>
                <a:gd name="T21" fmla="*/ 144 h 621"/>
                <a:gd name="T22" fmla="*/ 71 w 597"/>
                <a:gd name="T23" fmla="*/ 155 h 621"/>
                <a:gd name="T24" fmla="*/ 46 w 597"/>
                <a:gd name="T25" fmla="*/ 186 h 621"/>
                <a:gd name="T26" fmla="*/ 25 w 597"/>
                <a:gd name="T27" fmla="*/ 207 h 621"/>
                <a:gd name="T28" fmla="*/ 0 w 597"/>
                <a:gd name="T29" fmla="*/ 205 h 621"/>
                <a:gd name="T30" fmla="*/ 2 w 597"/>
                <a:gd name="T31" fmla="*/ 241 h 621"/>
                <a:gd name="T32" fmla="*/ 12 w 597"/>
                <a:gd name="T33" fmla="*/ 280 h 621"/>
                <a:gd name="T34" fmla="*/ 6 w 597"/>
                <a:gd name="T35" fmla="*/ 291 h 621"/>
                <a:gd name="T36" fmla="*/ 12 w 597"/>
                <a:gd name="T37" fmla="*/ 322 h 621"/>
                <a:gd name="T38" fmla="*/ 42 w 597"/>
                <a:gd name="T39" fmla="*/ 345 h 621"/>
                <a:gd name="T40" fmla="*/ 84 w 597"/>
                <a:gd name="T41" fmla="*/ 447 h 621"/>
                <a:gd name="T42" fmla="*/ 113 w 597"/>
                <a:gd name="T43" fmla="*/ 445 h 621"/>
                <a:gd name="T44" fmla="*/ 115 w 597"/>
                <a:gd name="T45" fmla="*/ 454 h 621"/>
                <a:gd name="T46" fmla="*/ 146 w 597"/>
                <a:gd name="T47" fmla="*/ 468 h 621"/>
                <a:gd name="T48" fmla="*/ 159 w 597"/>
                <a:gd name="T49" fmla="*/ 466 h 621"/>
                <a:gd name="T50" fmla="*/ 209 w 597"/>
                <a:gd name="T51" fmla="*/ 493 h 621"/>
                <a:gd name="T52" fmla="*/ 248 w 597"/>
                <a:gd name="T53" fmla="*/ 506 h 621"/>
                <a:gd name="T54" fmla="*/ 261 w 597"/>
                <a:gd name="T55" fmla="*/ 491 h 621"/>
                <a:gd name="T56" fmla="*/ 274 w 597"/>
                <a:gd name="T57" fmla="*/ 510 h 621"/>
                <a:gd name="T58" fmla="*/ 288 w 597"/>
                <a:gd name="T59" fmla="*/ 570 h 621"/>
                <a:gd name="T60" fmla="*/ 278 w 597"/>
                <a:gd name="T61" fmla="*/ 585 h 621"/>
                <a:gd name="T62" fmla="*/ 297 w 597"/>
                <a:gd name="T63" fmla="*/ 612 h 621"/>
                <a:gd name="T64" fmla="*/ 363 w 597"/>
                <a:gd name="T65" fmla="*/ 606 h 621"/>
                <a:gd name="T66" fmla="*/ 376 w 597"/>
                <a:gd name="T67" fmla="*/ 621 h 621"/>
                <a:gd name="T68" fmla="*/ 418 w 597"/>
                <a:gd name="T69" fmla="*/ 610 h 621"/>
                <a:gd name="T70" fmla="*/ 449 w 597"/>
                <a:gd name="T71" fmla="*/ 616 h 621"/>
                <a:gd name="T72" fmla="*/ 470 w 597"/>
                <a:gd name="T73" fmla="*/ 593 h 621"/>
                <a:gd name="T74" fmla="*/ 505 w 597"/>
                <a:gd name="T75" fmla="*/ 600 h 621"/>
                <a:gd name="T76" fmla="*/ 524 w 597"/>
                <a:gd name="T77" fmla="*/ 587 h 621"/>
                <a:gd name="T78" fmla="*/ 578 w 597"/>
                <a:gd name="T79" fmla="*/ 571 h 621"/>
                <a:gd name="T80" fmla="*/ 597 w 597"/>
                <a:gd name="T81" fmla="*/ 545 h 621"/>
                <a:gd name="T82" fmla="*/ 578 w 597"/>
                <a:gd name="T83" fmla="*/ 525 h 621"/>
                <a:gd name="T84" fmla="*/ 555 w 597"/>
                <a:gd name="T85" fmla="*/ 430 h 621"/>
                <a:gd name="T86" fmla="*/ 560 w 597"/>
                <a:gd name="T87" fmla="*/ 406 h 621"/>
                <a:gd name="T88" fmla="*/ 551 w 597"/>
                <a:gd name="T89" fmla="*/ 391 h 621"/>
                <a:gd name="T90" fmla="*/ 562 w 597"/>
                <a:gd name="T91" fmla="*/ 345 h 621"/>
                <a:gd name="T92" fmla="*/ 543 w 597"/>
                <a:gd name="T93" fmla="*/ 322 h 621"/>
                <a:gd name="T94" fmla="*/ 526 w 597"/>
                <a:gd name="T95" fmla="*/ 305 h 621"/>
                <a:gd name="T96" fmla="*/ 541 w 597"/>
                <a:gd name="T97" fmla="*/ 249 h 621"/>
                <a:gd name="T98" fmla="*/ 555 w 597"/>
                <a:gd name="T99" fmla="*/ 234 h 621"/>
                <a:gd name="T100" fmla="*/ 551 w 597"/>
                <a:gd name="T101" fmla="*/ 215 h 621"/>
                <a:gd name="T102" fmla="*/ 549 w 597"/>
                <a:gd name="T103" fmla="*/ 217 h 621"/>
                <a:gd name="T104" fmla="*/ 541 w 597"/>
                <a:gd name="T105" fmla="*/ 203 h 621"/>
                <a:gd name="T106" fmla="*/ 470 w 597"/>
                <a:gd name="T107" fmla="*/ 159 h 621"/>
                <a:gd name="T108" fmla="*/ 461 w 597"/>
                <a:gd name="T109" fmla="*/ 138 h 621"/>
                <a:gd name="T110" fmla="*/ 466 w 597"/>
                <a:gd name="T111" fmla="*/ 126 h 621"/>
                <a:gd name="T112" fmla="*/ 457 w 597"/>
                <a:gd name="T113" fmla="*/ 111 h 621"/>
                <a:gd name="T114" fmla="*/ 253 w 597"/>
                <a:gd name="T115" fmla="*/ 0 h 6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97" h="621">
                  <a:moveTo>
                    <a:pt x="253" y="0"/>
                  </a:moveTo>
                  <a:lnTo>
                    <a:pt x="69" y="2"/>
                  </a:lnTo>
                  <a:lnTo>
                    <a:pt x="60" y="9"/>
                  </a:lnTo>
                  <a:lnTo>
                    <a:pt x="84" y="36"/>
                  </a:lnTo>
                  <a:lnTo>
                    <a:pt x="77" y="92"/>
                  </a:lnTo>
                  <a:lnTo>
                    <a:pt x="31" y="94"/>
                  </a:lnTo>
                  <a:lnTo>
                    <a:pt x="29" y="109"/>
                  </a:lnTo>
                  <a:lnTo>
                    <a:pt x="61" y="100"/>
                  </a:lnTo>
                  <a:lnTo>
                    <a:pt x="61" y="109"/>
                  </a:lnTo>
                  <a:lnTo>
                    <a:pt x="86" y="130"/>
                  </a:lnTo>
                  <a:lnTo>
                    <a:pt x="86" y="144"/>
                  </a:lnTo>
                  <a:lnTo>
                    <a:pt x="71" y="155"/>
                  </a:lnTo>
                  <a:lnTo>
                    <a:pt x="46" y="186"/>
                  </a:lnTo>
                  <a:lnTo>
                    <a:pt x="25" y="207"/>
                  </a:lnTo>
                  <a:lnTo>
                    <a:pt x="0" y="205"/>
                  </a:lnTo>
                  <a:lnTo>
                    <a:pt x="2" y="241"/>
                  </a:lnTo>
                  <a:lnTo>
                    <a:pt x="12" y="280"/>
                  </a:lnTo>
                  <a:lnTo>
                    <a:pt x="6" y="291"/>
                  </a:lnTo>
                  <a:lnTo>
                    <a:pt x="12" y="322"/>
                  </a:lnTo>
                  <a:lnTo>
                    <a:pt x="42" y="345"/>
                  </a:lnTo>
                  <a:lnTo>
                    <a:pt x="84" y="447"/>
                  </a:lnTo>
                  <a:lnTo>
                    <a:pt x="113" y="445"/>
                  </a:lnTo>
                  <a:lnTo>
                    <a:pt x="115" y="454"/>
                  </a:lnTo>
                  <a:lnTo>
                    <a:pt x="146" y="468"/>
                  </a:lnTo>
                  <a:lnTo>
                    <a:pt x="159" y="466"/>
                  </a:lnTo>
                  <a:lnTo>
                    <a:pt x="209" y="493"/>
                  </a:lnTo>
                  <a:lnTo>
                    <a:pt x="248" y="506"/>
                  </a:lnTo>
                  <a:lnTo>
                    <a:pt x="261" y="491"/>
                  </a:lnTo>
                  <a:lnTo>
                    <a:pt x="274" y="510"/>
                  </a:lnTo>
                  <a:lnTo>
                    <a:pt x="288" y="570"/>
                  </a:lnTo>
                  <a:lnTo>
                    <a:pt x="278" y="585"/>
                  </a:lnTo>
                  <a:lnTo>
                    <a:pt x="297" y="612"/>
                  </a:lnTo>
                  <a:lnTo>
                    <a:pt x="363" y="606"/>
                  </a:lnTo>
                  <a:lnTo>
                    <a:pt x="376" y="621"/>
                  </a:lnTo>
                  <a:lnTo>
                    <a:pt x="418" y="610"/>
                  </a:lnTo>
                  <a:lnTo>
                    <a:pt x="449" y="616"/>
                  </a:lnTo>
                  <a:lnTo>
                    <a:pt x="470" y="593"/>
                  </a:lnTo>
                  <a:lnTo>
                    <a:pt x="505" y="600"/>
                  </a:lnTo>
                  <a:lnTo>
                    <a:pt x="524" y="587"/>
                  </a:lnTo>
                  <a:lnTo>
                    <a:pt x="578" y="571"/>
                  </a:lnTo>
                  <a:lnTo>
                    <a:pt x="597" y="545"/>
                  </a:lnTo>
                  <a:lnTo>
                    <a:pt x="578" y="525"/>
                  </a:lnTo>
                  <a:lnTo>
                    <a:pt x="555" y="430"/>
                  </a:lnTo>
                  <a:lnTo>
                    <a:pt x="560" y="406"/>
                  </a:lnTo>
                  <a:lnTo>
                    <a:pt x="551" y="391"/>
                  </a:lnTo>
                  <a:lnTo>
                    <a:pt x="562" y="345"/>
                  </a:lnTo>
                  <a:lnTo>
                    <a:pt x="543" y="322"/>
                  </a:lnTo>
                  <a:lnTo>
                    <a:pt x="526" y="305"/>
                  </a:lnTo>
                  <a:lnTo>
                    <a:pt x="541" y="249"/>
                  </a:lnTo>
                  <a:lnTo>
                    <a:pt x="555" y="234"/>
                  </a:lnTo>
                  <a:lnTo>
                    <a:pt x="551" y="215"/>
                  </a:lnTo>
                  <a:lnTo>
                    <a:pt x="549" y="217"/>
                  </a:lnTo>
                  <a:lnTo>
                    <a:pt x="541" y="203"/>
                  </a:lnTo>
                  <a:lnTo>
                    <a:pt x="470" y="159"/>
                  </a:lnTo>
                  <a:lnTo>
                    <a:pt x="461" y="138"/>
                  </a:lnTo>
                  <a:lnTo>
                    <a:pt x="466" y="126"/>
                  </a:lnTo>
                  <a:lnTo>
                    <a:pt x="457" y="111"/>
                  </a:lnTo>
                  <a:lnTo>
                    <a:pt x="253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1" name="Freeform 124"/>
            <p:cNvSpPr>
              <a:spLocks/>
            </p:cNvSpPr>
            <p:nvPr/>
          </p:nvSpPr>
          <p:spPr bwMode="auto">
            <a:xfrm rot="127247">
              <a:off x="3151" y="2701"/>
              <a:ext cx="184" cy="342"/>
            </a:xfrm>
            <a:custGeom>
              <a:avLst/>
              <a:gdLst>
                <a:gd name="T0" fmla="*/ 276 w 605"/>
                <a:gd name="T1" fmla="*/ 67 h 943"/>
                <a:gd name="T2" fmla="*/ 355 w 605"/>
                <a:gd name="T3" fmla="*/ 76 h 943"/>
                <a:gd name="T4" fmla="*/ 428 w 605"/>
                <a:gd name="T5" fmla="*/ 71 h 943"/>
                <a:gd name="T6" fmla="*/ 484 w 605"/>
                <a:gd name="T7" fmla="*/ 55 h 943"/>
                <a:gd name="T8" fmla="*/ 557 w 605"/>
                <a:gd name="T9" fmla="*/ 26 h 943"/>
                <a:gd name="T10" fmla="*/ 605 w 605"/>
                <a:gd name="T11" fmla="*/ 9 h 943"/>
                <a:gd name="T12" fmla="*/ 587 w 605"/>
                <a:gd name="T13" fmla="*/ 142 h 943"/>
                <a:gd name="T14" fmla="*/ 589 w 605"/>
                <a:gd name="T15" fmla="*/ 259 h 943"/>
                <a:gd name="T16" fmla="*/ 537 w 605"/>
                <a:gd name="T17" fmla="*/ 335 h 943"/>
                <a:gd name="T18" fmla="*/ 526 w 605"/>
                <a:gd name="T19" fmla="*/ 351 h 943"/>
                <a:gd name="T20" fmla="*/ 501 w 605"/>
                <a:gd name="T21" fmla="*/ 356 h 943"/>
                <a:gd name="T22" fmla="*/ 428 w 605"/>
                <a:gd name="T23" fmla="*/ 399 h 943"/>
                <a:gd name="T24" fmla="*/ 365 w 605"/>
                <a:gd name="T25" fmla="*/ 445 h 943"/>
                <a:gd name="T26" fmla="*/ 303 w 605"/>
                <a:gd name="T27" fmla="*/ 514 h 943"/>
                <a:gd name="T28" fmla="*/ 248 w 605"/>
                <a:gd name="T29" fmla="*/ 564 h 943"/>
                <a:gd name="T30" fmla="*/ 257 w 605"/>
                <a:gd name="T31" fmla="*/ 610 h 943"/>
                <a:gd name="T32" fmla="*/ 267 w 605"/>
                <a:gd name="T33" fmla="*/ 683 h 943"/>
                <a:gd name="T34" fmla="*/ 269 w 605"/>
                <a:gd name="T35" fmla="*/ 727 h 943"/>
                <a:gd name="T36" fmla="*/ 246 w 605"/>
                <a:gd name="T37" fmla="*/ 807 h 943"/>
                <a:gd name="T38" fmla="*/ 113 w 605"/>
                <a:gd name="T39" fmla="*/ 876 h 943"/>
                <a:gd name="T40" fmla="*/ 104 w 605"/>
                <a:gd name="T41" fmla="*/ 943 h 943"/>
                <a:gd name="T42" fmla="*/ 65 w 605"/>
                <a:gd name="T43" fmla="*/ 943 h 943"/>
                <a:gd name="T44" fmla="*/ 60 w 605"/>
                <a:gd name="T45" fmla="*/ 920 h 943"/>
                <a:gd name="T46" fmla="*/ 65 w 605"/>
                <a:gd name="T47" fmla="*/ 832 h 943"/>
                <a:gd name="T48" fmla="*/ 58 w 605"/>
                <a:gd name="T49" fmla="*/ 723 h 943"/>
                <a:gd name="T50" fmla="*/ 42 w 605"/>
                <a:gd name="T51" fmla="*/ 683 h 943"/>
                <a:gd name="T52" fmla="*/ 102 w 605"/>
                <a:gd name="T53" fmla="*/ 621 h 943"/>
                <a:gd name="T54" fmla="*/ 125 w 605"/>
                <a:gd name="T55" fmla="*/ 575 h 943"/>
                <a:gd name="T56" fmla="*/ 129 w 605"/>
                <a:gd name="T57" fmla="*/ 487 h 943"/>
                <a:gd name="T58" fmla="*/ 144 w 605"/>
                <a:gd name="T59" fmla="*/ 433 h 943"/>
                <a:gd name="T60" fmla="*/ 148 w 605"/>
                <a:gd name="T61" fmla="*/ 383 h 943"/>
                <a:gd name="T62" fmla="*/ 146 w 605"/>
                <a:gd name="T63" fmla="*/ 360 h 943"/>
                <a:gd name="T64" fmla="*/ 65 w 605"/>
                <a:gd name="T65" fmla="*/ 337 h 943"/>
                <a:gd name="T66" fmla="*/ 2 w 605"/>
                <a:gd name="T67" fmla="*/ 320 h 943"/>
                <a:gd name="T68" fmla="*/ 0 w 605"/>
                <a:gd name="T69" fmla="*/ 261 h 943"/>
                <a:gd name="T70" fmla="*/ 205 w 605"/>
                <a:gd name="T71" fmla="*/ 249 h 943"/>
                <a:gd name="T72" fmla="*/ 259 w 605"/>
                <a:gd name="T73" fmla="*/ 247 h 943"/>
                <a:gd name="T74" fmla="*/ 236 w 605"/>
                <a:gd name="T75" fmla="*/ 305 h 943"/>
                <a:gd name="T76" fmla="*/ 280 w 605"/>
                <a:gd name="T77" fmla="*/ 316 h 943"/>
                <a:gd name="T78" fmla="*/ 313 w 605"/>
                <a:gd name="T79" fmla="*/ 285 h 943"/>
                <a:gd name="T80" fmla="*/ 309 w 605"/>
                <a:gd name="T81" fmla="*/ 243 h 943"/>
                <a:gd name="T82" fmla="*/ 257 w 605"/>
                <a:gd name="T83" fmla="*/ 119 h 943"/>
                <a:gd name="T84" fmla="*/ 248 w 605"/>
                <a:gd name="T85" fmla="*/ 9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5" h="943">
                  <a:moveTo>
                    <a:pt x="275" y="65"/>
                  </a:moveTo>
                  <a:lnTo>
                    <a:pt x="276" y="67"/>
                  </a:lnTo>
                  <a:lnTo>
                    <a:pt x="342" y="61"/>
                  </a:lnTo>
                  <a:lnTo>
                    <a:pt x="355" y="76"/>
                  </a:lnTo>
                  <a:lnTo>
                    <a:pt x="397" y="65"/>
                  </a:lnTo>
                  <a:lnTo>
                    <a:pt x="428" y="71"/>
                  </a:lnTo>
                  <a:lnTo>
                    <a:pt x="449" y="48"/>
                  </a:lnTo>
                  <a:lnTo>
                    <a:pt x="484" y="55"/>
                  </a:lnTo>
                  <a:lnTo>
                    <a:pt x="503" y="42"/>
                  </a:lnTo>
                  <a:lnTo>
                    <a:pt x="557" y="26"/>
                  </a:lnTo>
                  <a:lnTo>
                    <a:pt x="576" y="0"/>
                  </a:lnTo>
                  <a:lnTo>
                    <a:pt x="605" y="9"/>
                  </a:lnTo>
                  <a:lnTo>
                    <a:pt x="597" y="140"/>
                  </a:lnTo>
                  <a:lnTo>
                    <a:pt x="587" y="142"/>
                  </a:lnTo>
                  <a:lnTo>
                    <a:pt x="605" y="259"/>
                  </a:lnTo>
                  <a:lnTo>
                    <a:pt x="589" y="259"/>
                  </a:lnTo>
                  <a:lnTo>
                    <a:pt x="572" y="316"/>
                  </a:lnTo>
                  <a:lnTo>
                    <a:pt x="537" y="335"/>
                  </a:lnTo>
                  <a:lnTo>
                    <a:pt x="539" y="347"/>
                  </a:lnTo>
                  <a:lnTo>
                    <a:pt x="526" y="351"/>
                  </a:lnTo>
                  <a:lnTo>
                    <a:pt x="512" y="364"/>
                  </a:lnTo>
                  <a:lnTo>
                    <a:pt x="501" y="356"/>
                  </a:lnTo>
                  <a:lnTo>
                    <a:pt x="466" y="387"/>
                  </a:lnTo>
                  <a:lnTo>
                    <a:pt x="428" y="399"/>
                  </a:lnTo>
                  <a:lnTo>
                    <a:pt x="384" y="437"/>
                  </a:lnTo>
                  <a:lnTo>
                    <a:pt x="365" y="445"/>
                  </a:lnTo>
                  <a:lnTo>
                    <a:pt x="294" y="504"/>
                  </a:lnTo>
                  <a:lnTo>
                    <a:pt x="303" y="514"/>
                  </a:lnTo>
                  <a:lnTo>
                    <a:pt x="261" y="541"/>
                  </a:lnTo>
                  <a:lnTo>
                    <a:pt x="248" y="564"/>
                  </a:lnTo>
                  <a:lnTo>
                    <a:pt x="257" y="579"/>
                  </a:lnTo>
                  <a:lnTo>
                    <a:pt x="257" y="610"/>
                  </a:lnTo>
                  <a:lnTo>
                    <a:pt x="267" y="610"/>
                  </a:lnTo>
                  <a:lnTo>
                    <a:pt x="267" y="683"/>
                  </a:lnTo>
                  <a:lnTo>
                    <a:pt x="286" y="677"/>
                  </a:lnTo>
                  <a:lnTo>
                    <a:pt x="269" y="727"/>
                  </a:lnTo>
                  <a:lnTo>
                    <a:pt x="269" y="767"/>
                  </a:lnTo>
                  <a:lnTo>
                    <a:pt x="246" y="807"/>
                  </a:lnTo>
                  <a:lnTo>
                    <a:pt x="111" y="859"/>
                  </a:lnTo>
                  <a:lnTo>
                    <a:pt x="113" y="876"/>
                  </a:lnTo>
                  <a:lnTo>
                    <a:pt x="121" y="901"/>
                  </a:lnTo>
                  <a:lnTo>
                    <a:pt x="104" y="943"/>
                  </a:lnTo>
                  <a:lnTo>
                    <a:pt x="83" y="936"/>
                  </a:lnTo>
                  <a:lnTo>
                    <a:pt x="65" y="943"/>
                  </a:lnTo>
                  <a:lnTo>
                    <a:pt x="50" y="932"/>
                  </a:lnTo>
                  <a:lnTo>
                    <a:pt x="60" y="920"/>
                  </a:lnTo>
                  <a:lnTo>
                    <a:pt x="56" y="873"/>
                  </a:lnTo>
                  <a:lnTo>
                    <a:pt x="65" y="832"/>
                  </a:lnTo>
                  <a:lnTo>
                    <a:pt x="79" y="828"/>
                  </a:lnTo>
                  <a:lnTo>
                    <a:pt x="58" y="723"/>
                  </a:lnTo>
                  <a:lnTo>
                    <a:pt x="60" y="702"/>
                  </a:lnTo>
                  <a:lnTo>
                    <a:pt x="42" y="683"/>
                  </a:lnTo>
                  <a:lnTo>
                    <a:pt x="63" y="652"/>
                  </a:lnTo>
                  <a:lnTo>
                    <a:pt x="102" y="621"/>
                  </a:lnTo>
                  <a:lnTo>
                    <a:pt x="108" y="585"/>
                  </a:lnTo>
                  <a:lnTo>
                    <a:pt x="125" y="575"/>
                  </a:lnTo>
                  <a:lnTo>
                    <a:pt x="142" y="543"/>
                  </a:lnTo>
                  <a:lnTo>
                    <a:pt x="129" y="487"/>
                  </a:lnTo>
                  <a:lnTo>
                    <a:pt x="152" y="447"/>
                  </a:lnTo>
                  <a:lnTo>
                    <a:pt x="144" y="433"/>
                  </a:lnTo>
                  <a:lnTo>
                    <a:pt x="150" y="418"/>
                  </a:lnTo>
                  <a:lnTo>
                    <a:pt x="148" y="383"/>
                  </a:lnTo>
                  <a:lnTo>
                    <a:pt x="138" y="376"/>
                  </a:lnTo>
                  <a:lnTo>
                    <a:pt x="146" y="360"/>
                  </a:lnTo>
                  <a:lnTo>
                    <a:pt x="94" y="341"/>
                  </a:lnTo>
                  <a:lnTo>
                    <a:pt x="65" y="337"/>
                  </a:lnTo>
                  <a:lnTo>
                    <a:pt x="63" y="326"/>
                  </a:lnTo>
                  <a:lnTo>
                    <a:pt x="2" y="320"/>
                  </a:lnTo>
                  <a:lnTo>
                    <a:pt x="10" y="284"/>
                  </a:lnTo>
                  <a:lnTo>
                    <a:pt x="0" y="261"/>
                  </a:lnTo>
                  <a:lnTo>
                    <a:pt x="165" y="207"/>
                  </a:lnTo>
                  <a:lnTo>
                    <a:pt x="205" y="249"/>
                  </a:lnTo>
                  <a:lnTo>
                    <a:pt x="240" y="243"/>
                  </a:lnTo>
                  <a:lnTo>
                    <a:pt x="259" y="247"/>
                  </a:lnTo>
                  <a:lnTo>
                    <a:pt x="248" y="299"/>
                  </a:lnTo>
                  <a:lnTo>
                    <a:pt x="236" y="305"/>
                  </a:lnTo>
                  <a:lnTo>
                    <a:pt x="265" y="368"/>
                  </a:lnTo>
                  <a:lnTo>
                    <a:pt x="280" y="316"/>
                  </a:lnTo>
                  <a:lnTo>
                    <a:pt x="305" y="318"/>
                  </a:lnTo>
                  <a:lnTo>
                    <a:pt x="313" y="285"/>
                  </a:lnTo>
                  <a:lnTo>
                    <a:pt x="303" y="272"/>
                  </a:lnTo>
                  <a:lnTo>
                    <a:pt x="309" y="243"/>
                  </a:lnTo>
                  <a:lnTo>
                    <a:pt x="257" y="178"/>
                  </a:lnTo>
                  <a:lnTo>
                    <a:pt x="257" y="119"/>
                  </a:lnTo>
                  <a:lnTo>
                    <a:pt x="248" y="107"/>
                  </a:lnTo>
                  <a:lnTo>
                    <a:pt x="248" y="90"/>
                  </a:lnTo>
                  <a:lnTo>
                    <a:pt x="275" y="6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2" name="Freeform 125"/>
            <p:cNvSpPr>
              <a:spLocks/>
            </p:cNvSpPr>
            <p:nvPr/>
          </p:nvSpPr>
          <p:spPr bwMode="auto">
            <a:xfrm rot="127247">
              <a:off x="3017" y="2650"/>
              <a:ext cx="201" cy="200"/>
            </a:xfrm>
            <a:custGeom>
              <a:avLst/>
              <a:gdLst>
                <a:gd name="T0" fmla="*/ 465 w 662"/>
                <a:gd name="T1" fmla="*/ 407 h 550"/>
                <a:gd name="T2" fmla="*/ 616 w 662"/>
                <a:gd name="T3" fmla="*/ 330 h 550"/>
                <a:gd name="T4" fmla="*/ 624 w 662"/>
                <a:gd name="T5" fmla="*/ 284 h 550"/>
                <a:gd name="T6" fmla="*/ 645 w 662"/>
                <a:gd name="T7" fmla="*/ 240 h 550"/>
                <a:gd name="T8" fmla="*/ 643 w 662"/>
                <a:gd name="T9" fmla="*/ 201 h 550"/>
                <a:gd name="T10" fmla="*/ 655 w 662"/>
                <a:gd name="T11" fmla="*/ 163 h 550"/>
                <a:gd name="T12" fmla="*/ 662 w 662"/>
                <a:gd name="T13" fmla="*/ 130 h 550"/>
                <a:gd name="T14" fmla="*/ 651 w 662"/>
                <a:gd name="T15" fmla="*/ 75 h 550"/>
                <a:gd name="T16" fmla="*/ 593 w 662"/>
                <a:gd name="T17" fmla="*/ 44 h 550"/>
                <a:gd name="T18" fmla="*/ 549 w 662"/>
                <a:gd name="T19" fmla="*/ 32 h 550"/>
                <a:gd name="T20" fmla="*/ 518 w 662"/>
                <a:gd name="T21" fmla="*/ 25 h 550"/>
                <a:gd name="T22" fmla="*/ 407 w 662"/>
                <a:gd name="T23" fmla="*/ 17 h 550"/>
                <a:gd name="T24" fmla="*/ 373 w 662"/>
                <a:gd name="T25" fmla="*/ 59 h 550"/>
                <a:gd name="T26" fmla="*/ 386 w 662"/>
                <a:gd name="T27" fmla="*/ 144 h 550"/>
                <a:gd name="T28" fmla="*/ 371 w 662"/>
                <a:gd name="T29" fmla="*/ 203 h 550"/>
                <a:gd name="T30" fmla="*/ 424 w 662"/>
                <a:gd name="T31" fmla="*/ 230 h 550"/>
                <a:gd name="T32" fmla="*/ 446 w 662"/>
                <a:gd name="T33" fmla="*/ 299 h 550"/>
                <a:gd name="T34" fmla="*/ 405 w 662"/>
                <a:gd name="T35" fmla="*/ 301 h 550"/>
                <a:gd name="T36" fmla="*/ 378 w 662"/>
                <a:gd name="T37" fmla="*/ 265 h 550"/>
                <a:gd name="T38" fmla="*/ 346 w 662"/>
                <a:gd name="T39" fmla="*/ 236 h 550"/>
                <a:gd name="T40" fmla="*/ 315 w 662"/>
                <a:gd name="T41" fmla="*/ 232 h 550"/>
                <a:gd name="T42" fmla="*/ 321 w 662"/>
                <a:gd name="T43" fmla="*/ 197 h 550"/>
                <a:gd name="T44" fmla="*/ 273 w 662"/>
                <a:gd name="T45" fmla="*/ 222 h 550"/>
                <a:gd name="T46" fmla="*/ 198 w 662"/>
                <a:gd name="T47" fmla="*/ 199 h 550"/>
                <a:gd name="T48" fmla="*/ 173 w 662"/>
                <a:gd name="T49" fmla="*/ 172 h 550"/>
                <a:gd name="T50" fmla="*/ 139 w 662"/>
                <a:gd name="T51" fmla="*/ 180 h 550"/>
                <a:gd name="T52" fmla="*/ 123 w 662"/>
                <a:gd name="T53" fmla="*/ 148 h 550"/>
                <a:gd name="T54" fmla="*/ 125 w 662"/>
                <a:gd name="T55" fmla="*/ 190 h 550"/>
                <a:gd name="T56" fmla="*/ 119 w 662"/>
                <a:gd name="T57" fmla="*/ 217 h 550"/>
                <a:gd name="T58" fmla="*/ 119 w 662"/>
                <a:gd name="T59" fmla="*/ 274 h 550"/>
                <a:gd name="T60" fmla="*/ 2 w 662"/>
                <a:gd name="T61" fmla="*/ 278 h 550"/>
                <a:gd name="T62" fmla="*/ 8 w 662"/>
                <a:gd name="T63" fmla="*/ 474 h 550"/>
                <a:gd name="T64" fmla="*/ 75 w 662"/>
                <a:gd name="T65" fmla="*/ 531 h 550"/>
                <a:gd name="T66" fmla="*/ 164 w 662"/>
                <a:gd name="T67" fmla="*/ 522 h 550"/>
                <a:gd name="T68" fmla="*/ 213 w 662"/>
                <a:gd name="T69" fmla="*/ 550 h 550"/>
                <a:gd name="T70" fmla="*/ 246 w 662"/>
                <a:gd name="T71" fmla="*/ 550 h 550"/>
                <a:gd name="T72" fmla="*/ 338 w 662"/>
                <a:gd name="T73" fmla="*/ 485 h 550"/>
                <a:gd name="T74" fmla="*/ 377 w 662"/>
                <a:gd name="T75" fmla="*/ 445 h 550"/>
                <a:gd name="T76" fmla="*/ 396 w 662"/>
                <a:gd name="T77" fmla="*/ 428 h 550"/>
                <a:gd name="T78" fmla="*/ 461 w 662"/>
                <a:gd name="T79" fmla="*/ 426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62" h="550">
                  <a:moveTo>
                    <a:pt x="461" y="426"/>
                  </a:moveTo>
                  <a:lnTo>
                    <a:pt x="465" y="407"/>
                  </a:lnTo>
                  <a:lnTo>
                    <a:pt x="455" y="384"/>
                  </a:lnTo>
                  <a:lnTo>
                    <a:pt x="616" y="330"/>
                  </a:lnTo>
                  <a:lnTo>
                    <a:pt x="613" y="301"/>
                  </a:lnTo>
                  <a:lnTo>
                    <a:pt x="624" y="284"/>
                  </a:lnTo>
                  <a:lnTo>
                    <a:pt x="626" y="259"/>
                  </a:lnTo>
                  <a:lnTo>
                    <a:pt x="645" y="240"/>
                  </a:lnTo>
                  <a:lnTo>
                    <a:pt x="636" y="205"/>
                  </a:lnTo>
                  <a:lnTo>
                    <a:pt x="643" y="201"/>
                  </a:lnTo>
                  <a:lnTo>
                    <a:pt x="643" y="182"/>
                  </a:lnTo>
                  <a:lnTo>
                    <a:pt x="655" y="163"/>
                  </a:lnTo>
                  <a:lnTo>
                    <a:pt x="647" y="148"/>
                  </a:lnTo>
                  <a:lnTo>
                    <a:pt x="662" y="130"/>
                  </a:lnTo>
                  <a:lnTo>
                    <a:pt x="645" y="100"/>
                  </a:lnTo>
                  <a:lnTo>
                    <a:pt x="651" y="75"/>
                  </a:lnTo>
                  <a:lnTo>
                    <a:pt x="643" y="71"/>
                  </a:lnTo>
                  <a:lnTo>
                    <a:pt x="593" y="44"/>
                  </a:lnTo>
                  <a:lnTo>
                    <a:pt x="580" y="46"/>
                  </a:lnTo>
                  <a:lnTo>
                    <a:pt x="549" y="32"/>
                  </a:lnTo>
                  <a:lnTo>
                    <a:pt x="547" y="23"/>
                  </a:lnTo>
                  <a:lnTo>
                    <a:pt x="518" y="25"/>
                  </a:lnTo>
                  <a:lnTo>
                    <a:pt x="507" y="0"/>
                  </a:lnTo>
                  <a:lnTo>
                    <a:pt x="407" y="17"/>
                  </a:lnTo>
                  <a:lnTo>
                    <a:pt x="384" y="54"/>
                  </a:lnTo>
                  <a:lnTo>
                    <a:pt x="373" y="59"/>
                  </a:lnTo>
                  <a:lnTo>
                    <a:pt x="386" y="77"/>
                  </a:lnTo>
                  <a:lnTo>
                    <a:pt x="386" y="144"/>
                  </a:lnTo>
                  <a:lnTo>
                    <a:pt x="377" y="163"/>
                  </a:lnTo>
                  <a:lnTo>
                    <a:pt x="371" y="203"/>
                  </a:lnTo>
                  <a:lnTo>
                    <a:pt x="421" y="242"/>
                  </a:lnTo>
                  <a:lnTo>
                    <a:pt x="424" y="230"/>
                  </a:lnTo>
                  <a:lnTo>
                    <a:pt x="448" y="226"/>
                  </a:lnTo>
                  <a:lnTo>
                    <a:pt x="446" y="299"/>
                  </a:lnTo>
                  <a:lnTo>
                    <a:pt x="426" y="288"/>
                  </a:lnTo>
                  <a:lnTo>
                    <a:pt x="405" y="301"/>
                  </a:lnTo>
                  <a:lnTo>
                    <a:pt x="390" y="278"/>
                  </a:lnTo>
                  <a:lnTo>
                    <a:pt x="378" y="265"/>
                  </a:lnTo>
                  <a:lnTo>
                    <a:pt x="371" y="245"/>
                  </a:lnTo>
                  <a:lnTo>
                    <a:pt x="346" y="236"/>
                  </a:lnTo>
                  <a:lnTo>
                    <a:pt x="336" y="226"/>
                  </a:lnTo>
                  <a:lnTo>
                    <a:pt x="315" y="232"/>
                  </a:lnTo>
                  <a:lnTo>
                    <a:pt x="311" y="207"/>
                  </a:lnTo>
                  <a:lnTo>
                    <a:pt x="321" y="197"/>
                  </a:lnTo>
                  <a:lnTo>
                    <a:pt x="296" y="194"/>
                  </a:lnTo>
                  <a:lnTo>
                    <a:pt x="273" y="222"/>
                  </a:lnTo>
                  <a:lnTo>
                    <a:pt x="242" y="207"/>
                  </a:lnTo>
                  <a:lnTo>
                    <a:pt x="198" y="199"/>
                  </a:lnTo>
                  <a:lnTo>
                    <a:pt x="188" y="172"/>
                  </a:lnTo>
                  <a:lnTo>
                    <a:pt x="173" y="172"/>
                  </a:lnTo>
                  <a:lnTo>
                    <a:pt x="150" y="190"/>
                  </a:lnTo>
                  <a:lnTo>
                    <a:pt x="139" y="180"/>
                  </a:lnTo>
                  <a:lnTo>
                    <a:pt x="144" y="169"/>
                  </a:lnTo>
                  <a:lnTo>
                    <a:pt x="123" y="148"/>
                  </a:lnTo>
                  <a:lnTo>
                    <a:pt x="114" y="159"/>
                  </a:lnTo>
                  <a:lnTo>
                    <a:pt x="125" y="190"/>
                  </a:lnTo>
                  <a:lnTo>
                    <a:pt x="116" y="205"/>
                  </a:lnTo>
                  <a:lnTo>
                    <a:pt x="119" y="217"/>
                  </a:lnTo>
                  <a:lnTo>
                    <a:pt x="112" y="263"/>
                  </a:lnTo>
                  <a:lnTo>
                    <a:pt x="119" y="274"/>
                  </a:lnTo>
                  <a:lnTo>
                    <a:pt x="110" y="280"/>
                  </a:lnTo>
                  <a:lnTo>
                    <a:pt x="2" y="278"/>
                  </a:lnTo>
                  <a:lnTo>
                    <a:pt x="0" y="456"/>
                  </a:lnTo>
                  <a:lnTo>
                    <a:pt x="8" y="474"/>
                  </a:lnTo>
                  <a:lnTo>
                    <a:pt x="33" y="491"/>
                  </a:lnTo>
                  <a:lnTo>
                    <a:pt x="75" y="531"/>
                  </a:lnTo>
                  <a:lnTo>
                    <a:pt x="112" y="520"/>
                  </a:lnTo>
                  <a:lnTo>
                    <a:pt x="164" y="522"/>
                  </a:lnTo>
                  <a:lnTo>
                    <a:pt x="179" y="539"/>
                  </a:lnTo>
                  <a:lnTo>
                    <a:pt x="213" y="550"/>
                  </a:lnTo>
                  <a:lnTo>
                    <a:pt x="229" y="543"/>
                  </a:lnTo>
                  <a:lnTo>
                    <a:pt x="246" y="550"/>
                  </a:lnTo>
                  <a:lnTo>
                    <a:pt x="277" y="545"/>
                  </a:lnTo>
                  <a:lnTo>
                    <a:pt x="338" y="485"/>
                  </a:lnTo>
                  <a:lnTo>
                    <a:pt x="373" y="474"/>
                  </a:lnTo>
                  <a:lnTo>
                    <a:pt x="377" y="445"/>
                  </a:lnTo>
                  <a:lnTo>
                    <a:pt x="390" y="441"/>
                  </a:lnTo>
                  <a:lnTo>
                    <a:pt x="396" y="428"/>
                  </a:lnTo>
                  <a:lnTo>
                    <a:pt x="432" y="428"/>
                  </a:lnTo>
                  <a:lnTo>
                    <a:pt x="461" y="42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3" name="Freeform 126"/>
            <p:cNvSpPr>
              <a:spLocks/>
            </p:cNvSpPr>
            <p:nvPr/>
          </p:nvSpPr>
          <p:spPr bwMode="auto">
            <a:xfrm rot="127247">
              <a:off x="3068" y="2806"/>
              <a:ext cx="129" cy="138"/>
            </a:xfrm>
            <a:custGeom>
              <a:avLst/>
              <a:gdLst>
                <a:gd name="T0" fmla="*/ 318 w 426"/>
                <a:gd name="T1" fmla="*/ 378 h 378"/>
                <a:gd name="T2" fmla="*/ 337 w 426"/>
                <a:gd name="T3" fmla="*/ 349 h 378"/>
                <a:gd name="T4" fmla="*/ 376 w 426"/>
                <a:gd name="T5" fmla="*/ 318 h 378"/>
                <a:gd name="T6" fmla="*/ 382 w 426"/>
                <a:gd name="T7" fmla="*/ 282 h 378"/>
                <a:gd name="T8" fmla="*/ 399 w 426"/>
                <a:gd name="T9" fmla="*/ 272 h 378"/>
                <a:gd name="T10" fmla="*/ 416 w 426"/>
                <a:gd name="T11" fmla="*/ 240 h 378"/>
                <a:gd name="T12" fmla="*/ 403 w 426"/>
                <a:gd name="T13" fmla="*/ 184 h 378"/>
                <a:gd name="T14" fmla="*/ 426 w 426"/>
                <a:gd name="T15" fmla="*/ 144 h 378"/>
                <a:gd name="T16" fmla="*/ 418 w 426"/>
                <a:gd name="T17" fmla="*/ 130 h 378"/>
                <a:gd name="T18" fmla="*/ 424 w 426"/>
                <a:gd name="T19" fmla="*/ 115 h 378"/>
                <a:gd name="T20" fmla="*/ 422 w 426"/>
                <a:gd name="T21" fmla="*/ 80 h 378"/>
                <a:gd name="T22" fmla="*/ 412 w 426"/>
                <a:gd name="T23" fmla="*/ 73 h 378"/>
                <a:gd name="T24" fmla="*/ 420 w 426"/>
                <a:gd name="T25" fmla="*/ 57 h 378"/>
                <a:gd name="T26" fmla="*/ 368 w 426"/>
                <a:gd name="T27" fmla="*/ 38 h 378"/>
                <a:gd name="T28" fmla="*/ 339 w 426"/>
                <a:gd name="T29" fmla="*/ 34 h 378"/>
                <a:gd name="T30" fmla="*/ 337 w 426"/>
                <a:gd name="T31" fmla="*/ 23 h 378"/>
                <a:gd name="T32" fmla="*/ 276 w 426"/>
                <a:gd name="T33" fmla="*/ 17 h 378"/>
                <a:gd name="T34" fmla="*/ 280 w 426"/>
                <a:gd name="T35" fmla="*/ 2 h 378"/>
                <a:gd name="T36" fmla="*/ 274 w 426"/>
                <a:gd name="T37" fmla="*/ 0 h 378"/>
                <a:gd name="T38" fmla="*/ 251 w 426"/>
                <a:gd name="T39" fmla="*/ 2 h 378"/>
                <a:gd name="T40" fmla="*/ 215 w 426"/>
                <a:gd name="T41" fmla="*/ 2 h 378"/>
                <a:gd name="T42" fmla="*/ 209 w 426"/>
                <a:gd name="T43" fmla="*/ 15 h 378"/>
                <a:gd name="T44" fmla="*/ 196 w 426"/>
                <a:gd name="T45" fmla="*/ 19 h 378"/>
                <a:gd name="T46" fmla="*/ 192 w 426"/>
                <a:gd name="T47" fmla="*/ 48 h 378"/>
                <a:gd name="T48" fmla="*/ 157 w 426"/>
                <a:gd name="T49" fmla="*/ 59 h 378"/>
                <a:gd name="T50" fmla="*/ 96 w 426"/>
                <a:gd name="T51" fmla="*/ 119 h 378"/>
                <a:gd name="T52" fmla="*/ 65 w 426"/>
                <a:gd name="T53" fmla="*/ 124 h 378"/>
                <a:gd name="T54" fmla="*/ 48 w 426"/>
                <a:gd name="T55" fmla="*/ 117 h 378"/>
                <a:gd name="T56" fmla="*/ 32 w 426"/>
                <a:gd name="T57" fmla="*/ 124 h 378"/>
                <a:gd name="T58" fmla="*/ 0 w 426"/>
                <a:gd name="T59" fmla="*/ 113 h 378"/>
                <a:gd name="T60" fmla="*/ 25 w 426"/>
                <a:gd name="T61" fmla="*/ 153 h 378"/>
                <a:gd name="T62" fmla="*/ 52 w 426"/>
                <a:gd name="T63" fmla="*/ 217 h 378"/>
                <a:gd name="T64" fmla="*/ 92 w 426"/>
                <a:gd name="T65" fmla="*/ 241 h 378"/>
                <a:gd name="T66" fmla="*/ 134 w 426"/>
                <a:gd name="T67" fmla="*/ 276 h 378"/>
                <a:gd name="T68" fmla="*/ 134 w 426"/>
                <a:gd name="T69" fmla="*/ 311 h 378"/>
                <a:gd name="T70" fmla="*/ 142 w 426"/>
                <a:gd name="T71" fmla="*/ 328 h 378"/>
                <a:gd name="T72" fmla="*/ 182 w 426"/>
                <a:gd name="T73" fmla="*/ 334 h 378"/>
                <a:gd name="T74" fmla="*/ 211 w 426"/>
                <a:gd name="T75" fmla="*/ 362 h 378"/>
                <a:gd name="T76" fmla="*/ 318 w 426"/>
                <a:gd name="T77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6" h="378">
                  <a:moveTo>
                    <a:pt x="318" y="378"/>
                  </a:moveTo>
                  <a:lnTo>
                    <a:pt x="337" y="349"/>
                  </a:lnTo>
                  <a:lnTo>
                    <a:pt x="376" y="318"/>
                  </a:lnTo>
                  <a:lnTo>
                    <a:pt x="382" y="282"/>
                  </a:lnTo>
                  <a:lnTo>
                    <a:pt x="399" y="272"/>
                  </a:lnTo>
                  <a:lnTo>
                    <a:pt x="416" y="240"/>
                  </a:lnTo>
                  <a:lnTo>
                    <a:pt x="403" y="184"/>
                  </a:lnTo>
                  <a:lnTo>
                    <a:pt x="426" y="144"/>
                  </a:lnTo>
                  <a:lnTo>
                    <a:pt x="418" y="130"/>
                  </a:lnTo>
                  <a:lnTo>
                    <a:pt x="424" y="115"/>
                  </a:lnTo>
                  <a:lnTo>
                    <a:pt x="422" y="80"/>
                  </a:lnTo>
                  <a:lnTo>
                    <a:pt x="412" y="73"/>
                  </a:lnTo>
                  <a:lnTo>
                    <a:pt x="420" y="57"/>
                  </a:lnTo>
                  <a:lnTo>
                    <a:pt x="368" y="38"/>
                  </a:lnTo>
                  <a:lnTo>
                    <a:pt x="339" y="34"/>
                  </a:lnTo>
                  <a:lnTo>
                    <a:pt x="337" y="23"/>
                  </a:lnTo>
                  <a:lnTo>
                    <a:pt x="276" y="17"/>
                  </a:lnTo>
                  <a:lnTo>
                    <a:pt x="280" y="2"/>
                  </a:lnTo>
                  <a:lnTo>
                    <a:pt x="274" y="0"/>
                  </a:lnTo>
                  <a:lnTo>
                    <a:pt x="251" y="2"/>
                  </a:lnTo>
                  <a:lnTo>
                    <a:pt x="215" y="2"/>
                  </a:lnTo>
                  <a:lnTo>
                    <a:pt x="209" y="15"/>
                  </a:lnTo>
                  <a:lnTo>
                    <a:pt x="196" y="19"/>
                  </a:lnTo>
                  <a:lnTo>
                    <a:pt x="192" y="48"/>
                  </a:lnTo>
                  <a:lnTo>
                    <a:pt x="157" y="59"/>
                  </a:lnTo>
                  <a:lnTo>
                    <a:pt x="96" y="119"/>
                  </a:lnTo>
                  <a:lnTo>
                    <a:pt x="65" y="124"/>
                  </a:lnTo>
                  <a:lnTo>
                    <a:pt x="48" y="117"/>
                  </a:lnTo>
                  <a:lnTo>
                    <a:pt x="32" y="124"/>
                  </a:lnTo>
                  <a:lnTo>
                    <a:pt x="0" y="113"/>
                  </a:lnTo>
                  <a:lnTo>
                    <a:pt x="25" y="153"/>
                  </a:lnTo>
                  <a:lnTo>
                    <a:pt x="52" y="217"/>
                  </a:lnTo>
                  <a:lnTo>
                    <a:pt x="92" y="241"/>
                  </a:lnTo>
                  <a:lnTo>
                    <a:pt x="134" y="276"/>
                  </a:lnTo>
                  <a:lnTo>
                    <a:pt x="134" y="311"/>
                  </a:lnTo>
                  <a:lnTo>
                    <a:pt x="142" y="328"/>
                  </a:lnTo>
                  <a:lnTo>
                    <a:pt x="182" y="334"/>
                  </a:lnTo>
                  <a:lnTo>
                    <a:pt x="211" y="362"/>
                  </a:lnTo>
                  <a:lnTo>
                    <a:pt x="318" y="37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4" name="Freeform 127"/>
            <p:cNvSpPr>
              <a:spLocks/>
            </p:cNvSpPr>
            <p:nvPr/>
          </p:nvSpPr>
          <p:spPr bwMode="auto">
            <a:xfrm rot="127247">
              <a:off x="2970" y="2843"/>
              <a:ext cx="159" cy="188"/>
            </a:xfrm>
            <a:custGeom>
              <a:avLst/>
              <a:gdLst>
                <a:gd name="T0" fmla="*/ 317 w 522"/>
                <a:gd name="T1" fmla="*/ 2 h 516"/>
                <a:gd name="T2" fmla="*/ 313 w 522"/>
                <a:gd name="T3" fmla="*/ 0 h 516"/>
                <a:gd name="T4" fmla="*/ 338 w 522"/>
                <a:gd name="T5" fmla="*/ 40 h 516"/>
                <a:gd name="T6" fmla="*/ 365 w 522"/>
                <a:gd name="T7" fmla="*/ 104 h 516"/>
                <a:gd name="T8" fmla="*/ 405 w 522"/>
                <a:gd name="T9" fmla="*/ 128 h 516"/>
                <a:gd name="T10" fmla="*/ 447 w 522"/>
                <a:gd name="T11" fmla="*/ 163 h 516"/>
                <a:gd name="T12" fmla="*/ 447 w 522"/>
                <a:gd name="T13" fmla="*/ 198 h 516"/>
                <a:gd name="T14" fmla="*/ 455 w 522"/>
                <a:gd name="T15" fmla="*/ 215 h 516"/>
                <a:gd name="T16" fmla="*/ 495 w 522"/>
                <a:gd name="T17" fmla="*/ 221 h 516"/>
                <a:gd name="T18" fmla="*/ 522 w 522"/>
                <a:gd name="T19" fmla="*/ 247 h 516"/>
                <a:gd name="T20" fmla="*/ 464 w 522"/>
                <a:gd name="T21" fmla="*/ 282 h 516"/>
                <a:gd name="T22" fmla="*/ 401 w 522"/>
                <a:gd name="T23" fmla="*/ 328 h 516"/>
                <a:gd name="T24" fmla="*/ 391 w 522"/>
                <a:gd name="T25" fmla="*/ 366 h 516"/>
                <a:gd name="T26" fmla="*/ 367 w 522"/>
                <a:gd name="T27" fmla="*/ 389 h 516"/>
                <a:gd name="T28" fmla="*/ 338 w 522"/>
                <a:gd name="T29" fmla="*/ 397 h 516"/>
                <a:gd name="T30" fmla="*/ 334 w 522"/>
                <a:gd name="T31" fmla="*/ 414 h 516"/>
                <a:gd name="T32" fmla="*/ 307 w 522"/>
                <a:gd name="T33" fmla="*/ 455 h 516"/>
                <a:gd name="T34" fmla="*/ 284 w 522"/>
                <a:gd name="T35" fmla="*/ 443 h 516"/>
                <a:gd name="T36" fmla="*/ 261 w 522"/>
                <a:gd name="T37" fmla="*/ 460 h 516"/>
                <a:gd name="T38" fmla="*/ 223 w 522"/>
                <a:gd name="T39" fmla="*/ 455 h 516"/>
                <a:gd name="T40" fmla="*/ 182 w 522"/>
                <a:gd name="T41" fmla="*/ 424 h 516"/>
                <a:gd name="T42" fmla="*/ 165 w 522"/>
                <a:gd name="T43" fmla="*/ 457 h 516"/>
                <a:gd name="T44" fmla="*/ 108 w 522"/>
                <a:gd name="T45" fmla="*/ 510 h 516"/>
                <a:gd name="T46" fmla="*/ 42 w 522"/>
                <a:gd name="T47" fmla="*/ 516 h 516"/>
                <a:gd name="T48" fmla="*/ 44 w 522"/>
                <a:gd name="T49" fmla="*/ 489 h 516"/>
                <a:gd name="T50" fmla="*/ 54 w 522"/>
                <a:gd name="T51" fmla="*/ 464 h 516"/>
                <a:gd name="T52" fmla="*/ 42 w 522"/>
                <a:gd name="T53" fmla="*/ 432 h 516"/>
                <a:gd name="T54" fmla="*/ 4 w 522"/>
                <a:gd name="T55" fmla="*/ 407 h 516"/>
                <a:gd name="T56" fmla="*/ 0 w 522"/>
                <a:gd name="T57" fmla="*/ 236 h 516"/>
                <a:gd name="T58" fmla="*/ 61 w 522"/>
                <a:gd name="T59" fmla="*/ 234 h 516"/>
                <a:gd name="T60" fmla="*/ 65 w 522"/>
                <a:gd name="T61" fmla="*/ 31 h 516"/>
                <a:gd name="T62" fmla="*/ 203 w 522"/>
                <a:gd name="T63" fmla="*/ 11 h 516"/>
                <a:gd name="T64" fmla="*/ 213 w 522"/>
                <a:gd name="T65" fmla="*/ 29 h 516"/>
                <a:gd name="T66" fmla="*/ 257 w 522"/>
                <a:gd name="T67" fmla="*/ 4 h 516"/>
                <a:gd name="T68" fmla="*/ 267 w 522"/>
                <a:gd name="T69" fmla="*/ 8 h 516"/>
                <a:gd name="T70" fmla="*/ 313 w 522"/>
                <a:gd name="T71" fmla="*/ 0 h 516"/>
                <a:gd name="T72" fmla="*/ 317 w 522"/>
                <a:gd name="T73" fmla="*/ 2 h 5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22" h="516">
                  <a:moveTo>
                    <a:pt x="317" y="2"/>
                  </a:moveTo>
                  <a:lnTo>
                    <a:pt x="313" y="0"/>
                  </a:lnTo>
                  <a:lnTo>
                    <a:pt x="338" y="40"/>
                  </a:lnTo>
                  <a:lnTo>
                    <a:pt x="365" y="104"/>
                  </a:lnTo>
                  <a:lnTo>
                    <a:pt x="405" y="128"/>
                  </a:lnTo>
                  <a:lnTo>
                    <a:pt x="447" y="163"/>
                  </a:lnTo>
                  <a:lnTo>
                    <a:pt x="447" y="198"/>
                  </a:lnTo>
                  <a:lnTo>
                    <a:pt x="455" y="215"/>
                  </a:lnTo>
                  <a:lnTo>
                    <a:pt x="495" y="221"/>
                  </a:lnTo>
                  <a:lnTo>
                    <a:pt x="522" y="247"/>
                  </a:lnTo>
                  <a:lnTo>
                    <a:pt x="464" y="282"/>
                  </a:lnTo>
                  <a:lnTo>
                    <a:pt x="401" y="328"/>
                  </a:lnTo>
                  <a:lnTo>
                    <a:pt x="391" y="366"/>
                  </a:lnTo>
                  <a:lnTo>
                    <a:pt x="367" y="389"/>
                  </a:lnTo>
                  <a:lnTo>
                    <a:pt x="338" y="397"/>
                  </a:lnTo>
                  <a:lnTo>
                    <a:pt x="334" y="414"/>
                  </a:lnTo>
                  <a:lnTo>
                    <a:pt x="307" y="455"/>
                  </a:lnTo>
                  <a:lnTo>
                    <a:pt x="284" y="443"/>
                  </a:lnTo>
                  <a:lnTo>
                    <a:pt x="261" y="460"/>
                  </a:lnTo>
                  <a:lnTo>
                    <a:pt x="223" y="455"/>
                  </a:lnTo>
                  <a:lnTo>
                    <a:pt x="182" y="424"/>
                  </a:lnTo>
                  <a:lnTo>
                    <a:pt x="165" y="457"/>
                  </a:lnTo>
                  <a:lnTo>
                    <a:pt x="108" y="510"/>
                  </a:lnTo>
                  <a:lnTo>
                    <a:pt x="42" y="516"/>
                  </a:lnTo>
                  <a:lnTo>
                    <a:pt x="44" y="489"/>
                  </a:lnTo>
                  <a:lnTo>
                    <a:pt x="54" y="464"/>
                  </a:lnTo>
                  <a:lnTo>
                    <a:pt x="42" y="432"/>
                  </a:lnTo>
                  <a:lnTo>
                    <a:pt x="4" y="407"/>
                  </a:lnTo>
                  <a:lnTo>
                    <a:pt x="0" y="236"/>
                  </a:lnTo>
                  <a:lnTo>
                    <a:pt x="61" y="234"/>
                  </a:lnTo>
                  <a:lnTo>
                    <a:pt x="65" y="31"/>
                  </a:lnTo>
                  <a:lnTo>
                    <a:pt x="203" y="11"/>
                  </a:lnTo>
                  <a:lnTo>
                    <a:pt x="213" y="29"/>
                  </a:lnTo>
                  <a:lnTo>
                    <a:pt x="257" y="4"/>
                  </a:lnTo>
                  <a:lnTo>
                    <a:pt x="267" y="8"/>
                  </a:lnTo>
                  <a:lnTo>
                    <a:pt x="313" y="0"/>
                  </a:lnTo>
                  <a:lnTo>
                    <a:pt x="317" y="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5" name="Freeform 128"/>
            <p:cNvSpPr>
              <a:spLocks noEditPoints="1"/>
            </p:cNvSpPr>
            <p:nvPr/>
          </p:nvSpPr>
          <p:spPr bwMode="auto">
            <a:xfrm rot="127247">
              <a:off x="2834" y="2828"/>
              <a:ext cx="231" cy="243"/>
            </a:xfrm>
            <a:custGeom>
              <a:avLst/>
              <a:gdLst>
                <a:gd name="T0" fmla="*/ 654 w 760"/>
                <a:gd name="T1" fmla="*/ 25 h 668"/>
                <a:gd name="T2" fmla="*/ 654 w 760"/>
                <a:gd name="T3" fmla="*/ 27 h 668"/>
                <a:gd name="T4" fmla="*/ 691 w 760"/>
                <a:gd name="T5" fmla="*/ 16 h 668"/>
                <a:gd name="T6" fmla="*/ 743 w 760"/>
                <a:gd name="T7" fmla="*/ 18 h 668"/>
                <a:gd name="T8" fmla="*/ 758 w 760"/>
                <a:gd name="T9" fmla="*/ 35 h 668"/>
                <a:gd name="T10" fmla="*/ 760 w 760"/>
                <a:gd name="T11" fmla="*/ 35 h 668"/>
                <a:gd name="T12" fmla="*/ 714 w 760"/>
                <a:gd name="T13" fmla="*/ 43 h 668"/>
                <a:gd name="T14" fmla="*/ 704 w 760"/>
                <a:gd name="T15" fmla="*/ 39 h 668"/>
                <a:gd name="T16" fmla="*/ 660 w 760"/>
                <a:gd name="T17" fmla="*/ 64 h 668"/>
                <a:gd name="T18" fmla="*/ 650 w 760"/>
                <a:gd name="T19" fmla="*/ 46 h 668"/>
                <a:gd name="T20" fmla="*/ 512 w 760"/>
                <a:gd name="T21" fmla="*/ 66 h 668"/>
                <a:gd name="T22" fmla="*/ 508 w 760"/>
                <a:gd name="T23" fmla="*/ 269 h 668"/>
                <a:gd name="T24" fmla="*/ 447 w 760"/>
                <a:gd name="T25" fmla="*/ 271 h 668"/>
                <a:gd name="T26" fmla="*/ 451 w 760"/>
                <a:gd name="T27" fmla="*/ 442 h 668"/>
                <a:gd name="T28" fmla="*/ 447 w 760"/>
                <a:gd name="T29" fmla="*/ 649 h 668"/>
                <a:gd name="T30" fmla="*/ 434 w 760"/>
                <a:gd name="T31" fmla="*/ 639 h 668"/>
                <a:gd name="T32" fmla="*/ 424 w 760"/>
                <a:gd name="T33" fmla="*/ 655 h 668"/>
                <a:gd name="T34" fmla="*/ 401 w 760"/>
                <a:gd name="T35" fmla="*/ 668 h 668"/>
                <a:gd name="T36" fmla="*/ 382 w 760"/>
                <a:gd name="T37" fmla="*/ 656 h 668"/>
                <a:gd name="T38" fmla="*/ 361 w 760"/>
                <a:gd name="T39" fmla="*/ 662 h 668"/>
                <a:gd name="T40" fmla="*/ 324 w 760"/>
                <a:gd name="T41" fmla="*/ 656 h 668"/>
                <a:gd name="T42" fmla="*/ 315 w 760"/>
                <a:gd name="T43" fmla="*/ 632 h 668"/>
                <a:gd name="T44" fmla="*/ 297 w 760"/>
                <a:gd name="T45" fmla="*/ 609 h 668"/>
                <a:gd name="T46" fmla="*/ 286 w 760"/>
                <a:gd name="T47" fmla="*/ 635 h 668"/>
                <a:gd name="T48" fmla="*/ 271 w 760"/>
                <a:gd name="T49" fmla="*/ 649 h 668"/>
                <a:gd name="T50" fmla="*/ 205 w 760"/>
                <a:gd name="T51" fmla="*/ 576 h 668"/>
                <a:gd name="T52" fmla="*/ 188 w 760"/>
                <a:gd name="T53" fmla="*/ 543 h 668"/>
                <a:gd name="T54" fmla="*/ 207 w 760"/>
                <a:gd name="T55" fmla="*/ 536 h 668"/>
                <a:gd name="T56" fmla="*/ 182 w 760"/>
                <a:gd name="T57" fmla="*/ 509 h 668"/>
                <a:gd name="T58" fmla="*/ 184 w 760"/>
                <a:gd name="T59" fmla="*/ 495 h 668"/>
                <a:gd name="T60" fmla="*/ 167 w 760"/>
                <a:gd name="T61" fmla="*/ 419 h 668"/>
                <a:gd name="T62" fmla="*/ 155 w 760"/>
                <a:gd name="T63" fmla="*/ 325 h 668"/>
                <a:gd name="T64" fmla="*/ 148 w 760"/>
                <a:gd name="T65" fmla="*/ 279 h 668"/>
                <a:gd name="T66" fmla="*/ 96 w 760"/>
                <a:gd name="T67" fmla="*/ 219 h 668"/>
                <a:gd name="T68" fmla="*/ 88 w 760"/>
                <a:gd name="T69" fmla="*/ 186 h 668"/>
                <a:gd name="T70" fmla="*/ 75 w 760"/>
                <a:gd name="T71" fmla="*/ 175 h 668"/>
                <a:gd name="T72" fmla="*/ 65 w 760"/>
                <a:gd name="T73" fmla="*/ 144 h 668"/>
                <a:gd name="T74" fmla="*/ 56 w 760"/>
                <a:gd name="T75" fmla="*/ 133 h 668"/>
                <a:gd name="T76" fmla="*/ 35 w 760"/>
                <a:gd name="T77" fmla="*/ 96 h 668"/>
                <a:gd name="T78" fmla="*/ 12 w 760"/>
                <a:gd name="T79" fmla="*/ 83 h 668"/>
                <a:gd name="T80" fmla="*/ 15 w 760"/>
                <a:gd name="T81" fmla="*/ 71 h 668"/>
                <a:gd name="T82" fmla="*/ 0 w 760"/>
                <a:gd name="T83" fmla="*/ 58 h 668"/>
                <a:gd name="T84" fmla="*/ 4 w 760"/>
                <a:gd name="T85" fmla="*/ 45 h 668"/>
                <a:gd name="T86" fmla="*/ 4 w 760"/>
                <a:gd name="T87" fmla="*/ 20 h 668"/>
                <a:gd name="T88" fmla="*/ 25 w 760"/>
                <a:gd name="T89" fmla="*/ 6 h 668"/>
                <a:gd name="T90" fmla="*/ 46 w 760"/>
                <a:gd name="T91" fmla="*/ 18 h 668"/>
                <a:gd name="T92" fmla="*/ 69 w 760"/>
                <a:gd name="T93" fmla="*/ 2 h 668"/>
                <a:gd name="T94" fmla="*/ 96 w 760"/>
                <a:gd name="T95" fmla="*/ 0 h 668"/>
                <a:gd name="T96" fmla="*/ 115 w 760"/>
                <a:gd name="T97" fmla="*/ 16 h 668"/>
                <a:gd name="T98" fmla="*/ 144 w 760"/>
                <a:gd name="T99" fmla="*/ 18 h 668"/>
                <a:gd name="T100" fmla="*/ 372 w 760"/>
                <a:gd name="T101" fmla="*/ 18 h 668"/>
                <a:gd name="T102" fmla="*/ 397 w 760"/>
                <a:gd name="T103" fmla="*/ 39 h 668"/>
                <a:gd name="T104" fmla="*/ 436 w 760"/>
                <a:gd name="T105" fmla="*/ 46 h 668"/>
                <a:gd name="T106" fmla="*/ 472 w 760"/>
                <a:gd name="T107" fmla="*/ 43 h 668"/>
                <a:gd name="T108" fmla="*/ 482 w 760"/>
                <a:gd name="T109" fmla="*/ 52 h 668"/>
                <a:gd name="T110" fmla="*/ 499 w 760"/>
                <a:gd name="T111" fmla="*/ 48 h 668"/>
                <a:gd name="T112" fmla="*/ 533 w 760"/>
                <a:gd name="T113" fmla="*/ 48 h 668"/>
                <a:gd name="T114" fmla="*/ 654 w 760"/>
                <a:gd name="T115" fmla="*/ 25 h 668"/>
                <a:gd name="T116" fmla="*/ 760 w 760"/>
                <a:gd name="T117" fmla="*/ 37 h 668"/>
                <a:gd name="T118" fmla="*/ 760 w 760"/>
                <a:gd name="T119" fmla="*/ 35 h 668"/>
                <a:gd name="T120" fmla="*/ 760 w 760"/>
                <a:gd name="T121" fmla="*/ 39 h 668"/>
                <a:gd name="T122" fmla="*/ 760 w 760"/>
                <a:gd name="T123" fmla="*/ 37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60" h="668">
                  <a:moveTo>
                    <a:pt x="654" y="25"/>
                  </a:moveTo>
                  <a:lnTo>
                    <a:pt x="654" y="27"/>
                  </a:lnTo>
                  <a:lnTo>
                    <a:pt x="691" y="16"/>
                  </a:lnTo>
                  <a:lnTo>
                    <a:pt x="743" y="18"/>
                  </a:lnTo>
                  <a:lnTo>
                    <a:pt x="758" y="35"/>
                  </a:lnTo>
                  <a:lnTo>
                    <a:pt x="760" y="35"/>
                  </a:lnTo>
                  <a:lnTo>
                    <a:pt x="714" y="43"/>
                  </a:lnTo>
                  <a:lnTo>
                    <a:pt x="704" y="39"/>
                  </a:lnTo>
                  <a:lnTo>
                    <a:pt x="660" y="64"/>
                  </a:lnTo>
                  <a:lnTo>
                    <a:pt x="650" y="46"/>
                  </a:lnTo>
                  <a:lnTo>
                    <a:pt x="512" y="66"/>
                  </a:lnTo>
                  <a:lnTo>
                    <a:pt x="508" y="269"/>
                  </a:lnTo>
                  <a:lnTo>
                    <a:pt x="447" y="271"/>
                  </a:lnTo>
                  <a:lnTo>
                    <a:pt x="451" y="442"/>
                  </a:lnTo>
                  <a:lnTo>
                    <a:pt x="447" y="649"/>
                  </a:lnTo>
                  <a:lnTo>
                    <a:pt x="434" y="639"/>
                  </a:lnTo>
                  <a:lnTo>
                    <a:pt x="424" y="655"/>
                  </a:lnTo>
                  <a:lnTo>
                    <a:pt x="401" y="668"/>
                  </a:lnTo>
                  <a:lnTo>
                    <a:pt x="382" y="656"/>
                  </a:lnTo>
                  <a:lnTo>
                    <a:pt x="361" y="662"/>
                  </a:lnTo>
                  <a:lnTo>
                    <a:pt x="324" y="656"/>
                  </a:lnTo>
                  <a:lnTo>
                    <a:pt x="315" y="632"/>
                  </a:lnTo>
                  <a:lnTo>
                    <a:pt x="297" y="609"/>
                  </a:lnTo>
                  <a:lnTo>
                    <a:pt x="286" y="635"/>
                  </a:lnTo>
                  <a:lnTo>
                    <a:pt x="271" y="649"/>
                  </a:lnTo>
                  <a:lnTo>
                    <a:pt x="205" y="576"/>
                  </a:lnTo>
                  <a:lnTo>
                    <a:pt x="188" y="543"/>
                  </a:lnTo>
                  <a:lnTo>
                    <a:pt x="207" y="536"/>
                  </a:lnTo>
                  <a:lnTo>
                    <a:pt x="182" y="509"/>
                  </a:lnTo>
                  <a:lnTo>
                    <a:pt x="184" y="495"/>
                  </a:lnTo>
                  <a:lnTo>
                    <a:pt x="167" y="419"/>
                  </a:lnTo>
                  <a:lnTo>
                    <a:pt x="155" y="325"/>
                  </a:lnTo>
                  <a:lnTo>
                    <a:pt x="148" y="279"/>
                  </a:lnTo>
                  <a:lnTo>
                    <a:pt x="96" y="219"/>
                  </a:lnTo>
                  <a:lnTo>
                    <a:pt x="88" y="186"/>
                  </a:lnTo>
                  <a:lnTo>
                    <a:pt x="75" y="175"/>
                  </a:lnTo>
                  <a:lnTo>
                    <a:pt x="65" y="144"/>
                  </a:lnTo>
                  <a:lnTo>
                    <a:pt x="56" y="133"/>
                  </a:lnTo>
                  <a:lnTo>
                    <a:pt x="35" y="96"/>
                  </a:lnTo>
                  <a:lnTo>
                    <a:pt x="12" y="83"/>
                  </a:lnTo>
                  <a:lnTo>
                    <a:pt x="15" y="71"/>
                  </a:lnTo>
                  <a:lnTo>
                    <a:pt x="0" y="58"/>
                  </a:lnTo>
                  <a:lnTo>
                    <a:pt x="4" y="45"/>
                  </a:lnTo>
                  <a:lnTo>
                    <a:pt x="4" y="20"/>
                  </a:lnTo>
                  <a:lnTo>
                    <a:pt x="25" y="6"/>
                  </a:lnTo>
                  <a:lnTo>
                    <a:pt x="46" y="18"/>
                  </a:lnTo>
                  <a:lnTo>
                    <a:pt x="69" y="2"/>
                  </a:lnTo>
                  <a:lnTo>
                    <a:pt x="96" y="0"/>
                  </a:lnTo>
                  <a:lnTo>
                    <a:pt x="115" y="16"/>
                  </a:lnTo>
                  <a:lnTo>
                    <a:pt x="144" y="18"/>
                  </a:lnTo>
                  <a:lnTo>
                    <a:pt x="372" y="18"/>
                  </a:lnTo>
                  <a:lnTo>
                    <a:pt x="397" y="39"/>
                  </a:lnTo>
                  <a:lnTo>
                    <a:pt x="436" y="46"/>
                  </a:lnTo>
                  <a:lnTo>
                    <a:pt x="472" y="43"/>
                  </a:lnTo>
                  <a:lnTo>
                    <a:pt x="482" y="52"/>
                  </a:lnTo>
                  <a:lnTo>
                    <a:pt x="499" y="48"/>
                  </a:lnTo>
                  <a:lnTo>
                    <a:pt x="533" y="48"/>
                  </a:lnTo>
                  <a:lnTo>
                    <a:pt x="654" y="25"/>
                  </a:lnTo>
                  <a:close/>
                  <a:moveTo>
                    <a:pt x="760" y="37"/>
                  </a:moveTo>
                  <a:lnTo>
                    <a:pt x="760" y="35"/>
                  </a:lnTo>
                  <a:lnTo>
                    <a:pt x="760" y="39"/>
                  </a:lnTo>
                  <a:lnTo>
                    <a:pt x="760" y="3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6" name="Freeform 129"/>
            <p:cNvSpPr>
              <a:spLocks/>
            </p:cNvSpPr>
            <p:nvPr/>
          </p:nvSpPr>
          <p:spPr bwMode="auto">
            <a:xfrm rot="127247">
              <a:off x="2913" y="2933"/>
              <a:ext cx="262" cy="265"/>
            </a:xfrm>
            <a:custGeom>
              <a:avLst/>
              <a:gdLst>
                <a:gd name="T0" fmla="*/ 845 w 866"/>
                <a:gd name="T1" fmla="*/ 273 h 729"/>
                <a:gd name="T2" fmla="*/ 812 w 866"/>
                <a:gd name="T3" fmla="*/ 269 h 729"/>
                <a:gd name="T4" fmla="*/ 818 w 866"/>
                <a:gd name="T5" fmla="*/ 210 h 729"/>
                <a:gd name="T6" fmla="*/ 841 w 866"/>
                <a:gd name="T7" fmla="*/ 165 h 729"/>
                <a:gd name="T8" fmla="*/ 822 w 866"/>
                <a:gd name="T9" fmla="*/ 39 h 729"/>
                <a:gd name="T10" fmla="*/ 699 w 866"/>
                <a:gd name="T11" fmla="*/ 2 h 729"/>
                <a:gd name="T12" fmla="*/ 639 w 866"/>
                <a:gd name="T13" fmla="*/ 35 h 729"/>
                <a:gd name="T14" fmla="*/ 566 w 866"/>
                <a:gd name="T15" fmla="*/ 119 h 729"/>
                <a:gd name="T16" fmla="*/ 513 w 866"/>
                <a:gd name="T17" fmla="*/ 150 h 729"/>
                <a:gd name="T18" fmla="*/ 482 w 866"/>
                <a:gd name="T19" fmla="*/ 208 h 729"/>
                <a:gd name="T20" fmla="*/ 436 w 866"/>
                <a:gd name="T21" fmla="*/ 213 h 729"/>
                <a:gd name="T22" fmla="*/ 357 w 866"/>
                <a:gd name="T23" fmla="*/ 177 h 729"/>
                <a:gd name="T24" fmla="*/ 283 w 866"/>
                <a:gd name="T25" fmla="*/ 263 h 729"/>
                <a:gd name="T26" fmla="*/ 219 w 866"/>
                <a:gd name="T27" fmla="*/ 242 h 729"/>
                <a:gd name="T28" fmla="*/ 217 w 866"/>
                <a:gd name="T29" fmla="*/ 185 h 729"/>
                <a:gd name="T30" fmla="*/ 175 w 866"/>
                <a:gd name="T31" fmla="*/ 367 h 729"/>
                <a:gd name="T32" fmla="*/ 152 w 866"/>
                <a:gd name="T33" fmla="*/ 373 h 729"/>
                <a:gd name="T34" fmla="*/ 110 w 866"/>
                <a:gd name="T35" fmla="*/ 374 h 729"/>
                <a:gd name="T36" fmla="*/ 52 w 866"/>
                <a:gd name="T37" fmla="*/ 374 h 729"/>
                <a:gd name="T38" fmla="*/ 25 w 866"/>
                <a:gd name="T39" fmla="*/ 327 h 729"/>
                <a:gd name="T40" fmla="*/ 0 w 866"/>
                <a:gd name="T41" fmla="*/ 365 h 729"/>
                <a:gd name="T42" fmla="*/ 33 w 866"/>
                <a:gd name="T43" fmla="*/ 436 h 729"/>
                <a:gd name="T44" fmla="*/ 60 w 866"/>
                <a:gd name="T45" fmla="*/ 515 h 729"/>
                <a:gd name="T46" fmla="*/ 93 w 866"/>
                <a:gd name="T47" fmla="*/ 587 h 729"/>
                <a:gd name="T48" fmla="*/ 62 w 866"/>
                <a:gd name="T49" fmla="*/ 580 h 729"/>
                <a:gd name="T50" fmla="*/ 70 w 866"/>
                <a:gd name="T51" fmla="*/ 628 h 729"/>
                <a:gd name="T52" fmla="*/ 169 w 866"/>
                <a:gd name="T53" fmla="*/ 703 h 729"/>
                <a:gd name="T54" fmla="*/ 284 w 866"/>
                <a:gd name="T55" fmla="*/ 710 h 729"/>
                <a:gd name="T56" fmla="*/ 346 w 866"/>
                <a:gd name="T57" fmla="*/ 697 h 729"/>
                <a:gd name="T58" fmla="*/ 394 w 866"/>
                <a:gd name="T59" fmla="*/ 681 h 729"/>
                <a:gd name="T60" fmla="*/ 438 w 866"/>
                <a:gd name="T61" fmla="*/ 662 h 729"/>
                <a:gd name="T62" fmla="*/ 538 w 866"/>
                <a:gd name="T63" fmla="*/ 649 h 729"/>
                <a:gd name="T64" fmla="*/ 645 w 866"/>
                <a:gd name="T65" fmla="*/ 557 h 729"/>
                <a:gd name="T66" fmla="*/ 749 w 866"/>
                <a:gd name="T67" fmla="*/ 449 h 729"/>
                <a:gd name="T68" fmla="*/ 766 w 866"/>
                <a:gd name="T69" fmla="*/ 409 h 729"/>
                <a:gd name="T70" fmla="*/ 866 w 866"/>
                <a:gd name="T71" fmla="*/ 280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66" h="729">
                  <a:moveTo>
                    <a:pt x="866" y="280"/>
                  </a:moveTo>
                  <a:lnTo>
                    <a:pt x="845" y="273"/>
                  </a:lnTo>
                  <a:lnTo>
                    <a:pt x="827" y="280"/>
                  </a:lnTo>
                  <a:lnTo>
                    <a:pt x="812" y="269"/>
                  </a:lnTo>
                  <a:lnTo>
                    <a:pt x="822" y="257"/>
                  </a:lnTo>
                  <a:lnTo>
                    <a:pt x="818" y="210"/>
                  </a:lnTo>
                  <a:lnTo>
                    <a:pt x="827" y="169"/>
                  </a:lnTo>
                  <a:lnTo>
                    <a:pt x="841" y="165"/>
                  </a:lnTo>
                  <a:lnTo>
                    <a:pt x="820" y="60"/>
                  </a:lnTo>
                  <a:lnTo>
                    <a:pt x="822" y="39"/>
                  </a:lnTo>
                  <a:lnTo>
                    <a:pt x="806" y="18"/>
                  </a:lnTo>
                  <a:lnTo>
                    <a:pt x="699" y="2"/>
                  </a:lnTo>
                  <a:lnTo>
                    <a:pt x="697" y="0"/>
                  </a:lnTo>
                  <a:lnTo>
                    <a:pt x="639" y="35"/>
                  </a:lnTo>
                  <a:lnTo>
                    <a:pt x="576" y="81"/>
                  </a:lnTo>
                  <a:lnTo>
                    <a:pt x="566" y="119"/>
                  </a:lnTo>
                  <a:lnTo>
                    <a:pt x="542" y="142"/>
                  </a:lnTo>
                  <a:lnTo>
                    <a:pt x="513" y="150"/>
                  </a:lnTo>
                  <a:lnTo>
                    <a:pt x="509" y="167"/>
                  </a:lnTo>
                  <a:lnTo>
                    <a:pt x="482" y="208"/>
                  </a:lnTo>
                  <a:lnTo>
                    <a:pt x="459" y="196"/>
                  </a:lnTo>
                  <a:lnTo>
                    <a:pt x="436" y="213"/>
                  </a:lnTo>
                  <a:lnTo>
                    <a:pt x="398" y="208"/>
                  </a:lnTo>
                  <a:lnTo>
                    <a:pt x="357" y="177"/>
                  </a:lnTo>
                  <a:lnTo>
                    <a:pt x="340" y="210"/>
                  </a:lnTo>
                  <a:lnTo>
                    <a:pt x="283" y="263"/>
                  </a:lnTo>
                  <a:lnTo>
                    <a:pt x="217" y="269"/>
                  </a:lnTo>
                  <a:lnTo>
                    <a:pt x="219" y="242"/>
                  </a:lnTo>
                  <a:lnTo>
                    <a:pt x="229" y="217"/>
                  </a:lnTo>
                  <a:lnTo>
                    <a:pt x="217" y="185"/>
                  </a:lnTo>
                  <a:lnTo>
                    <a:pt x="179" y="160"/>
                  </a:lnTo>
                  <a:lnTo>
                    <a:pt x="175" y="367"/>
                  </a:lnTo>
                  <a:lnTo>
                    <a:pt x="162" y="357"/>
                  </a:lnTo>
                  <a:lnTo>
                    <a:pt x="152" y="373"/>
                  </a:lnTo>
                  <a:lnTo>
                    <a:pt x="129" y="386"/>
                  </a:lnTo>
                  <a:lnTo>
                    <a:pt x="110" y="374"/>
                  </a:lnTo>
                  <a:lnTo>
                    <a:pt x="89" y="380"/>
                  </a:lnTo>
                  <a:lnTo>
                    <a:pt x="52" y="374"/>
                  </a:lnTo>
                  <a:lnTo>
                    <a:pt x="43" y="350"/>
                  </a:lnTo>
                  <a:lnTo>
                    <a:pt x="25" y="327"/>
                  </a:lnTo>
                  <a:lnTo>
                    <a:pt x="14" y="353"/>
                  </a:lnTo>
                  <a:lnTo>
                    <a:pt x="0" y="365"/>
                  </a:lnTo>
                  <a:lnTo>
                    <a:pt x="2" y="390"/>
                  </a:lnTo>
                  <a:lnTo>
                    <a:pt x="33" y="436"/>
                  </a:lnTo>
                  <a:lnTo>
                    <a:pt x="58" y="501"/>
                  </a:lnTo>
                  <a:lnTo>
                    <a:pt x="60" y="515"/>
                  </a:lnTo>
                  <a:lnTo>
                    <a:pt x="83" y="532"/>
                  </a:lnTo>
                  <a:lnTo>
                    <a:pt x="93" y="587"/>
                  </a:lnTo>
                  <a:lnTo>
                    <a:pt x="77" y="587"/>
                  </a:lnTo>
                  <a:lnTo>
                    <a:pt x="62" y="580"/>
                  </a:lnTo>
                  <a:lnTo>
                    <a:pt x="58" y="593"/>
                  </a:lnTo>
                  <a:lnTo>
                    <a:pt x="70" y="628"/>
                  </a:lnTo>
                  <a:lnTo>
                    <a:pt x="110" y="655"/>
                  </a:lnTo>
                  <a:lnTo>
                    <a:pt x="169" y="703"/>
                  </a:lnTo>
                  <a:lnTo>
                    <a:pt x="200" y="729"/>
                  </a:lnTo>
                  <a:lnTo>
                    <a:pt x="284" y="710"/>
                  </a:lnTo>
                  <a:lnTo>
                    <a:pt x="329" y="708"/>
                  </a:lnTo>
                  <a:lnTo>
                    <a:pt x="346" y="697"/>
                  </a:lnTo>
                  <a:lnTo>
                    <a:pt x="377" y="697"/>
                  </a:lnTo>
                  <a:lnTo>
                    <a:pt x="394" y="681"/>
                  </a:lnTo>
                  <a:lnTo>
                    <a:pt x="438" y="676"/>
                  </a:lnTo>
                  <a:lnTo>
                    <a:pt x="438" y="662"/>
                  </a:lnTo>
                  <a:lnTo>
                    <a:pt x="471" y="651"/>
                  </a:lnTo>
                  <a:lnTo>
                    <a:pt x="538" y="649"/>
                  </a:lnTo>
                  <a:lnTo>
                    <a:pt x="568" y="624"/>
                  </a:lnTo>
                  <a:lnTo>
                    <a:pt x="645" y="557"/>
                  </a:lnTo>
                  <a:lnTo>
                    <a:pt x="697" y="526"/>
                  </a:lnTo>
                  <a:lnTo>
                    <a:pt x="749" y="449"/>
                  </a:lnTo>
                  <a:lnTo>
                    <a:pt x="753" y="424"/>
                  </a:lnTo>
                  <a:lnTo>
                    <a:pt x="766" y="409"/>
                  </a:lnTo>
                  <a:lnTo>
                    <a:pt x="833" y="365"/>
                  </a:lnTo>
                  <a:lnTo>
                    <a:pt x="866" y="28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7" name="Freeform 130"/>
            <p:cNvSpPr>
              <a:spLocks/>
            </p:cNvSpPr>
            <p:nvPr/>
          </p:nvSpPr>
          <p:spPr bwMode="auto">
            <a:xfrm rot="127247">
              <a:off x="3130" y="3014"/>
              <a:ext cx="26" cy="34"/>
            </a:xfrm>
            <a:custGeom>
              <a:avLst/>
              <a:gdLst>
                <a:gd name="T0" fmla="*/ 64 w 83"/>
                <a:gd name="T1" fmla="*/ 7 h 95"/>
                <a:gd name="T2" fmla="*/ 83 w 83"/>
                <a:gd name="T3" fmla="*/ 67 h 95"/>
                <a:gd name="T4" fmla="*/ 73 w 83"/>
                <a:gd name="T5" fmla="*/ 82 h 95"/>
                <a:gd name="T6" fmla="*/ 64 w 83"/>
                <a:gd name="T7" fmla="*/ 95 h 95"/>
                <a:gd name="T8" fmla="*/ 16 w 83"/>
                <a:gd name="T9" fmla="*/ 95 h 95"/>
                <a:gd name="T10" fmla="*/ 0 w 83"/>
                <a:gd name="T11" fmla="*/ 49 h 95"/>
                <a:gd name="T12" fmla="*/ 27 w 83"/>
                <a:gd name="T13" fmla="*/ 0 h 95"/>
                <a:gd name="T14" fmla="*/ 54 w 83"/>
                <a:gd name="T15" fmla="*/ 9 h 95"/>
                <a:gd name="T16" fmla="*/ 64 w 83"/>
                <a:gd name="T17" fmla="*/ 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3" h="95">
                  <a:moveTo>
                    <a:pt x="64" y="7"/>
                  </a:moveTo>
                  <a:lnTo>
                    <a:pt x="83" y="67"/>
                  </a:lnTo>
                  <a:lnTo>
                    <a:pt x="73" y="82"/>
                  </a:lnTo>
                  <a:lnTo>
                    <a:pt x="64" y="95"/>
                  </a:lnTo>
                  <a:lnTo>
                    <a:pt x="16" y="95"/>
                  </a:lnTo>
                  <a:lnTo>
                    <a:pt x="0" y="49"/>
                  </a:lnTo>
                  <a:lnTo>
                    <a:pt x="27" y="0"/>
                  </a:lnTo>
                  <a:lnTo>
                    <a:pt x="54" y="9"/>
                  </a:lnTo>
                  <a:lnTo>
                    <a:pt x="64" y="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8" name="Freeform 131"/>
            <p:cNvSpPr>
              <a:spLocks/>
            </p:cNvSpPr>
            <p:nvPr/>
          </p:nvSpPr>
          <p:spPr bwMode="auto">
            <a:xfrm rot="127247">
              <a:off x="3079" y="3068"/>
              <a:ext cx="39" cy="39"/>
            </a:xfrm>
            <a:custGeom>
              <a:avLst/>
              <a:gdLst>
                <a:gd name="T0" fmla="*/ 85 w 127"/>
                <a:gd name="T1" fmla="*/ 0 h 107"/>
                <a:gd name="T2" fmla="*/ 48 w 127"/>
                <a:gd name="T3" fmla="*/ 11 h 107"/>
                <a:gd name="T4" fmla="*/ 0 w 127"/>
                <a:gd name="T5" fmla="*/ 54 h 107"/>
                <a:gd name="T6" fmla="*/ 8 w 127"/>
                <a:gd name="T7" fmla="*/ 102 h 107"/>
                <a:gd name="T8" fmla="*/ 42 w 127"/>
                <a:gd name="T9" fmla="*/ 107 h 107"/>
                <a:gd name="T10" fmla="*/ 102 w 127"/>
                <a:gd name="T11" fmla="*/ 80 h 107"/>
                <a:gd name="T12" fmla="*/ 127 w 127"/>
                <a:gd name="T13" fmla="*/ 48 h 107"/>
                <a:gd name="T14" fmla="*/ 85 w 127"/>
                <a:gd name="T15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85" y="0"/>
                  </a:moveTo>
                  <a:lnTo>
                    <a:pt x="48" y="11"/>
                  </a:lnTo>
                  <a:lnTo>
                    <a:pt x="0" y="54"/>
                  </a:lnTo>
                  <a:lnTo>
                    <a:pt x="8" y="102"/>
                  </a:lnTo>
                  <a:lnTo>
                    <a:pt x="42" y="107"/>
                  </a:lnTo>
                  <a:lnTo>
                    <a:pt x="102" y="80"/>
                  </a:lnTo>
                  <a:lnTo>
                    <a:pt x="127" y="48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19" name="Freeform 132"/>
            <p:cNvSpPr>
              <a:spLocks/>
            </p:cNvSpPr>
            <p:nvPr/>
          </p:nvSpPr>
          <p:spPr bwMode="auto">
            <a:xfrm rot="127247">
              <a:off x="2840" y="2594"/>
              <a:ext cx="215" cy="252"/>
            </a:xfrm>
            <a:custGeom>
              <a:avLst/>
              <a:gdLst>
                <a:gd name="T0" fmla="*/ 27 w 706"/>
                <a:gd name="T1" fmla="*/ 648 h 694"/>
                <a:gd name="T2" fmla="*/ 71 w 706"/>
                <a:gd name="T3" fmla="*/ 644 h 694"/>
                <a:gd name="T4" fmla="*/ 117 w 706"/>
                <a:gd name="T5" fmla="*/ 658 h 694"/>
                <a:gd name="T6" fmla="*/ 374 w 706"/>
                <a:gd name="T7" fmla="*/ 660 h 694"/>
                <a:gd name="T8" fmla="*/ 438 w 706"/>
                <a:gd name="T9" fmla="*/ 688 h 694"/>
                <a:gd name="T10" fmla="*/ 484 w 706"/>
                <a:gd name="T11" fmla="*/ 694 h 694"/>
                <a:gd name="T12" fmla="*/ 535 w 706"/>
                <a:gd name="T13" fmla="*/ 690 h 694"/>
                <a:gd name="T14" fmla="*/ 614 w 706"/>
                <a:gd name="T15" fmla="*/ 629 h 694"/>
                <a:gd name="T16" fmla="*/ 581 w 706"/>
                <a:gd name="T17" fmla="*/ 594 h 694"/>
                <a:gd name="T18" fmla="*/ 691 w 706"/>
                <a:gd name="T19" fmla="*/ 418 h 694"/>
                <a:gd name="T20" fmla="*/ 693 w 706"/>
                <a:gd name="T21" fmla="*/ 401 h 694"/>
                <a:gd name="T22" fmla="*/ 697 w 706"/>
                <a:gd name="T23" fmla="*/ 343 h 694"/>
                <a:gd name="T24" fmla="*/ 697 w 706"/>
                <a:gd name="T25" fmla="*/ 299 h 694"/>
                <a:gd name="T26" fmla="*/ 603 w 706"/>
                <a:gd name="T27" fmla="*/ 316 h 694"/>
                <a:gd name="T28" fmla="*/ 578 w 706"/>
                <a:gd name="T29" fmla="*/ 213 h 694"/>
                <a:gd name="T30" fmla="*/ 570 w 706"/>
                <a:gd name="T31" fmla="*/ 113 h 694"/>
                <a:gd name="T32" fmla="*/ 509 w 706"/>
                <a:gd name="T33" fmla="*/ 82 h 694"/>
                <a:gd name="T34" fmla="*/ 449 w 706"/>
                <a:gd name="T35" fmla="*/ 65 h 694"/>
                <a:gd name="T36" fmla="*/ 438 w 706"/>
                <a:gd name="T37" fmla="*/ 105 h 694"/>
                <a:gd name="T38" fmla="*/ 386 w 706"/>
                <a:gd name="T39" fmla="*/ 119 h 694"/>
                <a:gd name="T40" fmla="*/ 273 w 706"/>
                <a:gd name="T41" fmla="*/ 0 h 694"/>
                <a:gd name="T42" fmla="*/ 25 w 706"/>
                <a:gd name="T43" fmla="*/ 19 h 694"/>
                <a:gd name="T44" fmla="*/ 58 w 706"/>
                <a:gd name="T45" fmla="*/ 82 h 694"/>
                <a:gd name="T46" fmla="*/ 79 w 706"/>
                <a:gd name="T47" fmla="*/ 165 h 694"/>
                <a:gd name="T48" fmla="*/ 71 w 706"/>
                <a:gd name="T49" fmla="*/ 182 h 694"/>
                <a:gd name="T50" fmla="*/ 83 w 706"/>
                <a:gd name="T51" fmla="*/ 211 h 694"/>
                <a:gd name="T52" fmla="*/ 115 w 706"/>
                <a:gd name="T53" fmla="*/ 284 h 694"/>
                <a:gd name="T54" fmla="*/ 48 w 706"/>
                <a:gd name="T55" fmla="*/ 435 h 694"/>
                <a:gd name="T56" fmla="*/ 31 w 706"/>
                <a:gd name="T57" fmla="*/ 498 h 694"/>
                <a:gd name="T58" fmla="*/ 25 w 706"/>
                <a:gd name="T59" fmla="*/ 546 h 694"/>
                <a:gd name="T60" fmla="*/ 8 w 706"/>
                <a:gd name="T61" fmla="*/ 631 h 694"/>
                <a:gd name="T62" fmla="*/ 8 w 706"/>
                <a:gd name="T63" fmla="*/ 662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06" h="694">
                  <a:moveTo>
                    <a:pt x="8" y="662"/>
                  </a:moveTo>
                  <a:lnTo>
                    <a:pt x="27" y="648"/>
                  </a:lnTo>
                  <a:lnTo>
                    <a:pt x="48" y="660"/>
                  </a:lnTo>
                  <a:lnTo>
                    <a:pt x="71" y="644"/>
                  </a:lnTo>
                  <a:lnTo>
                    <a:pt x="98" y="642"/>
                  </a:lnTo>
                  <a:lnTo>
                    <a:pt x="117" y="658"/>
                  </a:lnTo>
                  <a:lnTo>
                    <a:pt x="146" y="660"/>
                  </a:lnTo>
                  <a:lnTo>
                    <a:pt x="374" y="660"/>
                  </a:lnTo>
                  <a:lnTo>
                    <a:pt x="399" y="681"/>
                  </a:lnTo>
                  <a:lnTo>
                    <a:pt x="438" y="688"/>
                  </a:lnTo>
                  <a:lnTo>
                    <a:pt x="474" y="685"/>
                  </a:lnTo>
                  <a:lnTo>
                    <a:pt x="484" y="694"/>
                  </a:lnTo>
                  <a:lnTo>
                    <a:pt x="501" y="690"/>
                  </a:lnTo>
                  <a:lnTo>
                    <a:pt x="535" y="690"/>
                  </a:lnTo>
                  <a:lnTo>
                    <a:pt x="656" y="667"/>
                  </a:lnTo>
                  <a:lnTo>
                    <a:pt x="614" y="629"/>
                  </a:lnTo>
                  <a:lnTo>
                    <a:pt x="589" y="612"/>
                  </a:lnTo>
                  <a:lnTo>
                    <a:pt x="581" y="594"/>
                  </a:lnTo>
                  <a:lnTo>
                    <a:pt x="583" y="416"/>
                  </a:lnTo>
                  <a:lnTo>
                    <a:pt x="691" y="418"/>
                  </a:lnTo>
                  <a:lnTo>
                    <a:pt x="700" y="412"/>
                  </a:lnTo>
                  <a:lnTo>
                    <a:pt x="693" y="401"/>
                  </a:lnTo>
                  <a:lnTo>
                    <a:pt x="700" y="355"/>
                  </a:lnTo>
                  <a:lnTo>
                    <a:pt x="697" y="343"/>
                  </a:lnTo>
                  <a:lnTo>
                    <a:pt x="706" y="328"/>
                  </a:lnTo>
                  <a:lnTo>
                    <a:pt x="697" y="299"/>
                  </a:lnTo>
                  <a:lnTo>
                    <a:pt x="627" y="299"/>
                  </a:lnTo>
                  <a:lnTo>
                    <a:pt x="603" y="316"/>
                  </a:lnTo>
                  <a:lnTo>
                    <a:pt x="601" y="247"/>
                  </a:lnTo>
                  <a:lnTo>
                    <a:pt x="578" y="213"/>
                  </a:lnTo>
                  <a:lnTo>
                    <a:pt x="585" y="149"/>
                  </a:lnTo>
                  <a:lnTo>
                    <a:pt x="570" y="113"/>
                  </a:lnTo>
                  <a:lnTo>
                    <a:pt x="580" y="84"/>
                  </a:lnTo>
                  <a:lnTo>
                    <a:pt x="509" y="82"/>
                  </a:lnTo>
                  <a:lnTo>
                    <a:pt x="520" y="65"/>
                  </a:lnTo>
                  <a:lnTo>
                    <a:pt x="449" y="65"/>
                  </a:lnTo>
                  <a:lnTo>
                    <a:pt x="447" y="101"/>
                  </a:lnTo>
                  <a:lnTo>
                    <a:pt x="438" y="105"/>
                  </a:lnTo>
                  <a:lnTo>
                    <a:pt x="430" y="126"/>
                  </a:lnTo>
                  <a:lnTo>
                    <a:pt x="386" y="119"/>
                  </a:lnTo>
                  <a:lnTo>
                    <a:pt x="334" y="126"/>
                  </a:lnTo>
                  <a:lnTo>
                    <a:pt x="273" y="0"/>
                  </a:lnTo>
                  <a:lnTo>
                    <a:pt x="77" y="2"/>
                  </a:lnTo>
                  <a:lnTo>
                    <a:pt x="25" y="19"/>
                  </a:lnTo>
                  <a:lnTo>
                    <a:pt x="61" y="69"/>
                  </a:lnTo>
                  <a:lnTo>
                    <a:pt x="58" y="82"/>
                  </a:lnTo>
                  <a:lnTo>
                    <a:pt x="94" y="149"/>
                  </a:lnTo>
                  <a:lnTo>
                    <a:pt x="79" y="165"/>
                  </a:lnTo>
                  <a:lnTo>
                    <a:pt x="71" y="167"/>
                  </a:lnTo>
                  <a:lnTo>
                    <a:pt x="71" y="182"/>
                  </a:lnTo>
                  <a:lnTo>
                    <a:pt x="85" y="199"/>
                  </a:lnTo>
                  <a:lnTo>
                    <a:pt x="83" y="211"/>
                  </a:lnTo>
                  <a:lnTo>
                    <a:pt x="104" y="272"/>
                  </a:lnTo>
                  <a:lnTo>
                    <a:pt x="115" y="284"/>
                  </a:lnTo>
                  <a:lnTo>
                    <a:pt x="119" y="347"/>
                  </a:lnTo>
                  <a:lnTo>
                    <a:pt x="48" y="435"/>
                  </a:lnTo>
                  <a:lnTo>
                    <a:pt x="35" y="470"/>
                  </a:lnTo>
                  <a:lnTo>
                    <a:pt x="31" y="498"/>
                  </a:lnTo>
                  <a:lnTo>
                    <a:pt x="17" y="535"/>
                  </a:lnTo>
                  <a:lnTo>
                    <a:pt x="25" y="546"/>
                  </a:lnTo>
                  <a:lnTo>
                    <a:pt x="2" y="579"/>
                  </a:lnTo>
                  <a:lnTo>
                    <a:pt x="8" y="631"/>
                  </a:lnTo>
                  <a:lnTo>
                    <a:pt x="0" y="650"/>
                  </a:lnTo>
                  <a:lnTo>
                    <a:pt x="8" y="66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0" name="Freeform 133"/>
            <p:cNvSpPr>
              <a:spLocks/>
            </p:cNvSpPr>
            <p:nvPr/>
          </p:nvSpPr>
          <p:spPr bwMode="auto">
            <a:xfrm rot="127247">
              <a:off x="2877" y="2366"/>
              <a:ext cx="312" cy="391"/>
            </a:xfrm>
            <a:custGeom>
              <a:avLst/>
              <a:gdLst>
                <a:gd name="T0" fmla="*/ 794 w 1024"/>
                <a:gd name="T1" fmla="*/ 5 h 1072"/>
                <a:gd name="T2" fmla="*/ 898 w 1024"/>
                <a:gd name="T3" fmla="*/ 46 h 1072"/>
                <a:gd name="T4" fmla="*/ 953 w 1024"/>
                <a:gd name="T5" fmla="*/ 59 h 1072"/>
                <a:gd name="T6" fmla="*/ 1001 w 1024"/>
                <a:gd name="T7" fmla="*/ 92 h 1072"/>
                <a:gd name="T8" fmla="*/ 994 w 1024"/>
                <a:gd name="T9" fmla="*/ 115 h 1072"/>
                <a:gd name="T10" fmla="*/ 994 w 1024"/>
                <a:gd name="T11" fmla="*/ 151 h 1072"/>
                <a:gd name="T12" fmla="*/ 978 w 1024"/>
                <a:gd name="T13" fmla="*/ 228 h 1072"/>
                <a:gd name="T14" fmla="*/ 950 w 1024"/>
                <a:gd name="T15" fmla="*/ 274 h 1072"/>
                <a:gd name="T16" fmla="*/ 921 w 1024"/>
                <a:gd name="T17" fmla="*/ 376 h 1072"/>
                <a:gd name="T18" fmla="*/ 900 w 1024"/>
                <a:gd name="T19" fmla="*/ 418 h 1072"/>
                <a:gd name="T20" fmla="*/ 905 w 1024"/>
                <a:gd name="T21" fmla="*/ 475 h 1072"/>
                <a:gd name="T22" fmla="*/ 915 w 1024"/>
                <a:gd name="T23" fmla="*/ 512 h 1072"/>
                <a:gd name="T24" fmla="*/ 915 w 1024"/>
                <a:gd name="T25" fmla="*/ 552 h 1072"/>
                <a:gd name="T26" fmla="*/ 917 w 1024"/>
                <a:gd name="T27" fmla="*/ 590 h 1072"/>
                <a:gd name="T28" fmla="*/ 921 w 1024"/>
                <a:gd name="T29" fmla="*/ 640 h 1072"/>
                <a:gd name="T30" fmla="*/ 957 w 1024"/>
                <a:gd name="T31" fmla="*/ 694 h 1072"/>
                <a:gd name="T32" fmla="*/ 888 w 1024"/>
                <a:gd name="T33" fmla="*/ 788 h 1072"/>
                <a:gd name="T34" fmla="*/ 854 w 1024"/>
                <a:gd name="T35" fmla="*/ 830 h 1072"/>
                <a:gd name="T36" fmla="*/ 867 w 1024"/>
                <a:gd name="T37" fmla="*/ 915 h 1072"/>
                <a:gd name="T38" fmla="*/ 852 w 1024"/>
                <a:gd name="T39" fmla="*/ 974 h 1072"/>
                <a:gd name="T40" fmla="*/ 905 w 1024"/>
                <a:gd name="T41" fmla="*/ 1001 h 1072"/>
                <a:gd name="T42" fmla="*/ 927 w 1024"/>
                <a:gd name="T43" fmla="*/ 1070 h 1072"/>
                <a:gd name="T44" fmla="*/ 886 w 1024"/>
                <a:gd name="T45" fmla="*/ 1072 h 1072"/>
                <a:gd name="T46" fmla="*/ 859 w 1024"/>
                <a:gd name="T47" fmla="*/ 1036 h 1072"/>
                <a:gd name="T48" fmla="*/ 827 w 1024"/>
                <a:gd name="T49" fmla="*/ 1007 h 1072"/>
                <a:gd name="T50" fmla="*/ 796 w 1024"/>
                <a:gd name="T51" fmla="*/ 1003 h 1072"/>
                <a:gd name="T52" fmla="*/ 802 w 1024"/>
                <a:gd name="T53" fmla="*/ 968 h 1072"/>
                <a:gd name="T54" fmla="*/ 754 w 1024"/>
                <a:gd name="T55" fmla="*/ 993 h 1072"/>
                <a:gd name="T56" fmla="*/ 679 w 1024"/>
                <a:gd name="T57" fmla="*/ 970 h 1072"/>
                <a:gd name="T58" fmla="*/ 654 w 1024"/>
                <a:gd name="T59" fmla="*/ 943 h 1072"/>
                <a:gd name="T60" fmla="*/ 620 w 1024"/>
                <a:gd name="T61" fmla="*/ 951 h 1072"/>
                <a:gd name="T62" fmla="*/ 604 w 1024"/>
                <a:gd name="T63" fmla="*/ 919 h 1072"/>
                <a:gd name="T64" fmla="*/ 597 w 1024"/>
                <a:gd name="T65" fmla="*/ 932 h 1072"/>
                <a:gd name="T66" fmla="*/ 503 w 1024"/>
                <a:gd name="T67" fmla="*/ 949 h 1072"/>
                <a:gd name="T68" fmla="*/ 478 w 1024"/>
                <a:gd name="T69" fmla="*/ 846 h 1072"/>
                <a:gd name="T70" fmla="*/ 470 w 1024"/>
                <a:gd name="T71" fmla="*/ 746 h 1072"/>
                <a:gd name="T72" fmla="*/ 409 w 1024"/>
                <a:gd name="T73" fmla="*/ 715 h 1072"/>
                <a:gd name="T74" fmla="*/ 349 w 1024"/>
                <a:gd name="T75" fmla="*/ 698 h 1072"/>
                <a:gd name="T76" fmla="*/ 338 w 1024"/>
                <a:gd name="T77" fmla="*/ 738 h 1072"/>
                <a:gd name="T78" fmla="*/ 286 w 1024"/>
                <a:gd name="T79" fmla="*/ 752 h 1072"/>
                <a:gd name="T80" fmla="*/ 173 w 1024"/>
                <a:gd name="T81" fmla="*/ 633 h 1072"/>
                <a:gd name="T82" fmla="*/ 0 w 1024"/>
                <a:gd name="T83" fmla="*/ 633 h 1072"/>
                <a:gd name="T84" fmla="*/ 15 w 1024"/>
                <a:gd name="T85" fmla="*/ 612 h 1072"/>
                <a:gd name="T86" fmla="*/ 36 w 1024"/>
                <a:gd name="T87" fmla="*/ 590 h 1072"/>
                <a:gd name="T88" fmla="*/ 79 w 1024"/>
                <a:gd name="T89" fmla="*/ 579 h 1072"/>
                <a:gd name="T90" fmla="*/ 163 w 1024"/>
                <a:gd name="T91" fmla="*/ 491 h 1072"/>
                <a:gd name="T92" fmla="*/ 167 w 1024"/>
                <a:gd name="T93" fmla="*/ 466 h 1072"/>
                <a:gd name="T94" fmla="*/ 217 w 1024"/>
                <a:gd name="T95" fmla="*/ 368 h 1072"/>
                <a:gd name="T96" fmla="*/ 278 w 1024"/>
                <a:gd name="T97" fmla="*/ 157 h 1072"/>
                <a:gd name="T98" fmla="*/ 293 w 1024"/>
                <a:gd name="T99" fmla="*/ 86 h 1072"/>
                <a:gd name="T100" fmla="*/ 345 w 1024"/>
                <a:gd name="T101" fmla="*/ 13 h 1072"/>
                <a:gd name="T102" fmla="*/ 409 w 1024"/>
                <a:gd name="T103" fmla="*/ 46 h 1072"/>
                <a:gd name="T104" fmla="*/ 539 w 1024"/>
                <a:gd name="T105" fmla="*/ 23 h 1072"/>
                <a:gd name="T106" fmla="*/ 616 w 1024"/>
                <a:gd name="T107" fmla="*/ 9 h 1072"/>
                <a:gd name="T108" fmla="*/ 677 w 1024"/>
                <a:gd name="T109" fmla="*/ 11 h 1072"/>
                <a:gd name="T110" fmla="*/ 762 w 1024"/>
                <a:gd name="T111" fmla="*/ 11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24" h="1072">
                  <a:moveTo>
                    <a:pt x="794" y="3"/>
                  </a:moveTo>
                  <a:lnTo>
                    <a:pt x="794" y="5"/>
                  </a:lnTo>
                  <a:lnTo>
                    <a:pt x="852" y="46"/>
                  </a:lnTo>
                  <a:lnTo>
                    <a:pt x="898" y="46"/>
                  </a:lnTo>
                  <a:lnTo>
                    <a:pt x="921" y="34"/>
                  </a:lnTo>
                  <a:lnTo>
                    <a:pt x="953" y="59"/>
                  </a:lnTo>
                  <a:lnTo>
                    <a:pt x="996" y="99"/>
                  </a:lnTo>
                  <a:lnTo>
                    <a:pt x="1001" y="92"/>
                  </a:lnTo>
                  <a:lnTo>
                    <a:pt x="1005" y="103"/>
                  </a:lnTo>
                  <a:lnTo>
                    <a:pt x="994" y="115"/>
                  </a:lnTo>
                  <a:lnTo>
                    <a:pt x="1001" y="126"/>
                  </a:lnTo>
                  <a:lnTo>
                    <a:pt x="994" y="151"/>
                  </a:lnTo>
                  <a:lnTo>
                    <a:pt x="1024" y="165"/>
                  </a:lnTo>
                  <a:lnTo>
                    <a:pt x="978" y="228"/>
                  </a:lnTo>
                  <a:lnTo>
                    <a:pt x="948" y="247"/>
                  </a:lnTo>
                  <a:lnTo>
                    <a:pt x="950" y="274"/>
                  </a:lnTo>
                  <a:lnTo>
                    <a:pt x="930" y="307"/>
                  </a:lnTo>
                  <a:lnTo>
                    <a:pt x="921" y="376"/>
                  </a:lnTo>
                  <a:lnTo>
                    <a:pt x="905" y="389"/>
                  </a:lnTo>
                  <a:lnTo>
                    <a:pt x="900" y="418"/>
                  </a:lnTo>
                  <a:lnTo>
                    <a:pt x="879" y="433"/>
                  </a:lnTo>
                  <a:lnTo>
                    <a:pt x="905" y="475"/>
                  </a:lnTo>
                  <a:lnTo>
                    <a:pt x="904" y="491"/>
                  </a:lnTo>
                  <a:lnTo>
                    <a:pt x="915" y="512"/>
                  </a:lnTo>
                  <a:lnTo>
                    <a:pt x="904" y="521"/>
                  </a:lnTo>
                  <a:lnTo>
                    <a:pt x="915" y="552"/>
                  </a:lnTo>
                  <a:lnTo>
                    <a:pt x="915" y="554"/>
                  </a:lnTo>
                  <a:lnTo>
                    <a:pt x="917" y="590"/>
                  </a:lnTo>
                  <a:lnTo>
                    <a:pt x="927" y="629"/>
                  </a:lnTo>
                  <a:lnTo>
                    <a:pt x="921" y="640"/>
                  </a:lnTo>
                  <a:lnTo>
                    <a:pt x="927" y="671"/>
                  </a:lnTo>
                  <a:lnTo>
                    <a:pt x="957" y="694"/>
                  </a:lnTo>
                  <a:lnTo>
                    <a:pt x="988" y="771"/>
                  </a:lnTo>
                  <a:lnTo>
                    <a:pt x="888" y="788"/>
                  </a:lnTo>
                  <a:lnTo>
                    <a:pt x="865" y="825"/>
                  </a:lnTo>
                  <a:lnTo>
                    <a:pt x="854" y="830"/>
                  </a:lnTo>
                  <a:lnTo>
                    <a:pt x="867" y="848"/>
                  </a:lnTo>
                  <a:lnTo>
                    <a:pt x="867" y="915"/>
                  </a:lnTo>
                  <a:lnTo>
                    <a:pt x="858" y="934"/>
                  </a:lnTo>
                  <a:lnTo>
                    <a:pt x="852" y="974"/>
                  </a:lnTo>
                  <a:lnTo>
                    <a:pt x="902" y="1013"/>
                  </a:lnTo>
                  <a:lnTo>
                    <a:pt x="905" y="1001"/>
                  </a:lnTo>
                  <a:lnTo>
                    <a:pt x="929" y="997"/>
                  </a:lnTo>
                  <a:lnTo>
                    <a:pt x="927" y="1070"/>
                  </a:lnTo>
                  <a:lnTo>
                    <a:pt x="907" y="1059"/>
                  </a:lnTo>
                  <a:lnTo>
                    <a:pt x="886" y="1072"/>
                  </a:lnTo>
                  <a:lnTo>
                    <a:pt x="871" y="1049"/>
                  </a:lnTo>
                  <a:lnTo>
                    <a:pt x="859" y="1036"/>
                  </a:lnTo>
                  <a:lnTo>
                    <a:pt x="852" y="1016"/>
                  </a:lnTo>
                  <a:lnTo>
                    <a:pt x="827" y="1007"/>
                  </a:lnTo>
                  <a:lnTo>
                    <a:pt x="817" y="997"/>
                  </a:lnTo>
                  <a:lnTo>
                    <a:pt x="796" y="1003"/>
                  </a:lnTo>
                  <a:lnTo>
                    <a:pt x="792" y="978"/>
                  </a:lnTo>
                  <a:lnTo>
                    <a:pt x="802" y="968"/>
                  </a:lnTo>
                  <a:lnTo>
                    <a:pt x="777" y="965"/>
                  </a:lnTo>
                  <a:lnTo>
                    <a:pt x="754" y="993"/>
                  </a:lnTo>
                  <a:lnTo>
                    <a:pt x="723" y="978"/>
                  </a:lnTo>
                  <a:lnTo>
                    <a:pt x="679" y="970"/>
                  </a:lnTo>
                  <a:lnTo>
                    <a:pt x="669" y="943"/>
                  </a:lnTo>
                  <a:lnTo>
                    <a:pt x="654" y="943"/>
                  </a:lnTo>
                  <a:lnTo>
                    <a:pt x="631" y="961"/>
                  </a:lnTo>
                  <a:lnTo>
                    <a:pt x="620" y="951"/>
                  </a:lnTo>
                  <a:lnTo>
                    <a:pt x="625" y="940"/>
                  </a:lnTo>
                  <a:lnTo>
                    <a:pt x="604" y="919"/>
                  </a:lnTo>
                  <a:lnTo>
                    <a:pt x="595" y="930"/>
                  </a:lnTo>
                  <a:lnTo>
                    <a:pt x="597" y="932"/>
                  </a:lnTo>
                  <a:lnTo>
                    <a:pt x="527" y="932"/>
                  </a:lnTo>
                  <a:lnTo>
                    <a:pt x="503" y="949"/>
                  </a:lnTo>
                  <a:lnTo>
                    <a:pt x="501" y="880"/>
                  </a:lnTo>
                  <a:lnTo>
                    <a:pt x="478" y="846"/>
                  </a:lnTo>
                  <a:lnTo>
                    <a:pt x="485" y="782"/>
                  </a:lnTo>
                  <a:lnTo>
                    <a:pt x="470" y="746"/>
                  </a:lnTo>
                  <a:lnTo>
                    <a:pt x="480" y="717"/>
                  </a:lnTo>
                  <a:lnTo>
                    <a:pt x="409" y="715"/>
                  </a:lnTo>
                  <a:lnTo>
                    <a:pt x="420" y="698"/>
                  </a:lnTo>
                  <a:lnTo>
                    <a:pt x="349" y="698"/>
                  </a:lnTo>
                  <a:lnTo>
                    <a:pt x="347" y="734"/>
                  </a:lnTo>
                  <a:lnTo>
                    <a:pt x="338" y="738"/>
                  </a:lnTo>
                  <a:lnTo>
                    <a:pt x="330" y="759"/>
                  </a:lnTo>
                  <a:lnTo>
                    <a:pt x="286" y="752"/>
                  </a:lnTo>
                  <a:lnTo>
                    <a:pt x="234" y="759"/>
                  </a:lnTo>
                  <a:lnTo>
                    <a:pt x="173" y="633"/>
                  </a:lnTo>
                  <a:lnTo>
                    <a:pt x="2" y="635"/>
                  </a:lnTo>
                  <a:lnTo>
                    <a:pt x="0" y="633"/>
                  </a:lnTo>
                  <a:lnTo>
                    <a:pt x="0" y="619"/>
                  </a:lnTo>
                  <a:lnTo>
                    <a:pt x="15" y="612"/>
                  </a:lnTo>
                  <a:lnTo>
                    <a:pt x="38" y="600"/>
                  </a:lnTo>
                  <a:lnTo>
                    <a:pt x="36" y="590"/>
                  </a:lnTo>
                  <a:lnTo>
                    <a:pt x="54" y="583"/>
                  </a:lnTo>
                  <a:lnTo>
                    <a:pt x="79" y="579"/>
                  </a:lnTo>
                  <a:lnTo>
                    <a:pt x="130" y="539"/>
                  </a:lnTo>
                  <a:lnTo>
                    <a:pt x="163" y="491"/>
                  </a:lnTo>
                  <a:lnTo>
                    <a:pt x="155" y="475"/>
                  </a:lnTo>
                  <a:lnTo>
                    <a:pt x="167" y="466"/>
                  </a:lnTo>
                  <a:lnTo>
                    <a:pt x="157" y="427"/>
                  </a:lnTo>
                  <a:lnTo>
                    <a:pt x="217" y="368"/>
                  </a:lnTo>
                  <a:lnTo>
                    <a:pt x="244" y="347"/>
                  </a:lnTo>
                  <a:lnTo>
                    <a:pt x="278" y="157"/>
                  </a:lnTo>
                  <a:lnTo>
                    <a:pt x="303" y="119"/>
                  </a:lnTo>
                  <a:lnTo>
                    <a:pt x="293" y="86"/>
                  </a:lnTo>
                  <a:lnTo>
                    <a:pt x="322" y="32"/>
                  </a:lnTo>
                  <a:lnTo>
                    <a:pt x="345" y="13"/>
                  </a:lnTo>
                  <a:lnTo>
                    <a:pt x="382" y="25"/>
                  </a:lnTo>
                  <a:lnTo>
                    <a:pt x="409" y="46"/>
                  </a:lnTo>
                  <a:lnTo>
                    <a:pt x="518" y="59"/>
                  </a:lnTo>
                  <a:lnTo>
                    <a:pt x="539" y="23"/>
                  </a:lnTo>
                  <a:lnTo>
                    <a:pt x="570" y="36"/>
                  </a:lnTo>
                  <a:lnTo>
                    <a:pt x="616" y="9"/>
                  </a:lnTo>
                  <a:lnTo>
                    <a:pt x="643" y="19"/>
                  </a:lnTo>
                  <a:lnTo>
                    <a:pt x="677" y="11"/>
                  </a:lnTo>
                  <a:lnTo>
                    <a:pt x="683" y="0"/>
                  </a:lnTo>
                  <a:lnTo>
                    <a:pt x="762" y="11"/>
                  </a:lnTo>
                  <a:lnTo>
                    <a:pt x="794" y="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1" name="Freeform 134"/>
            <p:cNvSpPr>
              <a:spLocks/>
            </p:cNvSpPr>
            <p:nvPr/>
          </p:nvSpPr>
          <p:spPr bwMode="auto">
            <a:xfrm rot="127247">
              <a:off x="3146" y="2501"/>
              <a:ext cx="38" cy="38"/>
            </a:xfrm>
            <a:custGeom>
              <a:avLst/>
              <a:gdLst>
                <a:gd name="T0" fmla="*/ 42 w 120"/>
                <a:gd name="T1" fmla="*/ 10 h 104"/>
                <a:gd name="T2" fmla="*/ 42 w 120"/>
                <a:gd name="T3" fmla="*/ 18 h 104"/>
                <a:gd name="T4" fmla="*/ 26 w 120"/>
                <a:gd name="T5" fmla="*/ 31 h 104"/>
                <a:gd name="T6" fmla="*/ 21 w 120"/>
                <a:gd name="T7" fmla="*/ 60 h 104"/>
                <a:gd name="T8" fmla="*/ 0 w 120"/>
                <a:gd name="T9" fmla="*/ 75 h 104"/>
                <a:gd name="T10" fmla="*/ 19 w 120"/>
                <a:gd name="T11" fmla="*/ 104 h 104"/>
                <a:gd name="T12" fmla="*/ 65 w 120"/>
                <a:gd name="T13" fmla="*/ 102 h 104"/>
                <a:gd name="T14" fmla="*/ 65 w 120"/>
                <a:gd name="T15" fmla="*/ 100 h 104"/>
                <a:gd name="T16" fmla="*/ 67 w 120"/>
                <a:gd name="T17" fmla="*/ 85 h 104"/>
                <a:gd name="T18" fmla="*/ 113 w 120"/>
                <a:gd name="T19" fmla="*/ 83 h 104"/>
                <a:gd name="T20" fmla="*/ 120 w 120"/>
                <a:gd name="T21" fmla="*/ 27 h 104"/>
                <a:gd name="T22" fmla="*/ 96 w 120"/>
                <a:gd name="T23" fmla="*/ 0 h 104"/>
                <a:gd name="T24" fmla="*/ 65 w 120"/>
                <a:gd name="T25" fmla="*/ 16 h 104"/>
                <a:gd name="T26" fmla="*/ 42 w 120"/>
                <a:gd name="T27" fmla="*/ 1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104">
                  <a:moveTo>
                    <a:pt x="42" y="10"/>
                  </a:moveTo>
                  <a:lnTo>
                    <a:pt x="42" y="18"/>
                  </a:lnTo>
                  <a:lnTo>
                    <a:pt x="26" y="31"/>
                  </a:lnTo>
                  <a:lnTo>
                    <a:pt x="21" y="60"/>
                  </a:lnTo>
                  <a:lnTo>
                    <a:pt x="0" y="75"/>
                  </a:lnTo>
                  <a:lnTo>
                    <a:pt x="19" y="104"/>
                  </a:lnTo>
                  <a:lnTo>
                    <a:pt x="65" y="102"/>
                  </a:lnTo>
                  <a:lnTo>
                    <a:pt x="65" y="100"/>
                  </a:lnTo>
                  <a:lnTo>
                    <a:pt x="67" y="85"/>
                  </a:lnTo>
                  <a:lnTo>
                    <a:pt x="113" y="83"/>
                  </a:lnTo>
                  <a:lnTo>
                    <a:pt x="120" y="27"/>
                  </a:lnTo>
                  <a:lnTo>
                    <a:pt x="96" y="0"/>
                  </a:lnTo>
                  <a:lnTo>
                    <a:pt x="65" y="16"/>
                  </a:lnTo>
                  <a:lnTo>
                    <a:pt x="42" y="1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2" name="Freeform 135"/>
            <p:cNvSpPr>
              <a:spLocks/>
            </p:cNvSpPr>
            <p:nvPr/>
          </p:nvSpPr>
          <p:spPr bwMode="auto">
            <a:xfrm rot="127247">
              <a:off x="3151" y="2535"/>
              <a:ext cx="31" cy="39"/>
            </a:xfrm>
            <a:custGeom>
              <a:avLst/>
              <a:gdLst>
                <a:gd name="T0" fmla="*/ 7 w 103"/>
                <a:gd name="T1" fmla="*/ 26 h 107"/>
                <a:gd name="T2" fmla="*/ 6 w 103"/>
                <a:gd name="T3" fmla="*/ 42 h 107"/>
                <a:gd name="T4" fmla="*/ 17 w 103"/>
                <a:gd name="T5" fmla="*/ 63 h 107"/>
                <a:gd name="T6" fmla="*/ 6 w 103"/>
                <a:gd name="T7" fmla="*/ 72 h 107"/>
                <a:gd name="T8" fmla="*/ 17 w 103"/>
                <a:gd name="T9" fmla="*/ 105 h 107"/>
                <a:gd name="T10" fmla="*/ 42 w 103"/>
                <a:gd name="T11" fmla="*/ 107 h 107"/>
                <a:gd name="T12" fmla="*/ 63 w 103"/>
                <a:gd name="T13" fmla="*/ 86 h 107"/>
                <a:gd name="T14" fmla="*/ 88 w 103"/>
                <a:gd name="T15" fmla="*/ 55 h 107"/>
                <a:gd name="T16" fmla="*/ 103 w 103"/>
                <a:gd name="T17" fmla="*/ 44 h 107"/>
                <a:gd name="T18" fmla="*/ 103 w 103"/>
                <a:gd name="T19" fmla="*/ 30 h 107"/>
                <a:gd name="T20" fmla="*/ 78 w 103"/>
                <a:gd name="T21" fmla="*/ 9 h 107"/>
                <a:gd name="T22" fmla="*/ 78 w 103"/>
                <a:gd name="T23" fmla="*/ 0 h 107"/>
                <a:gd name="T24" fmla="*/ 46 w 103"/>
                <a:gd name="T25" fmla="*/ 11 h 107"/>
                <a:gd name="T26" fmla="*/ 0 w 103"/>
                <a:gd name="T27" fmla="*/ 13 h 107"/>
                <a:gd name="T28" fmla="*/ 7 w 103"/>
                <a:gd name="T29" fmla="*/ 2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" h="107">
                  <a:moveTo>
                    <a:pt x="7" y="26"/>
                  </a:moveTo>
                  <a:lnTo>
                    <a:pt x="6" y="42"/>
                  </a:lnTo>
                  <a:lnTo>
                    <a:pt x="17" y="63"/>
                  </a:lnTo>
                  <a:lnTo>
                    <a:pt x="6" y="72"/>
                  </a:lnTo>
                  <a:lnTo>
                    <a:pt x="17" y="105"/>
                  </a:lnTo>
                  <a:lnTo>
                    <a:pt x="42" y="107"/>
                  </a:lnTo>
                  <a:lnTo>
                    <a:pt x="63" y="86"/>
                  </a:lnTo>
                  <a:lnTo>
                    <a:pt x="88" y="55"/>
                  </a:lnTo>
                  <a:lnTo>
                    <a:pt x="103" y="44"/>
                  </a:lnTo>
                  <a:lnTo>
                    <a:pt x="103" y="30"/>
                  </a:lnTo>
                  <a:lnTo>
                    <a:pt x="78" y="9"/>
                  </a:lnTo>
                  <a:lnTo>
                    <a:pt x="78" y="0"/>
                  </a:lnTo>
                  <a:lnTo>
                    <a:pt x="46" y="11"/>
                  </a:lnTo>
                  <a:lnTo>
                    <a:pt x="0" y="13"/>
                  </a:lnTo>
                  <a:lnTo>
                    <a:pt x="7" y="2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3" name="Freeform 136"/>
            <p:cNvSpPr>
              <a:spLocks/>
            </p:cNvSpPr>
            <p:nvPr/>
          </p:nvSpPr>
          <p:spPr bwMode="auto">
            <a:xfrm rot="127247">
              <a:off x="3162" y="2393"/>
              <a:ext cx="94" cy="115"/>
            </a:xfrm>
            <a:custGeom>
              <a:avLst/>
              <a:gdLst>
                <a:gd name="T0" fmla="*/ 82 w 307"/>
                <a:gd name="T1" fmla="*/ 35 h 317"/>
                <a:gd name="T2" fmla="*/ 88 w 307"/>
                <a:gd name="T3" fmla="*/ 25 h 317"/>
                <a:gd name="T4" fmla="*/ 128 w 307"/>
                <a:gd name="T5" fmla="*/ 25 h 317"/>
                <a:gd name="T6" fmla="*/ 144 w 307"/>
                <a:gd name="T7" fmla="*/ 42 h 317"/>
                <a:gd name="T8" fmla="*/ 173 w 307"/>
                <a:gd name="T9" fmla="*/ 17 h 317"/>
                <a:gd name="T10" fmla="*/ 232 w 307"/>
                <a:gd name="T11" fmla="*/ 21 h 317"/>
                <a:gd name="T12" fmla="*/ 247 w 307"/>
                <a:gd name="T13" fmla="*/ 0 h 317"/>
                <a:gd name="T14" fmla="*/ 276 w 307"/>
                <a:gd name="T15" fmla="*/ 23 h 317"/>
                <a:gd name="T16" fmla="*/ 282 w 307"/>
                <a:gd name="T17" fmla="*/ 58 h 317"/>
                <a:gd name="T18" fmla="*/ 301 w 307"/>
                <a:gd name="T19" fmla="*/ 77 h 317"/>
                <a:gd name="T20" fmla="*/ 307 w 307"/>
                <a:gd name="T21" fmla="*/ 102 h 317"/>
                <a:gd name="T22" fmla="*/ 307 w 307"/>
                <a:gd name="T23" fmla="*/ 144 h 317"/>
                <a:gd name="T24" fmla="*/ 284 w 307"/>
                <a:gd name="T25" fmla="*/ 159 h 317"/>
                <a:gd name="T26" fmla="*/ 265 w 307"/>
                <a:gd name="T27" fmla="*/ 198 h 317"/>
                <a:gd name="T28" fmla="*/ 242 w 307"/>
                <a:gd name="T29" fmla="*/ 228 h 317"/>
                <a:gd name="T30" fmla="*/ 249 w 307"/>
                <a:gd name="T31" fmla="*/ 246 h 317"/>
                <a:gd name="T32" fmla="*/ 247 w 307"/>
                <a:gd name="T33" fmla="*/ 292 h 317"/>
                <a:gd name="T34" fmla="*/ 63 w 307"/>
                <a:gd name="T35" fmla="*/ 294 h 317"/>
                <a:gd name="T36" fmla="*/ 54 w 307"/>
                <a:gd name="T37" fmla="*/ 301 h 317"/>
                <a:gd name="T38" fmla="*/ 23 w 307"/>
                <a:gd name="T39" fmla="*/ 317 h 317"/>
                <a:gd name="T40" fmla="*/ 0 w 307"/>
                <a:gd name="T41" fmla="*/ 311 h 317"/>
                <a:gd name="T42" fmla="*/ 9 w 307"/>
                <a:gd name="T43" fmla="*/ 250 h 317"/>
                <a:gd name="T44" fmla="*/ 29 w 307"/>
                <a:gd name="T45" fmla="*/ 217 h 317"/>
                <a:gd name="T46" fmla="*/ 27 w 307"/>
                <a:gd name="T47" fmla="*/ 190 h 317"/>
                <a:gd name="T48" fmla="*/ 57 w 307"/>
                <a:gd name="T49" fmla="*/ 171 h 317"/>
                <a:gd name="T50" fmla="*/ 103 w 307"/>
                <a:gd name="T51" fmla="*/ 108 h 317"/>
                <a:gd name="T52" fmla="*/ 73 w 307"/>
                <a:gd name="T53" fmla="*/ 94 h 317"/>
                <a:gd name="T54" fmla="*/ 80 w 307"/>
                <a:gd name="T55" fmla="*/ 69 h 317"/>
                <a:gd name="T56" fmla="*/ 73 w 307"/>
                <a:gd name="T57" fmla="*/ 58 h 317"/>
                <a:gd name="T58" fmla="*/ 84 w 307"/>
                <a:gd name="T59" fmla="*/ 46 h 317"/>
                <a:gd name="T60" fmla="*/ 82 w 307"/>
                <a:gd name="T61" fmla="*/ 3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07" h="317">
                  <a:moveTo>
                    <a:pt x="82" y="35"/>
                  </a:moveTo>
                  <a:lnTo>
                    <a:pt x="88" y="25"/>
                  </a:lnTo>
                  <a:lnTo>
                    <a:pt x="128" y="25"/>
                  </a:lnTo>
                  <a:lnTo>
                    <a:pt x="144" y="42"/>
                  </a:lnTo>
                  <a:lnTo>
                    <a:pt x="173" y="17"/>
                  </a:lnTo>
                  <a:lnTo>
                    <a:pt x="232" y="21"/>
                  </a:lnTo>
                  <a:lnTo>
                    <a:pt x="247" y="0"/>
                  </a:lnTo>
                  <a:lnTo>
                    <a:pt x="276" y="23"/>
                  </a:lnTo>
                  <a:lnTo>
                    <a:pt x="282" y="58"/>
                  </a:lnTo>
                  <a:lnTo>
                    <a:pt x="301" y="77"/>
                  </a:lnTo>
                  <a:lnTo>
                    <a:pt x="307" y="102"/>
                  </a:lnTo>
                  <a:lnTo>
                    <a:pt x="307" y="144"/>
                  </a:lnTo>
                  <a:lnTo>
                    <a:pt x="284" y="159"/>
                  </a:lnTo>
                  <a:lnTo>
                    <a:pt x="265" y="198"/>
                  </a:lnTo>
                  <a:lnTo>
                    <a:pt x="242" y="228"/>
                  </a:lnTo>
                  <a:lnTo>
                    <a:pt x="249" y="246"/>
                  </a:lnTo>
                  <a:lnTo>
                    <a:pt x="247" y="292"/>
                  </a:lnTo>
                  <a:lnTo>
                    <a:pt x="63" y="294"/>
                  </a:lnTo>
                  <a:lnTo>
                    <a:pt x="54" y="301"/>
                  </a:lnTo>
                  <a:lnTo>
                    <a:pt x="23" y="317"/>
                  </a:lnTo>
                  <a:lnTo>
                    <a:pt x="0" y="311"/>
                  </a:lnTo>
                  <a:lnTo>
                    <a:pt x="9" y="250"/>
                  </a:lnTo>
                  <a:lnTo>
                    <a:pt x="29" y="217"/>
                  </a:lnTo>
                  <a:lnTo>
                    <a:pt x="27" y="190"/>
                  </a:lnTo>
                  <a:lnTo>
                    <a:pt x="57" y="171"/>
                  </a:lnTo>
                  <a:lnTo>
                    <a:pt x="103" y="108"/>
                  </a:lnTo>
                  <a:lnTo>
                    <a:pt x="73" y="94"/>
                  </a:lnTo>
                  <a:lnTo>
                    <a:pt x="80" y="69"/>
                  </a:lnTo>
                  <a:lnTo>
                    <a:pt x="73" y="58"/>
                  </a:lnTo>
                  <a:lnTo>
                    <a:pt x="84" y="46"/>
                  </a:lnTo>
                  <a:lnTo>
                    <a:pt x="82" y="3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4" name="Freeform 137"/>
            <p:cNvSpPr>
              <a:spLocks/>
            </p:cNvSpPr>
            <p:nvPr/>
          </p:nvSpPr>
          <p:spPr bwMode="auto">
            <a:xfrm rot="127247">
              <a:off x="2857" y="2561"/>
              <a:ext cx="38" cy="36"/>
            </a:xfrm>
            <a:custGeom>
              <a:avLst/>
              <a:gdLst>
                <a:gd name="T0" fmla="*/ 46 w 126"/>
                <a:gd name="T1" fmla="*/ 83 h 96"/>
                <a:gd name="T2" fmla="*/ 4 w 126"/>
                <a:gd name="T3" fmla="*/ 96 h 96"/>
                <a:gd name="T4" fmla="*/ 0 w 126"/>
                <a:gd name="T5" fmla="*/ 88 h 96"/>
                <a:gd name="T6" fmla="*/ 17 w 126"/>
                <a:gd name="T7" fmla="*/ 69 h 96"/>
                <a:gd name="T8" fmla="*/ 11 w 126"/>
                <a:gd name="T9" fmla="*/ 44 h 96"/>
                <a:gd name="T10" fmla="*/ 27 w 126"/>
                <a:gd name="T11" fmla="*/ 29 h 96"/>
                <a:gd name="T12" fmla="*/ 52 w 126"/>
                <a:gd name="T13" fmla="*/ 23 h 96"/>
                <a:gd name="T14" fmla="*/ 67 w 126"/>
                <a:gd name="T15" fmla="*/ 38 h 96"/>
                <a:gd name="T16" fmla="*/ 84 w 126"/>
                <a:gd name="T17" fmla="*/ 17 h 96"/>
                <a:gd name="T18" fmla="*/ 121 w 126"/>
                <a:gd name="T19" fmla="*/ 0 h 96"/>
                <a:gd name="T20" fmla="*/ 126 w 126"/>
                <a:gd name="T21" fmla="*/ 8 h 96"/>
                <a:gd name="T22" fmla="*/ 115 w 126"/>
                <a:gd name="T23" fmla="*/ 17 h 96"/>
                <a:gd name="T24" fmla="*/ 121 w 126"/>
                <a:gd name="T25" fmla="*/ 31 h 96"/>
                <a:gd name="T26" fmla="*/ 105 w 126"/>
                <a:gd name="T27" fmla="*/ 38 h 96"/>
                <a:gd name="T28" fmla="*/ 107 w 126"/>
                <a:gd name="T29" fmla="*/ 48 h 96"/>
                <a:gd name="T30" fmla="*/ 84 w 126"/>
                <a:gd name="T31" fmla="*/ 60 h 96"/>
                <a:gd name="T32" fmla="*/ 69 w 126"/>
                <a:gd name="T33" fmla="*/ 67 h 96"/>
                <a:gd name="T34" fmla="*/ 69 w 126"/>
                <a:gd name="T35" fmla="*/ 81 h 96"/>
                <a:gd name="T36" fmla="*/ 71 w 126"/>
                <a:gd name="T37" fmla="*/ 83 h 96"/>
                <a:gd name="T38" fmla="*/ 46 w 126"/>
                <a:gd name="T39" fmla="*/ 8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6" h="96">
                  <a:moveTo>
                    <a:pt x="46" y="83"/>
                  </a:moveTo>
                  <a:lnTo>
                    <a:pt x="4" y="96"/>
                  </a:lnTo>
                  <a:lnTo>
                    <a:pt x="0" y="88"/>
                  </a:lnTo>
                  <a:lnTo>
                    <a:pt x="17" y="69"/>
                  </a:lnTo>
                  <a:lnTo>
                    <a:pt x="11" y="44"/>
                  </a:lnTo>
                  <a:lnTo>
                    <a:pt x="27" y="29"/>
                  </a:lnTo>
                  <a:lnTo>
                    <a:pt x="52" y="23"/>
                  </a:lnTo>
                  <a:lnTo>
                    <a:pt x="67" y="38"/>
                  </a:lnTo>
                  <a:lnTo>
                    <a:pt x="84" y="17"/>
                  </a:lnTo>
                  <a:lnTo>
                    <a:pt x="121" y="0"/>
                  </a:lnTo>
                  <a:lnTo>
                    <a:pt x="126" y="8"/>
                  </a:lnTo>
                  <a:lnTo>
                    <a:pt x="115" y="17"/>
                  </a:lnTo>
                  <a:lnTo>
                    <a:pt x="121" y="31"/>
                  </a:lnTo>
                  <a:lnTo>
                    <a:pt x="105" y="38"/>
                  </a:lnTo>
                  <a:lnTo>
                    <a:pt x="107" y="48"/>
                  </a:lnTo>
                  <a:lnTo>
                    <a:pt x="84" y="60"/>
                  </a:lnTo>
                  <a:lnTo>
                    <a:pt x="69" y="67"/>
                  </a:lnTo>
                  <a:lnTo>
                    <a:pt x="69" y="81"/>
                  </a:lnTo>
                  <a:lnTo>
                    <a:pt x="71" y="83"/>
                  </a:lnTo>
                  <a:lnTo>
                    <a:pt x="46" y="8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5" name="Freeform 138"/>
            <p:cNvSpPr>
              <a:spLocks/>
            </p:cNvSpPr>
            <p:nvPr/>
          </p:nvSpPr>
          <p:spPr bwMode="auto">
            <a:xfrm rot="127247">
              <a:off x="2852" y="2560"/>
              <a:ext cx="18" cy="31"/>
            </a:xfrm>
            <a:custGeom>
              <a:avLst/>
              <a:gdLst>
                <a:gd name="T0" fmla="*/ 21 w 63"/>
                <a:gd name="T1" fmla="*/ 85 h 85"/>
                <a:gd name="T2" fmla="*/ 34 w 63"/>
                <a:gd name="T3" fmla="*/ 69 h 85"/>
                <a:gd name="T4" fmla="*/ 28 w 63"/>
                <a:gd name="T5" fmla="*/ 44 h 85"/>
                <a:gd name="T6" fmla="*/ 44 w 63"/>
                <a:gd name="T7" fmla="*/ 29 h 85"/>
                <a:gd name="T8" fmla="*/ 63 w 63"/>
                <a:gd name="T9" fmla="*/ 23 h 85"/>
                <a:gd name="T10" fmla="*/ 55 w 63"/>
                <a:gd name="T11" fmla="*/ 0 h 85"/>
                <a:gd name="T12" fmla="*/ 13 w 63"/>
                <a:gd name="T13" fmla="*/ 25 h 85"/>
                <a:gd name="T14" fmla="*/ 0 w 63"/>
                <a:gd name="T15" fmla="*/ 44 h 85"/>
                <a:gd name="T16" fmla="*/ 7 w 63"/>
                <a:gd name="T17" fmla="*/ 83 h 85"/>
                <a:gd name="T18" fmla="*/ 21 w 63"/>
                <a:gd name="T1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3" h="85">
                  <a:moveTo>
                    <a:pt x="21" y="85"/>
                  </a:moveTo>
                  <a:lnTo>
                    <a:pt x="34" y="69"/>
                  </a:lnTo>
                  <a:lnTo>
                    <a:pt x="28" y="44"/>
                  </a:lnTo>
                  <a:lnTo>
                    <a:pt x="44" y="29"/>
                  </a:lnTo>
                  <a:lnTo>
                    <a:pt x="63" y="23"/>
                  </a:lnTo>
                  <a:lnTo>
                    <a:pt x="55" y="0"/>
                  </a:lnTo>
                  <a:lnTo>
                    <a:pt x="13" y="25"/>
                  </a:lnTo>
                  <a:lnTo>
                    <a:pt x="0" y="44"/>
                  </a:lnTo>
                  <a:lnTo>
                    <a:pt x="7" y="83"/>
                  </a:lnTo>
                  <a:lnTo>
                    <a:pt x="21" y="8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6" name="Freeform 139"/>
            <p:cNvSpPr>
              <a:spLocks/>
            </p:cNvSpPr>
            <p:nvPr/>
          </p:nvSpPr>
          <p:spPr bwMode="auto">
            <a:xfrm rot="127247">
              <a:off x="2838" y="2389"/>
              <a:ext cx="135" cy="187"/>
            </a:xfrm>
            <a:custGeom>
              <a:avLst/>
              <a:gdLst>
                <a:gd name="T0" fmla="*/ 115 w 441"/>
                <a:gd name="T1" fmla="*/ 499 h 514"/>
                <a:gd name="T2" fmla="*/ 107 w 441"/>
                <a:gd name="T3" fmla="*/ 476 h 514"/>
                <a:gd name="T4" fmla="*/ 65 w 441"/>
                <a:gd name="T5" fmla="*/ 501 h 514"/>
                <a:gd name="T6" fmla="*/ 61 w 441"/>
                <a:gd name="T7" fmla="*/ 507 h 514"/>
                <a:gd name="T8" fmla="*/ 44 w 441"/>
                <a:gd name="T9" fmla="*/ 511 h 514"/>
                <a:gd name="T10" fmla="*/ 28 w 441"/>
                <a:gd name="T11" fmla="*/ 476 h 514"/>
                <a:gd name="T12" fmla="*/ 0 w 441"/>
                <a:gd name="T13" fmla="*/ 451 h 514"/>
                <a:gd name="T14" fmla="*/ 21 w 441"/>
                <a:gd name="T15" fmla="*/ 426 h 514"/>
                <a:gd name="T16" fmla="*/ 42 w 441"/>
                <a:gd name="T17" fmla="*/ 438 h 514"/>
                <a:gd name="T18" fmla="*/ 53 w 441"/>
                <a:gd name="T19" fmla="*/ 426 h 514"/>
                <a:gd name="T20" fmla="*/ 42 w 441"/>
                <a:gd name="T21" fmla="*/ 420 h 514"/>
                <a:gd name="T22" fmla="*/ 23 w 441"/>
                <a:gd name="T23" fmla="*/ 384 h 514"/>
                <a:gd name="T24" fmla="*/ 32 w 441"/>
                <a:gd name="T25" fmla="*/ 378 h 514"/>
                <a:gd name="T26" fmla="*/ 23 w 441"/>
                <a:gd name="T27" fmla="*/ 353 h 514"/>
                <a:gd name="T28" fmla="*/ 75 w 441"/>
                <a:gd name="T29" fmla="*/ 355 h 514"/>
                <a:gd name="T30" fmla="*/ 80 w 441"/>
                <a:gd name="T31" fmla="*/ 325 h 514"/>
                <a:gd name="T32" fmla="*/ 99 w 441"/>
                <a:gd name="T33" fmla="*/ 326 h 514"/>
                <a:gd name="T34" fmla="*/ 123 w 441"/>
                <a:gd name="T35" fmla="*/ 363 h 514"/>
                <a:gd name="T36" fmla="*/ 149 w 441"/>
                <a:gd name="T37" fmla="*/ 344 h 514"/>
                <a:gd name="T38" fmla="*/ 167 w 441"/>
                <a:gd name="T39" fmla="*/ 359 h 514"/>
                <a:gd name="T40" fmla="*/ 188 w 441"/>
                <a:gd name="T41" fmla="*/ 309 h 514"/>
                <a:gd name="T42" fmla="*/ 184 w 441"/>
                <a:gd name="T43" fmla="*/ 292 h 514"/>
                <a:gd name="T44" fmla="*/ 195 w 441"/>
                <a:gd name="T45" fmla="*/ 261 h 514"/>
                <a:gd name="T46" fmla="*/ 169 w 441"/>
                <a:gd name="T47" fmla="*/ 244 h 514"/>
                <a:gd name="T48" fmla="*/ 159 w 441"/>
                <a:gd name="T49" fmla="*/ 202 h 514"/>
                <a:gd name="T50" fmla="*/ 188 w 441"/>
                <a:gd name="T51" fmla="*/ 167 h 514"/>
                <a:gd name="T52" fmla="*/ 178 w 441"/>
                <a:gd name="T53" fmla="*/ 152 h 514"/>
                <a:gd name="T54" fmla="*/ 157 w 441"/>
                <a:gd name="T55" fmla="*/ 146 h 514"/>
                <a:gd name="T56" fmla="*/ 121 w 441"/>
                <a:gd name="T57" fmla="*/ 160 h 514"/>
                <a:gd name="T58" fmla="*/ 124 w 441"/>
                <a:gd name="T59" fmla="*/ 140 h 514"/>
                <a:gd name="T60" fmla="*/ 113 w 441"/>
                <a:gd name="T61" fmla="*/ 121 h 514"/>
                <a:gd name="T62" fmla="*/ 128 w 441"/>
                <a:gd name="T63" fmla="*/ 108 h 514"/>
                <a:gd name="T64" fmla="*/ 205 w 441"/>
                <a:gd name="T65" fmla="*/ 106 h 514"/>
                <a:gd name="T66" fmla="*/ 241 w 441"/>
                <a:gd name="T67" fmla="*/ 129 h 514"/>
                <a:gd name="T68" fmla="*/ 266 w 441"/>
                <a:gd name="T69" fmla="*/ 77 h 514"/>
                <a:gd name="T70" fmla="*/ 288 w 441"/>
                <a:gd name="T71" fmla="*/ 23 h 514"/>
                <a:gd name="T72" fmla="*/ 311 w 441"/>
                <a:gd name="T73" fmla="*/ 12 h 514"/>
                <a:gd name="T74" fmla="*/ 330 w 441"/>
                <a:gd name="T75" fmla="*/ 0 h 514"/>
                <a:gd name="T76" fmla="*/ 431 w 441"/>
                <a:gd name="T77" fmla="*/ 8 h 514"/>
                <a:gd name="T78" fmla="*/ 441 w 441"/>
                <a:gd name="T79" fmla="*/ 43 h 514"/>
                <a:gd name="T80" fmla="*/ 416 w 441"/>
                <a:gd name="T81" fmla="*/ 81 h 514"/>
                <a:gd name="T82" fmla="*/ 382 w 441"/>
                <a:gd name="T83" fmla="*/ 271 h 514"/>
                <a:gd name="T84" fmla="*/ 355 w 441"/>
                <a:gd name="T85" fmla="*/ 292 h 514"/>
                <a:gd name="T86" fmla="*/ 295 w 441"/>
                <a:gd name="T87" fmla="*/ 351 h 514"/>
                <a:gd name="T88" fmla="*/ 305 w 441"/>
                <a:gd name="T89" fmla="*/ 390 h 514"/>
                <a:gd name="T90" fmla="*/ 293 w 441"/>
                <a:gd name="T91" fmla="*/ 399 h 514"/>
                <a:gd name="T92" fmla="*/ 301 w 441"/>
                <a:gd name="T93" fmla="*/ 415 h 514"/>
                <a:gd name="T94" fmla="*/ 268 w 441"/>
                <a:gd name="T95" fmla="*/ 463 h 514"/>
                <a:gd name="T96" fmla="*/ 217 w 441"/>
                <a:gd name="T97" fmla="*/ 503 h 514"/>
                <a:gd name="T98" fmla="*/ 192 w 441"/>
                <a:gd name="T99" fmla="*/ 507 h 514"/>
                <a:gd name="T100" fmla="*/ 190 w 441"/>
                <a:gd name="T101" fmla="*/ 507 h 514"/>
                <a:gd name="T102" fmla="*/ 184 w 441"/>
                <a:gd name="T103" fmla="*/ 493 h 514"/>
                <a:gd name="T104" fmla="*/ 195 w 441"/>
                <a:gd name="T105" fmla="*/ 484 h 514"/>
                <a:gd name="T106" fmla="*/ 190 w 441"/>
                <a:gd name="T107" fmla="*/ 476 h 514"/>
                <a:gd name="T108" fmla="*/ 153 w 441"/>
                <a:gd name="T109" fmla="*/ 493 h 514"/>
                <a:gd name="T110" fmla="*/ 136 w 441"/>
                <a:gd name="T111" fmla="*/ 514 h 514"/>
                <a:gd name="T112" fmla="*/ 121 w 441"/>
                <a:gd name="T113" fmla="*/ 499 h 514"/>
                <a:gd name="T114" fmla="*/ 115 w 441"/>
                <a:gd name="T115" fmla="*/ 499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41" h="514">
                  <a:moveTo>
                    <a:pt x="115" y="499"/>
                  </a:moveTo>
                  <a:lnTo>
                    <a:pt x="107" y="476"/>
                  </a:lnTo>
                  <a:lnTo>
                    <a:pt x="65" y="501"/>
                  </a:lnTo>
                  <a:lnTo>
                    <a:pt x="61" y="507"/>
                  </a:lnTo>
                  <a:lnTo>
                    <a:pt x="44" y="511"/>
                  </a:lnTo>
                  <a:lnTo>
                    <a:pt x="28" y="476"/>
                  </a:lnTo>
                  <a:lnTo>
                    <a:pt x="0" y="451"/>
                  </a:lnTo>
                  <a:lnTo>
                    <a:pt x="21" y="426"/>
                  </a:lnTo>
                  <a:lnTo>
                    <a:pt x="42" y="438"/>
                  </a:lnTo>
                  <a:lnTo>
                    <a:pt x="53" y="426"/>
                  </a:lnTo>
                  <a:lnTo>
                    <a:pt x="42" y="420"/>
                  </a:lnTo>
                  <a:lnTo>
                    <a:pt x="23" y="384"/>
                  </a:lnTo>
                  <a:lnTo>
                    <a:pt x="32" y="378"/>
                  </a:lnTo>
                  <a:lnTo>
                    <a:pt x="23" y="353"/>
                  </a:lnTo>
                  <a:lnTo>
                    <a:pt x="75" y="355"/>
                  </a:lnTo>
                  <a:lnTo>
                    <a:pt x="80" y="325"/>
                  </a:lnTo>
                  <a:lnTo>
                    <a:pt x="99" y="326"/>
                  </a:lnTo>
                  <a:lnTo>
                    <a:pt x="123" y="363"/>
                  </a:lnTo>
                  <a:lnTo>
                    <a:pt x="149" y="344"/>
                  </a:lnTo>
                  <a:lnTo>
                    <a:pt x="167" y="359"/>
                  </a:lnTo>
                  <a:lnTo>
                    <a:pt x="188" y="309"/>
                  </a:lnTo>
                  <a:lnTo>
                    <a:pt x="184" y="292"/>
                  </a:lnTo>
                  <a:lnTo>
                    <a:pt x="195" y="261"/>
                  </a:lnTo>
                  <a:lnTo>
                    <a:pt x="169" y="244"/>
                  </a:lnTo>
                  <a:lnTo>
                    <a:pt x="159" y="202"/>
                  </a:lnTo>
                  <a:lnTo>
                    <a:pt x="188" y="167"/>
                  </a:lnTo>
                  <a:lnTo>
                    <a:pt x="178" y="152"/>
                  </a:lnTo>
                  <a:lnTo>
                    <a:pt x="157" y="146"/>
                  </a:lnTo>
                  <a:lnTo>
                    <a:pt x="121" y="160"/>
                  </a:lnTo>
                  <a:lnTo>
                    <a:pt x="124" y="140"/>
                  </a:lnTo>
                  <a:lnTo>
                    <a:pt x="113" y="121"/>
                  </a:lnTo>
                  <a:lnTo>
                    <a:pt x="128" y="108"/>
                  </a:lnTo>
                  <a:lnTo>
                    <a:pt x="205" y="106"/>
                  </a:lnTo>
                  <a:lnTo>
                    <a:pt x="241" y="129"/>
                  </a:lnTo>
                  <a:lnTo>
                    <a:pt x="266" y="77"/>
                  </a:lnTo>
                  <a:lnTo>
                    <a:pt x="288" y="23"/>
                  </a:lnTo>
                  <a:lnTo>
                    <a:pt x="311" y="12"/>
                  </a:lnTo>
                  <a:lnTo>
                    <a:pt x="330" y="0"/>
                  </a:lnTo>
                  <a:lnTo>
                    <a:pt x="431" y="8"/>
                  </a:lnTo>
                  <a:lnTo>
                    <a:pt x="441" y="43"/>
                  </a:lnTo>
                  <a:lnTo>
                    <a:pt x="416" y="81"/>
                  </a:lnTo>
                  <a:lnTo>
                    <a:pt x="382" y="271"/>
                  </a:lnTo>
                  <a:lnTo>
                    <a:pt x="355" y="292"/>
                  </a:lnTo>
                  <a:lnTo>
                    <a:pt x="295" y="351"/>
                  </a:lnTo>
                  <a:lnTo>
                    <a:pt x="305" y="390"/>
                  </a:lnTo>
                  <a:lnTo>
                    <a:pt x="293" y="399"/>
                  </a:lnTo>
                  <a:lnTo>
                    <a:pt x="301" y="415"/>
                  </a:lnTo>
                  <a:lnTo>
                    <a:pt x="268" y="463"/>
                  </a:lnTo>
                  <a:lnTo>
                    <a:pt x="217" y="503"/>
                  </a:lnTo>
                  <a:lnTo>
                    <a:pt x="192" y="507"/>
                  </a:lnTo>
                  <a:lnTo>
                    <a:pt x="190" y="507"/>
                  </a:lnTo>
                  <a:lnTo>
                    <a:pt x="184" y="493"/>
                  </a:lnTo>
                  <a:lnTo>
                    <a:pt x="195" y="484"/>
                  </a:lnTo>
                  <a:lnTo>
                    <a:pt x="190" y="476"/>
                  </a:lnTo>
                  <a:lnTo>
                    <a:pt x="153" y="493"/>
                  </a:lnTo>
                  <a:lnTo>
                    <a:pt x="136" y="514"/>
                  </a:lnTo>
                  <a:lnTo>
                    <a:pt x="121" y="499"/>
                  </a:lnTo>
                  <a:lnTo>
                    <a:pt x="115" y="49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7" name="Freeform 140"/>
            <p:cNvSpPr>
              <a:spLocks/>
            </p:cNvSpPr>
            <p:nvPr/>
          </p:nvSpPr>
          <p:spPr bwMode="auto">
            <a:xfrm rot="127247">
              <a:off x="2795" y="2422"/>
              <a:ext cx="103" cy="128"/>
            </a:xfrm>
            <a:custGeom>
              <a:avLst/>
              <a:gdLst>
                <a:gd name="T0" fmla="*/ 140 w 335"/>
                <a:gd name="T1" fmla="*/ 353 h 353"/>
                <a:gd name="T2" fmla="*/ 161 w 335"/>
                <a:gd name="T3" fmla="*/ 328 h 353"/>
                <a:gd name="T4" fmla="*/ 182 w 335"/>
                <a:gd name="T5" fmla="*/ 340 h 353"/>
                <a:gd name="T6" fmla="*/ 193 w 335"/>
                <a:gd name="T7" fmla="*/ 328 h 353"/>
                <a:gd name="T8" fmla="*/ 182 w 335"/>
                <a:gd name="T9" fmla="*/ 322 h 353"/>
                <a:gd name="T10" fmla="*/ 163 w 335"/>
                <a:gd name="T11" fmla="*/ 286 h 353"/>
                <a:gd name="T12" fmla="*/ 172 w 335"/>
                <a:gd name="T13" fmla="*/ 280 h 353"/>
                <a:gd name="T14" fmla="*/ 163 w 335"/>
                <a:gd name="T15" fmla="*/ 255 h 353"/>
                <a:gd name="T16" fmla="*/ 215 w 335"/>
                <a:gd name="T17" fmla="*/ 257 h 353"/>
                <a:gd name="T18" fmla="*/ 220 w 335"/>
                <a:gd name="T19" fmla="*/ 227 h 353"/>
                <a:gd name="T20" fmla="*/ 239 w 335"/>
                <a:gd name="T21" fmla="*/ 228 h 353"/>
                <a:gd name="T22" fmla="*/ 263 w 335"/>
                <a:gd name="T23" fmla="*/ 265 h 353"/>
                <a:gd name="T24" fmla="*/ 289 w 335"/>
                <a:gd name="T25" fmla="*/ 246 h 353"/>
                <a:gd name="T26" fmla="*/ 307 w 335"/>
                <a:gd name="T27" fmla="*/ 261 h 353"/>
                <a:gd name="T28" fmla="*/ 328 w 335"/>
                <a:gd name="T29" fmla="*/ 211 h 353"/>
                <a:gd name="T30" fmla="*/ 324 w 335"/>
                <a:gd name="T31" fmla="*/ 194 h 353"/>
                <a:gd name="T32" fmla="*/ 335 w 335"/>
                <a:gd name="T33" fmla="*/ 163 h 353"/>
                <a:gd name="T34" fmla="*/ 309 w 335"/>
                <a:gd name="T35" fmla="*/ 146 h 353"/>
                <a:gd name="T36" fmla="*/ 299 w 335"/>
                <a:gd name="T37" fmla="*/ 104 h 353"/>
                <a:gd name="T38" fmla="*/ 328 w 335"/>
                <a:gd name="T39" fmla="*/ 69 h 353"/>
                <a:gd name="T40" fmla="*/ 318 w 335"/>
                <a:gd name="T41" fmla="*/ 54 h 353"/>
                <a:gd name="T42" fmla="*/ 297 w 335"/>
                <a:gd name="T43" fmla="*/ 48 h 353"/>
                <a:gd name="T44" fmla="*/ 261 w 335"/>
                <a:gd name="T45" fmla="*/ 62 h 353"/>
                <a:gd name="T46" fmla="*/ 264 w 335"/>
                <a:gd name="T47" fmla="*/ 42 h 353"/>
                <a:gd name="T48" fmla="*/ 253 w 335"/>
                <a:gd name="T49" fmla="*/ 23 h 353"/>
                <a:gd name="T50" fmla="*/ 268 w 335"/>
                <a:gd name="T51" fmla="*/ 10 h 353"/>
                <a:gd name="T52" fmla="*/ 280 w 335"/>
                <a:gd name="T53" fmla="*/ 10 h 353"/>
                <a:gd name="T54" fmla="*/ 266 w 335"/>
                <a:gd name="T55" fmla="*/ 2 h 353"/>
                <a:gd name="T56" fmla="*/ 218 w 335"/>
                <a:gd name="T57" fmla="*/ 0 h 353"/>
                <a:gd name="T58" fmla="*/ 157 w 335"/>
                <a:gd name="T59" fmla="*/ 6 h 353"/>
                <a:gd name="T60" fmla="*/ 159 w 335"/>
                <a:gd name="T61" fmla="*/ 64 h 353"/>
                <a:gd name="T62" fmla="*/ 57 w 335"/>
                <a:gd name="T63" fmla="*/ 64 h 353"/>
                <a:gd name="T64" fmla="*/ 50 w 335"/>
                <a:gd name="T65" fmla="*/ 111 h 353"/>
                <a:gd name="T66" fmla="*/ 55 w 335"/>
                <a:gd name="T67" fmla="*/ 125 h 353"/>
                <a:gd name="T68" fmla="*/ 36 w 335"/>
                <a:gd name="T69" fmla="*/ 131 h 353"/>
                <a:gd name="T70" fmla="*/ 36 w 335"/>
                <a:gd name="T71" fmla="*/ 148 h 353"/>
                <a:gd name="T72" fmla="*/ 21 w 335"/>
                <a:gd name="T73" fmla="*/ 167 h 353"/>
                <a:gd name="T74" fmla="*/ 0 w 335"/>
                <a:gd name="T75" fmla="*/ 156 h 353"/>
                <a:gd name="T76" fmla="*/ 30 w 335"/>
                <a:gd name="T77" fmla="*/ 219 h 353"/>
                <a:gd name="T78" fmla="*/ 84 w 335"/>
                <a:gd name="T79" fmla="*/ 294 h 353"/>
                <a:gd name="T80" fmla="*/ 103 w 335"/>
                <a:gd name="T81" fmla="*/ 307 h 353"/>
                <a:gd name="T82" fmla="*/ 138 w 335"/>
                <a:gd name="T83" fmla="*/ 353 h 353"/>
                <a:gd name="T84" fmla="*/ 140 w 335"/>
                <a:gd name="T85" fmla="*/ 353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35" h="353">
                  <a:moveTo>
                    <a:pt x="140" y="353"/>
                  </a:moveTo>
                  <a:lnTo>
                    <a:pt x="161" y="328"/>
                  </a:lnTo>
                  <a:lnTo>
                    <a:pt x="182" y="340"/>
                  </a:lnTo>
                  <a:lnTo>
                    <a:pt x="193" y="328"/>
                  </a:lnTo>
                  <a:lnTo>
                    <a:pt x="182" y="322"/>
                  </a:lnTo>
                  <a:lnTo>
                    <a:pt x="163" y="286"/>
                  </a:lnTo>
                  <a:lnTo>
                    <a:pt x="172" y="280"/>
                  </a:lnTo>
                  <a:lnTo>
                    <a:pt x="163" y="255"/>
                  </a:lnTo>
                  <a:lnTo>
                    <a:pt x="215" y="257"/>
                  </a:lnTo>
                  <a:lnTo>
                    <a:pt x="220" y="227"/>
                  </a:lnTo>
                  <a:lnTo>
                    <a:pt x="239" y="228"/>
                  </a:lnTo>
                  <a:lnTo>
                    <a:pt x="263" y="265"/>
                  </a:lnTo>
                  <a:lnTo>
                    <a:pt x="289" y="246"/>
                  </a:lnTo>
                  <a:lnTo>
                    <a:pt x="307" y="261"/>
                  </a:lnTo>
                  <a:lnTo>
                    <a:pt x="328" y="211"/>
                  </a:lnTo>
                  <a:lnTo>
                    <a:pt x="324" y="194"/>
                  </a:lnTo>
                  <a:lnTo>
                    <a:pt x="335" y="163"/>
                  </a:lnTo>
                  <a:lnTo>
                    <a:pt x="309" y="146"/>
                  </a:lnTo>
                  <a:lnTo>
                    <a:pt x="299" y="104"/>
                  </a:lnTo>
                  <a:lnTo>
                    <a:pt x="328" y="69"/>
                  </a:lnTo>
                  <a:lnTo>
                    <a:pt x="318" y="54"/>
                  </a:lnTo>
                  <a:lnTo>
                    <a:pt x="297" y="48"/>
                  </a:lnTo>
                  <a:lnTo>
                    <a:pt x="261" y="62"/>
                  </a:lnTo>
                  <a:lnTo>
                    <a:pt x="264" y="42"/>
                  </a:lnTo>
                  <a:lnTo>
                    <a:pt x="253" y="23"/>
                  </a:lnTo>
                  <a:lnTo>
                    <a:pt x="268" y="10"/>
                  </a:lnTo>
                  <a:lnTo>
                    <a:pt x="280" y="10"/>
                  </a:lnTo>
                  <a:lnTo>
                    <a:pt x="266" y="2"/>
                  </a:lnTo>
                  <a:lnTo>
                    <a:pt x="218" y="0"/>
                  </a:lnTo>
                  <a:lnTo>
                    <a:pt x="157" y="6"/>
                  </a:lnTo>
                  <a:lnTo>
                    <a:pt x="159" y="64"/>
                  </a:lnTo>
                  <a:lnTo>
                    <a:pt x="57" y="64"/>
                  </a:lnTo>
                  <a:lnTo>
                    <a:pt x="50" y="111"/>
                  </a:lnTo>
                  <a:lnTo>
                    <a:pt x="55" y="125"/>
                  </a:lnTo>
                  <a:lnTo>
                    <a:pt x="36" y="131"/>
                  </a:lnTo>
                  <a:lnTo>
                    <a:pt x="36" y="148"/>
                  </a:lnTo>
                  <a:lnTo>
                    <a:pt x="21" y="167"/>
                  </a:lnTo>
                  <a:lnTo>
                    <a:pt x="0" y="156"/>
                  </a:lnTo>
                  <a:lnTo>
                    <a:pt x="30" y="219"/>
                  </a:lnTo>
                  <a:lnTo>
                    <a:pt x="84" y="294"/>
                  </a:lnTo>
                  <a:lnTo>
                    <a:pt x="103" y="307"/>
                  </a:lnTo>
                  <a:lnTo>
                    <a:pt x="138" y="353"/>
                  </a:lnTo>
                  <a:lnTo>
                    <a:pt x="140" y="35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8" name="Freeform 141"/>
            <p:cNvSpPr>
              <a:spLocks/>
            </p:cNvSpPr>
            <p:nvPr/>
          </p:nvSpPr>
          <p:spPr bwMode="auto">
            <a:xfrm rot="127247">
              <a:off x="2809" y="2422"/>
              <a:ext cx="37" cy="24"/>
            </a:xfrm>
            <a:custGeom>
              <a:avLst/>
              <a:gdLst>
                <a:gd name="T0" fmla="*/ 121 w 121"/>
                <a:gd name="T1" fmla="*/ 6 h 65"/>
                <a:gd name="T2" fmla="*/ 119 w 121"/>
                <a:gd name="T3" fmla="*/ 6 h 65"/>
                <a:gd name="T4" fmla="*/ 121 w 121"/>
                <a:gd name="T5" fmla="*/ 64 h 65"/>
                <a:gd name="T6" fmla="*/ 19 w 121"/>
                <a:gd name="T7" fmla="*/ 64 h 65"/>
                <a:gd name="T8" fmla="*/ 0 w 121"/>
                <a:gd name="T9" fmla="*/ 65 h 65"/>
                <a:gd name="T10" fmla="*/ 21 w 121"/>
                <a:gd name="T11" fmla="*/ 29 h 65"/>
                <a:gd name="T12" fmla="*/ 23 w 121"/>
                <a:gd name="T13" fmla="*/ 0 h 65"/>
                <a:gd name="T14" fmla="*/ 113 w 121"/>
                <a:gd name="T15" fmla="*/ 2 h 65"/>
                <a:gd name="T16" fmla="*/ 121 w 121"/>
                <a:gd name="T17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65">
                  <a:moveTo>
                    <a:pt x="121" y="6"/>
                  </a:moveTo>
                  <a:lnTo>
                    <a:pt x="119" y="6"/>
                  </a:lnTo>
                  <a:lnTo>
                    <a:pt x="121" y="64"/>
                  </a:lnTo>
                  <a:lnTo>
                    <a:pt x="19" y="64"/>
                  </a:lnTo>
                  <a:lnTo>
                    <a:pt x="0" y="65"/>
                  </a:lnTo>
                  <a:lnTo>
                    <a:pt x="21" y="29"/>
                  </a:lnTo>
                  <a:lnTo>
                    <a:pt x="23" y="0"/>
                  </a:lnTo>
                  <a:lnTo>
                    <a:pt x="113" y="2"/>
                  </a:lnTo>
                  <a:lnTo>
                    <a:pt x="121" y="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9" name="Freeform 142"/>
            <p:cNvSpPr>
              <a:spLocks/>
            </p:cNvSpPr>
            <p:nvPr/>
          </p:nvSpPr>
          <p:spPr bwMode="auto">
            <a:xfrm rot="127247">
              <a:off x="2802" y="2195"/>
              <a:ext cx="124" cy="239"/>
            </a:xfrm>
            <a:custGeom>
              <a:avLst/>
              <a:gdLst>
                <a:gd name="T0" fmla="*/ 2 w 410"/>
                <a:gd name="T1" fmla="*/ 474 h 658"/>
                <a:gd name="T2" fmla="*/ 25 w 410"/>
                <a:gd name="T3" fmla="*/ 408 h 658"/>
                <a:gd name="T4" fmla="*/ 107 w 410"/>
                <a:gd name="T5" fmla="*/ 361 h 658"/>
                <a:gd name="T6" fmla="*/ 165 w 410"/>
                <a:gd name="T7" fmla="*/ 380 h 658"/>
                <a:gd name="T8" fmla="*/ 211 w 410"/>
                <a:gd name="T9" fmla="*/ 270 h 658"/>
                <a:gd name="T10" fmla="*/ 247 w 410"/>
                <a:gd name="T11" fmla="*/ 222 h 658"/>
                <a:gd name="T12" fmla="*/ 313 w 410"/>
                <a:gd name="T13" fmla="*/ 105 h 658"/>
                <a:gd name="T14" fmla="*/ 347 w 410"/>
                <a:gd name="T15" fmla="*/ 57 h 658"/>
                <a:gd name="T16" fmla="*/ 322 w 410"/>
                <a:gd name="T17" fmla="*/ 0 h 658"/>
                <a:gd name="T18" fmla="*/ 370 w 410"/>
                <a:gd name="T19" fmla="*/ 59 h 658"/>
                <a:gd name="T20" fmla="*/ 376 w 410"/>
                <a:gd name="T21" fmla="*/ 96 h 658"/>
                <a:gd name="T22" fmla="*/ 391 w 410"/>
                <a:gd name="T23" fmla="*/ 142 h 658"/>
                <a:gd name="T24" fmla="*/ 368 w 410"/>
                <a:gd name="T25" fmla="*/ 213 h 658"/>
                <a:gd name="T26" fmla="*/ 307 w 410"/>
                <a:gd name="T27" fmla="*/ 224 h 658"/>
                <a:gd name="T28" fmla="*/ 376 w 410"/>
                <a:gd name="T29" fmla="*/ 291 h 658"/>
                <a:gd name="T30" fmla="*/ 395 w 410"/>
                <a:gd name="T31" fmla="*/ 347 h 658"/>
                <a:gd name="T32" fmla="*/ 355 w 410"/>
                <a:gd name="T33" fmla="*/ 426 h 658"/>
                <a:gd name="T34" fmla="*/ 355 w 410"/>
                <a:gd name="T35" fmla="*/ 445 h 658"/>
                <a:gd name="T36" fmla="*/ 359 w 410"/>
                <a:gd name="T37" fmla="*/ 487 h 658"/>
                <a:gd name="T38" fmla="*/ 361 w 410"/>
                <a:gd name="T39" fmla="*/ 524 h 658"/>
                <a:gd name="T40" fmla="*/ 410 w 410"/>
                <a:gd name="T41" fmla="*/ 604 h 658"/>
                <a:gd name="T42" fmla="*/ 385 w 410"/>
                <a:gd name="T43" fmla="*/ 658 h 658"/>
                <a:gd name="T44" fmla="*/ 272 w 410"/>
                <a:gd name="T45" fmla="*/ 637 h 658"/>
                <a:gd name="T46" fmla="*/ 270 w 410"/>
                <a:gd name="T47" fmla="*/ 629 h 658"/>
                <a:gd name="T48" fmla="*/ 161 w 410"/>
                <a:gd name="T49" fmla="*/ 633 h 658"/>
                <a:gd name="T50" fmla="*/ 155 w 410"/>
                <a:gd name="T51" fmla="*/ 629 h 658"/>
                <a:gd name="T52" fmla="*/ 65 w 410"/>
                <a:gd name="T53" fmla="*/ 625 h 658"/>
                <a:gd name="T54" fmla="*/ 73 w 410"/>
                <a:gd name="T55" fmla="*/ 562 h 658"/>
                <a:gd name="T56" fmla="*/ 57 w 410"/>
                <a:gd name="T57" fmla="*/ 541 h 658"/>
                <a:gd name="T58" fmla="*/ 42 w 410"/>
                <a:gd name="T59" fmla="*/ 526 h 658"/>
                <a:gd name="T60" fmla="*/ 17 w 410"/>
                <a:gd name="T61" fmla="*/ 493 h 658"/>
                <a:gd name="T62" fmla="*/ 4 w 410"/>
                <a:gd name="T63" fmla="*/ 493 h 6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0" h="658">
                  <a:moveTo>
                    <a:pt x="0" y="474"/>
                  </a:moveTo>
                  <a:lnTo>
                    <a:pt x="2" y="474"/>
                  </a:lnTo>
                  <a:lnTo>
                    <a:pt x="17" y="439"/>
                  </a:lnTo>
                  <a:lnTo>
                    <a:pt x="25" y="408"/>
                  </a:lnTo>
                  <a:lnTo>
                    <a:pt x="90" y="345"/>
                  </a:lnTo>
                  <a:lnTo>
                    <a:pt x="107" y="361"/>
                  </a:lnTo>
                  <a:lnTo>
                    <a:pt x="117" y="339"/>
                  </a:lnTo>
                  <a:lnTo>
                    <a:pt x="165" y="380"/>
                  </a:lnTo>
                  <a:lnTo>
                    <a:pt x="213" y="295"/>
                  </a:lnTo>
                  <a:lnTo>
                    <a:pt x="211" y="270"/>
                  </a:lnTo>
                  <a:lnTo>
                    <a:pt x="247" y="244"/>
                  </a:lnTo>
                  <a:lnTo>
                    <a:pt x="247" y="222"/>
                  </a:lnTo>
                  <a:lnTo>
                    <a:pt x="309" y="123"/>
                  </a:lnTo>
                  <a:lnTo>
                    <a:pt x="313" y="105"/>
                  </a:lnTo>
                  <a:lnTo>
                    <a:pt x="347" y="96"/>
                  </a:lnTo>
                  <a:lnTo>
                    <a:pt x="347" y="57"/>
                  </a:lnTo>
                  <a:lnTo>
                    <a:pt x="324" y="48"/>
                  </a:lnTo>
                  <a:lnTo>
                    <a:pt x="322" y="0"/>
                  </a:lnTo>
                  <a:lnTo>
                    <a:pt x="351" y="8"/>
                  </a:lnTo>
                  <a:lnTo>
                    <a:pt x="370" y="59"/>
                  </a:lnTo>
                  <a:lnTo>
                    <a:pt x="384" y="75"/>
                  </a:lnTo>
                  <a:lnTo>
                    <a:pt x="376" y="96"/>
                  </a:lnTo>
                  <a:lnTo>
                    <a:pt x="376" y="125"/>
                  </a:lnTo>
                  <a:lnTo>
                    <a:pt x="391" y="142"/>
                  </a:lnTo>
                  <a:lnTo>
                    <a:pt x="410" y="203"/>
                  </a:lnTo>
                  <a:lnTo>
                    <a:pt x="368" y="213"/>
                  </a:lnTo>
                  <a:lnTo>
                    <a:pt x="316" y="213"/>
                  </a:lnTo>
                  <a:lnTo>
                    <a:pt x="307" y="224"/>
                  </a:lnTo>
                  <a:lnTo>
                    <a:pt x="316" y="255"/>
                  </a:lnTo>
                  <a:lnTo>
                    <a:pt x="376" y="291"/>
                  </a:lnTo>
                  <a:lnTo>
                    <a:pt x="389" y="320"/>
                  </a:lnTo>
                  <a:lnTo>
                    <a:pt x="395" y="347"/>
                  </a:lnTo>
                  <a:lnTo>
                    <a:pt x="362" y="393"/>
                  </a:lnTo>
                  <a:lnTo>
                    <a:pt x="355" y="426"/>
                  </a:lnTo>
                  <a:lnTo>
                    <a:pt x="341" y="432"/>
                  </a:lnTo>
                  <a:lnTo>
                    <a:pt x="355" y="445"/>
                  </a:lnTo>
                  <a:lnTo>
                    <a:pt x="345" y="462"/>
                  </a:lnTo>
                  <a:lnTo>
                    <a:pt x="359" y="487"/>
                  </a:lnTo>
                  <a:lnTo>
                    <a:pt x="380" y="502"/>
                  </a:lnTo>
                  <a:lnTo>
                    <a:pt x="361" y="524"/>
                  </a:lnTo>
                  <a:lnTo>
                    <a:pt x="401" y="572"/>
                  </a:lnTo>
                  <a:lnTo>
                    <a:pt x="410" y="604"/>
                  </a:lnTo>
                  <a:lnTo>
                    <a:pt x="410" y="606"/>
                  </a:lnTo>
                  <a:lnTo>
                    <a:pt x="385" y="658"/>
                  </a:lnTo>
                  <a:lnTo>
                    <a:pt x="349" y="635"/>
                  </a:lnTo>
                  <a:lnTo>
                    <a:pt x="272" y="637"/>
                  </a:lnTo>
                  <a:lnTo>
                    <a:pt x="284" y="637"/>
                  </a:lnTo>
                  <a:lnTo>
                    <a:pt x="270" y="629"/>
                  </a:lnTo>
                  <a:lnTo>
                    <a:pt x="222" y="627"/>
                  </a:lnTo>
                  <a:lnTo>
                    <a:pt x="161" y="633"/>
                  </a:lnTo>
                  <a:lnTo>
                    <a:pt x="163" y="633"/>
                  </a:lnTo>
                  <a:lnTo>
                    <a:pt x="155" y="629"/>
                  </a:lnTo>
                  <a:lnTo>
                    <a:pt x="65" y="627"/>
                  </a:lnTo>
                  <a:lnTo>
                    <a:pt x="65" y="625"/>
                  </a:lnTo>
                  <a:lnTo>
                    <a:pt x="77" y="583"/>
                  </a:lnTo>
                  <a:lnTo>
                    <a:pt x="73" y="562"/>
                  </a:lnTo>
                  <a:lnTo>
                    <a:pt x="77" y="552"/>
                  </a:lnTo>
                  <a:lnTo>
                    <a:pt x="57" y="541"/>
                  </a:lnTo>
                  <a:lnTo>
                    <a:pt x="71" y="510"/>
                  </a:lnTo>
                  <a:lnTo>
                    <a:pt x="42" y="526"/>
                  </a:lnTo>
                  <a:lnTo>
                    <a:pt x="21" y="512"/>
                  </a:lnTo>
                  <a:lnTo>
                    <a:pt x="17" y="493"/>
                  </a:lnTo>
                  <a:lnTo>
                    <a:pt x="15" y="479"/>
                  </a:lnTo>
                  <a:lnTo>
                    <a:pt x="4" y="493"/>
                  </a:lnTo>
                  <a:lnTo>
                    <a:pt x="0" y="47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0" name="Freeform 143"/>
            <p:cNvSpPr>
              <a:spLocks noEditPoints="1"/>
            </p:cNvSpPr>
            <p:nvPr/>
          </p:nvSpPr>
          <p:spPr bwMode="auto">
            <a:xfrm rot="127247">
              <a:off x="2670" y="1979"/>
              <a:ext cx="268" cy="245"/>
            </a:xfrm>
            <a:custGeom>
              <a:avLst/>
              <a:gdLst>
                <a:gd name="T0" fmla="*/ 681 w 879"/>
                <a:gd name="T1" fmla="*/ 0 h 675"/>
                <a:gd name="T2" fmla="*/ 681 w 879"/>
                <a:gd name="T3" fmla="*/ 2 h 675"/>
                <a:gd name="T4" fmla="*/ 555 w 879"/>
                <a:gd name="T5" fmla="*/ 69 h 675"/>
                <a:gd name="T6" fmla="*/ 397 w 879"/>
                <a:gd name="T7" fmla="*/ 173 h 675"/>
                <a:gd name="T8" fmla="*/ 322 w 879"/>
                <a:gd name="T9" fmla="*/ 234 h 675"/>
                <a:gd name="T10" fmla="*/ 240 w 879"/>
                <a:gd name="T11" fmla="*/ 240 h 675"/>
                <a:gd name="T12" fmla="*/ 240 w 879"/>
                <a:gd name="T13" fmla="*/ 242 h 675"/>
                <a:gd name="T14" fmla="*/ 242 w 879"/>
                <a:gd name="T15" fmla="*/ 240 h 675"/>
                <a:gd name="T16" fmla="*/ 230 w 879"/>
                <a:gd name="T17" fmla="*/ 382 h 675"/>
                <a:gd name="T18" fmla="*/ 217 w 879"/>
                <a:gd name="T19" fmla="*/ 420 h 675"/>
                <a:gd name="T20" fmla="*/ 223 w 879"/>
                <a:gd name="T21" fmla="*/ 432 h 675"/>
                <a:gd name="T22" fmla="*/ 194 w 879"/>
                <a:gd name="T23" fmla="*/ 456 h 675"/>
                <a:gd name="T24" fmla="*/ 132 w 879"/>
                <a:gd name="T25" fmla="*/ 458 h 675"/>
                <a:gd name="T26" fmla="*/ 119 w 879"/>
                <a:gd name="T27" fmla="*/ 453 h 675"/>
                <a:gd name="T28" fmla="*/ 48 w 879"/>
                <a:gd name="T29" fmla="*/ 474 h 675"/>
                <a:gd name="T30" fmla="*/ 10 w 879"/>
                <a:gd name="T31" fmla="*/ 462 h 675"/>
                <a:gd name="T32" fmla="*/ 8 w 879"/>
                <a:gd name="T33" fmla="*/ 483 h 675"/>
                <a:gd name="T34" fmla="*/ 0 w 879"/>
                <a:gd name="T35" fmla="*/ 495 h 675"/>
                <a:gd name="T36" fmla="*/ 8 w 879"/>
                <a:gd name="T37" fmla="*/ 503 h 675"/>
                <a:gd name="T38" fmla="*/ 25 w 879"/>
                <a:gd name="T39" fmla="*/ 541 h 675"/>
                <a:gd name="T40" fmla="*/ 54 w 879"/>
                <a:gd name="T41" fmla="*/ 550 h 675"/>
                <a:gd name="T42" fmla="*/ 63 w 879"/>
                <a:gd name="T43" fmla="*/ 568 h 675"/>
                <a:gd name="T44" fmla="*/ 48 w 879"/>
                <a:gd name="T45" fmla="*/ 574 h 675"/>
                <a:gd name="T46" fmla="*/ 79 w 879"/>
                <a:gd name="T47" fmla="*/ 606 h 675"/>
                <a:gd name="T48" fmla="*/ 106 w 879"/>
                <a:gd name="T49" fmla="*/ 608 h 675"/>
                <a:gd name="T50" fmla="*/ 100 w 879"/>
                <a:gd name="T51" fmla="*/ 633 h 675"/>
                <a:gd name="T52" fmla="*/ 127 w 879"/>
                <a:gd name="T53" fmla="*/ 625 h 675"/>
                <a:gd name="T54" fmla="*/ 150 w 879"/>
                <a:gd name="T55" fmla="*/ 623 h 675"/>
                <a:gd name="T56" fmla="*/ 190 w 879"/>
                <a:gd name="T57" fmla="*/ 675 h 675"/>
                <a:gd name="T58" fmla="*/ 196 w 879"/>
                <a:gd name="T59" fmla="*/ 614 h 675"/>
                <a:gd name="T60" fmla="*/ 225 w 879"/>
                <a:gd name="T61" fmla="*/ 566 h 675"/>
                <a:gd name="T62" fmla="*/ 246 w 879"/>
                <a:gd name="T63" fmla="*/ 550 h 675"/>
                <a:gd name="T64" fmla="*/ 276 w 879"/>
                <a:gd name="T65" fmla="*/ 556 h 675"/>
                <a:gd name="T66" fmla="*/ 288 w 879"/>
                <a:gd name="T67" fmla="*/ 539 h 675"/>
                <a:gd name="T68" fmla="*/ 345 w 879"/>
                <a:gd name="T69" fmla="*/ 554 h 675"/>
                <a:gd name="T70" fmla="*/ 376 w 879"/>
                <a:gd name="T71" fmla="*/ 597 h 675"/>
                <a:gd name="T72" fmla="*/ 426 w 879"/>
                <a:gd name="T73" fmla="*/ 574 h 675"/>
                <a:gd name="T74" fmla="*/ 518 w 879"/>
                <a:gd name="T75" fmla="*/ 614 h 675"/>
                <a:gd name="T76" fmla="*/ 551 w 879"/>
                <a:gd name="T77" fmla="*/ 587 h 675"/>
                <a:gd name="T78" fmla="*/ 585 w 879"/>
                <a:gd name="T79" fmla="*/ 574 h 675"/>
                <a:gd name="T80" fmla="*/ 681 w 879"/>
                <a:gd name="T81" fmla="*/ 593 h 675"/>
                <a:gd name="T82" fmla="*/ 750 w 879"/>
                <a:gd name="T83" fmla="*/ 560 h 675"/>
                <a:gd name="T84" fmla="*/ 752 w 879"/>
                <a:gd name="T85" fmla="*/ 562 h 675"/>
                <a:gd name="T86" fmla="*/ 754 w 879"/>
                <a:gd name="T87" fmla="*/ 554 h 675"/>
                <a:gd name="T88" fmla="*/ 743 w 879"/>
                <a:gd name="T89" fmla="*/ 512 h 675"/>
                <a:gd name="T90" fmla="*/ 764 w 879"/>
                <a:gd name="T91" fmla="*/ 506 h 675"/>
                <a:gd name="T92" fmla="*/ 773 w 879"/>
                <a:gd name="T93" fmla="*/ 466 h 675"/>
                <a:gd name="T94" fmla="*/ 846 w 879"/>
                <a:gd name="T95" fmla="*/ 378 h 675"/>
                <a:gd name="T96" fmla="*/ 863 w 879"/>
                <a:gd name="T97" fmla="*/ 236 h 675"/>
                <a:gd name="T98" fmla="*/ 879 w 879"/>
                <a:gd name="T99" fmla="*/ 182 h 675"/>
                <a:gd name="T100" fmla="*/ 862 w 879"/>
                <a:gd name="T101" fmla="*/ 132 h 675"/>
                <a:gd name="T102" fmla="*/ 835 w 879"/>
                <a:gd name="T103" fmla="*/ 23 h 675"/>
                <a:gd name="T104" fmla="*/ 787 w 879"/>
                <a:gd name="T105" fmla="*/ 52 h 675"/>
                <a:gd name="T106" fmla="*/ 746 w 879"/>
                <a:gd name="T107" fmla="*/ 23 h 675"/>
                <a:gd name="T108" fmla="*/ 716 w 879"/>
                <a:gd name="T109" fmla="*/ 13 h 675"/>
                <a:gd name="T110" fmla="*/ 681 w 879"/>
                <a:gd name="T111" fmla="*/ 0 h 675"/>
                <a:gd name="T112" fmla="*/ 8 w 879"/>
                <a:gd name="T113" fmla="*/ 462 h 675"/>
                <a:gd name="T114" fmla="*/ 8 w 879"/>
                <a:gd name="T115" fmla="*/ 462 h 675"/>
                <a:gd name="T116" fmla="*/ 8 w 879"/>
                <a:gd name="T117" fmla="*/ 462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79" h="675">
                  <a:moveTo>
                    <a:pt x="681" y="0"/>
                  </a:moveTo>
                  <a:lnTo>
                    <a:pt x="681" y="2"/>
                  </a:lnTo>
                  <a:lnTo>
                    <a:pt x="555" y="69"/>
                  </a:lnTo>
                  <a:lnTo>
                    <a:pt x="397" y="173"/>
                  </a:lnTo>
                  <a:lnTo>
                    <a:pt x="322" y="234"/>
                  </a:lnTo>
                  <a:lnTo>
                    <a:pt x="240" y="240"/>
                  </a:lnTo>
                  <a:lnTo>
                    <a:pt x="240" y="242"/>
                  </a:lnTo>
                  <a:lnTo>
                    <a:pt x="242" y="240"/>
                  </a:lnTo>
                  <a:lnTo>
                    <a:pt x="230" y="382"/>
                  </a:lnTo>
                  <a:lnTo>
                    <a:pt x="217" y="420"/>
                  </a:lnTo>
                  <a:lnTo>
                    <a:pt x="223" y="432"/>
                  </a:lnTo>
                  <a:lnTo>
                    <a:pt x="194" y="456"/>
                  </a:lnTo>
                  <a:lnTo>
                    <a:pt x="132" y="458"/>
                  </a:lnTo>
                  <a:lnTo>
                    <a:pt x="119" y="453"/>
                  </a:lnTo>
                  <a:lnTo>
                    <a:pt x="48" y="474"/>
                  </a:lnTo>
                  <a:lnTo>
                    <a:pt x="10" y="462"/>
                  </a:lnTo>
                  <a:lnTo>
                    <a:pt x="8" y="483"/>
                  </a:lnTo>
                  <a:lnTo>
                    <a:pt x="0" y="495"/>
                  </a:lnTo>
                  <a:lnTo>
                    <a:pt x="8" y="503"/>
                  </a:lnTo>
                  <a:lnTo>
                    <a:pt x="25" y="541"/>
                  </a:lnTo>
                  <a:lnTo>
                    <a:pt x="54" y="550"/>
                  </a:lnTo>
                  <a:lnTo>
                    <a:pt x="63" y="568"/>
                  </a:lnTo>
                  <a:lnTo>
                    <a:pt x="48" y="574"/>
                  </a:lnTo>
                  <a:lnTo>
                    <a:pt x="79" y="606"/>
                  </a:lnTo>
                  <a:lnTo>
                    <a:pt x="106" y="608"/>
                  </a:lnTo>
                  <a:lnTo>
                    <a:pt x="100" y="633"/>
                  </a:lnTo>
                  <a:lnTo>
                    <a:pt x="127" y="625"/>
                  </a:lnTo>
                  <a:lnTo>
                    <a:pt x="150" y="623"/>
                  </a:lnTo>
                  <a:lnTo>
                    <a:pt x="190" y="675"/>
                  </a:lnTo>
                  <a:lnTo>
                    <a:pt x="196" y="614"/>
                  </a:lnTo>
                  <a:lnTo>
                    <a:pt x="225" y="566"/>
                  </a:lnTo>
                  <a:lnTo>
                    <a:pt x="246" y="550"/>
                  </a:lnTo>
                  <a:lnTo>
                    <a:pt x="276" y="556"/>
                  </a:lnTo>
                  <a:lnTo>
                    <a:pt x="288" y="539"/>
                  </a:lnTo>
                  <a:lnTo>
                    <a:pt x="345" y="554"/>
                  </a:lnTo>
                  <a:lnTo>
                    <a:pt x="376" y="597"/>
                  </a:lnTo>
                  <a:lnTo>
                    <a:pt x="426" y="574"/>
                  </a:lnTo>
                  <a:lnTo>
                    <a:pt x="518" y="614"/>
                  </a:lnTo>
                  <a:lnTo>
                    <a:pt x="551" y="587"/>
                  </a:lnTo>
                  <a:lnTo>
                    <a:pt x="585" y="574"/>
                  </a:lnTo>
                  <a:lnTo>
                    <a:pt x="681" y="593"/>
                  </a:lnTo>
                  <a:lnTo>
                    <a:pt x="750" y="560"/>
                  </a:lnTo>
                  <a:lnTo>
                    <a:pt x="752" y="562"/>
                  </a:lnTo>
                  <a:lnTo>
                    <a:pt x="754" y="554"/>
                  </a:lnTo>
                  <a:lnTo>
                    <a:pt x="743" y="512"/>
                  </a:lnTo>
                  <a:lnTo>
                    <a:pt x="764" y="506"/>
                  </a:lnTo>
                  <a:lnTo>
                    <a:pt x="773" y="466"/>
                  </a:lnTo>
                  <a:lnTo>
                    <a:pt x="846" y="378"/>
                  </a:lnTo>
                  <a:lnTo>
                    <a:pt x="863" y="236"/>
                  </a:lnTo>
                  <a:lnTo>
                    <a:pt x="879" y="182"/>
                  </a:lnTo>
                  <a:lnTo>
                    <a:pt x="862" y="132"/>
                  </a:lnTo>
                  <a:lnTo>
                    <a:pt x="835" y="23"/>
                  </a:lnTo>
                  <a:lnTo>
                    <a:pt x="787" y="52"/>
                  </a:lnTo>
                  <a:lnTo>
                    <a:pt x="746" y="23"/>
                  </a:lnTo>
                  <a:lnTo>
                    <a:pt x="716" y="13"/>
                  </a:lnTo>
                  <a:lnTo>
                    <a:pt x="681" y="0"/>
                  </a:lnTo>
                  <a:close/>
                  <a:moveTo>
                    <a:pt x="8" y="462"/>
                  </a:moveTo>
                  <a:lnTo>
                    <a:pt x="8" y="462"/>
                  </a:lnTo>
                  <a:lnTo>
                    <a:pt x="8" y="46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1" name="Freeform 144"/>
            <p:cNvSpPr>
              <a:spLocks/>
            </p:cNvSpPr>
            <p:nvPr/>
          </p:nvSpPr>
          <p:spPr bwMode="auto">
            <a:xfrm rot="127247">
              <a:off x="2905" y="2248"/>
              <a:ext cx="223" cy="172"/>
            </a:xfrm>
            <a:custGeom>
              <a:avLst/>
              <a:gdLst>
                <a:gd name="T0" fmla="*/ 52 w 735"/>
                <a:gd name="T1" fmla="*/ 213 h 474"/>
                <a:gd name="T2" fmla="*/ 54 w 735"/>
                <a:gd name="T3" fmla="*/ 217 h 474"/>
                <a:gd name="T4" fmla="*/ 21 w 735"/>
                <a:gd name="T5" fmla="*/ 263 h 474"/>
                <a:gd name="T6" fmla="*/ 14 w 735"/>
                <a:gd name="T7" fmla="*/ 296 h 474"/>
                <a:gd name="T8" fmla="*/ 0 w 735"/>
                <a:gd name="T9" fmla="*/ 302 h 474"/>
                <a:gd name="T10" fmla="*/ 14 w 735"/>
                <a:gd name="T11" fmla="*/ 315 h 474"/>
                <a:gd name="T12" fmla="*/ 4 w 735"/>
                <a:gd name="T13" fmla="*/ 332 h 474"/>
                <a:gd name="T14" fmla="*/ 18 w 735"/>
                <a:gd name="T15" fmla="*/ 357 h 474"/>
                <a:gd name="T16" fmla="*/ 39 w 735"/>
                <a:gd name="T17" fmla="*/ 372 h 474"/>
                <a:gd name="T18" fmla="*/ 20 w 735"/>
                <a:gd name="T19" fmla="*/ 394 h 474"/>
                <a:gd name="T20" fmla="*/ 60 w 735"/>
                <a:gd name="T21" fmla="*/ 442 h 474"/>
                <a:gd name="T22" fmla="*/ 69 w 735"/>
                <a:gd name="T23" fmla="*/ 474 h 474"/>
                <a:gd name="T24" fmla="*/ 91 w 735"/>
                <a:gd name="T25" fmla="*/ 422 h 474"/>
                <a:gd name="T26" fmla="*/ 114 w 735"/>
                <a:gd name="T27" fmla="*/ 411 h 474"/>
                <a:gd name="T28" fmla="*/ 133 w 735"/>
                <a:gd name="T29" fmla="*/ 399 h 474"/>
                <a:gd name="T30" fmla="*/ 234 w 735"/>
                <a:gd name="T31" fmla="*/ 407 h 474"/>
                <a:gd name="T32" fmla="*/ 263 w 735"/>
                <a:gd name="T33" fmla="*/ 355 h 474"/>
                <a:gd name="T34" fmla="*/ 286 w 735"/>
                <a:gd name="T35" fmla="*/ 336 h 474"/>
                <a:gd name="T36" fmla="*/ 323 w 735"/>
                <a:gd name="T37" fmla="*/ 348 h 474"/>
                <a:gd name="T38" fmla="*/ 350 w 735"/>
                <a:gd name="T39" fmla="*/ 369 h 474"/>
                <a:gd name="T40" fmla="*/ 459 w 735"/>
                <a:gd name="T41" fmla="*/ 382 h 474"/>
                <a:gd name="T42" fmla="*/ 480 w 735"/>
                <a:gd name="T43" fmla="*/ 346 h 474"/>
                <a:gd name="T44" fmla="*/ 511 w 735"/>
                <a:gd name="T45" fmla="*/ 359 h 474"/>
                <a:gd name="T46" fmla="*/ 557 w 735"/>
                <a:gd name="T47" fmla="*/ 332 h 474"/>
                <a:gd name="T48" fmla="*/ 584 w 735"/>
                <a:gd name="T49" fmla="*/ 342 h 474"/>
                <a:gd name="T50" fmla="*/ 618 w 735"/>
                <a:gd name="T51" fmla="*/ 334 h 474"/>
                <a:gd name="T52" fmla="*/ 624 w 735"/>
                <a:gd name="T53" fmla="*/ 323 h 474"/>
                <a:gd name="T54" fmla="*/ 703 w 735"/>
                <a:gd name="T55" fmla="*/ 334 h 474"/>
                <a:gd name="T56" fmla="*/ 735 w 735"/>
                <a:gd name="T57" fmla="*/ 326 h 474"/>
                <a:gd name="T58" fmla="*/ 716 w 735"/>
                <a:gd name="T59" fmla="*/ 273 h 474"/>
                <a:gd name="T60" fmla="*/ 674 w 735"/>
                <a:gd name="T61" fmla="*/ 252 h 474"/>
                <a:gd name="T62" fmla="*/ 678 w 735"/>
                <a:gd name="T63" fmla="*/ 234 h 474"/>
                <a:gd name="T64" fmla="*/ 624 w 735"/>
                <a:gd name="T65" fmla="*/ 198 h 474"/>
                <a:gd name="T66" fmla="*/ 614 w 735"/>
                <a:gd name="T67" fmla="*/ 171 h 474"/>
                <a:gd name="T68" fmla="*/ 563 w 735"/>
                <a:gd name="T69" fmla="*/ 146 h 474"/>
                <a:gd name="T70" fmla="*/ 561 w 735"/>
                <a:gd name="T71" fmla="*/ 127 h 474"/>
                <a:gd name="T72" fmla="*/ 526 w 735"/>
                <a:gd name="T73" fmla="*/ 117 h 474"/>
                <a:gd name="T74" fmla="*/ 522 w 735"/>
                <a:gd name="T75" fmla="*/ 52 h 474"/>
                <a:gd name="T76" fmla="*/ 480 w 735"/>
                <a:gd name="T77" fmla="*/ 0 h 474"/>
                <a:gd name="T78" fmla="*/ 444 w 735"/>
                <a:gd name="T79" fmla="*/ 6 h 474"/>
                <a:gd name="T80" fmla="*/ 401 w 735"/>
                <a:gd name="T81" fmla="*/ 48 h 474"/>
                <a:gd name="T82" fmla="*/ 409 w 735"/>
                <a:gd name="T83" fmla="*/ 67 h 474"/>
                <a:gd name="T84" fmla="*/ 371 w 735"/>
                <a:gd name="T85" fmla="*/ 89 h 474"/>
                <a:gd name="T86" fmla="*/ 269 w 735"/>
                <a:gd name="T87" fmla="*/ 110 h 474"/>
                <a:gd name="T88" fmla="*/ 273 w 735"/>
                <a:gd name="T89" fmla="*/ 137 h 474"/>
                <a:gd name="T90" fmla="*/ 240 w 735"/>
                <a:gd name="T91" fmla="*/ 173 h 474"/>
                <a:gd name="T92" fmla="*/ 156 w 735"/>
                <a:gd name="T93" fmla="*/ 183 h 474"/>
                <a:gd name="T94" fmla="*/ 133 w 735"/>
                <a:gd name="T95" fmla="*/ 209 h 474"/>
                <a:gd name="T96" fmla="*/ 106 w 735"/>
                <a:gd name="T97" fmla="*/ 190 h 474"/>
                <a:gd name="T98" fmla="*/ 52 w 735"/>
                <a:gd name="T99" fmla="*/ 213 h 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35" h="474">
                  <a:moveTo>
                    <a:pt x="52" y="213"/>
                  </a:moveTo>
                  <a:lnTo>
                    <a:pt x="54" y="217"/>
                  </a:lnTo>
                  <a:lnTo>
                    <a:pt x="21" y="263"/>
                  </a:lnTo>
                  <a:lnTo>
                    <a:pt x="14" y="296"/>
                  </a:lnTo>
                  <a:lnTo>
                    <a:pt x="0" y="302"/>
                  </a:lnTo>
                  <a:lnTo>
                    <a:pt x="14" y="315"/>
                  </a:lnTo>
                  <a:lnTo>
                    <a:pt x="4" y="332"/>
                  </a:lnTo>
                  <a:lnTo>
                    <a:pt x="18" y="357"/>
                  </a:lnTo>
                  <a:lnTo>
                    <a:pt x="39" y="372"/>
                  </a:lnTo>
                  <a:lnTo>
                    <a:pt x="20" y="394"/>
                  </a:lnTo>
                  <a:lnTo>
                    <a:pt x="60" y="442"/>
                  </a:lnTo>
                  <a:lnTo>
                    <a:pt x="69" y="474"/>
                  </a:lnTo>
                  <a:lnTo>
                    <a:pt x="91" y="422"/>
                  </a:lnTo>
                  <a:lnTo>
                    <a:pt x="114" y="411"/>
                  </a:lnTo>
                  <a:lnTo>
                    <a:pt x="133" y="399"/>
                  </a:lnTo>
                  <a:lnTo>
                    <a:pt x="234" y="407"/>
                  </a:lnTo>
                  <a:lnTo>
                    <a:pt x="263" y="355"/>
                  </a:lnTo>
                  <a:lnTo>
                    <a:pt x="286" y="336"/>
                  </a:lnTo>
                  <a:lnTo>
                    <a:pt x="323" y="348"/>
                  </a:lnTo>
                  <a:lnTo>
                    <a:pt x="350" y="369"/>
                  </a:lnTo>
                  <a:lnTo>
                    <a:pt x="459" y="382"/>
                  </a:lnTo>
                  <a:lnTo>
                    <a:pt x="480" y="346"/>
                  </a:lnTo>
                  <a:lnTo>
                    <a:pt x="511" y="359"/>
                  </a:lnTo>
                  <a:lnTo>
                    <a:pt x="557" y="332"/>
                  </a:lnTo>
                  <a:lnTo>
                    <a:pt x="584" y="342"/>
                  </a:lnTo>
                  <a:lnTo>
                    <a:pt x="618" y="334"/>
                  </a:lnTo>
                  <a:lnTo>
                    <a:pt x="624" y="323"/>
                  </a:lnTo>
                  <a:lnTo>
                    <a:pt x="703" y="334"/>
                  </a:lnTo>
                  <a:lnTo>
                    <a:pt x="735" y="326"/>
                  </a:lnTo>
                  <a:lnTo>
                    <a:pt x="716" y="273"/>
                  </a:lnTo>
                  <a:lnTo>
                    <a:pt x="674" y="252"/>
                  </a:lnTo>
                  <a:lnTo>
                    <a:pt x="678" y="234"/>
                  </a:lnTo>
                  <a:lnTo>
                    <a:pt x="624" y="198"/>
                  </a:lnTo>
                  <a:lnTo>
                    <a:pt x="614" y="171"/>
                  </a:lnTo>
                  <a:lnTo>
                    <a:pt x="563" y="146"/>
                  </a:lnTo>
                  <a:lnTo>
                    <a:pt x="561" y="127"/>
                  </a:lnTo>
                  <a:lnTo>
                    <a:pt x="526" y="117"/>
                  </a:lnTo>
                  <a:lnTo>
                    <a:pt x="522" y="52"/>
                  </a:lnTo>
                  <a:lnTo>
                    <a:pt x="480" y="0"/>
                  </a:lnTo>
                  <a:lnTo>
                    <a:pt x="444" y="6"/>
                  </a:lnTo>
                  <a:lnTo>
                    <a:pt x="401" y="48"/>
                  </a:lnTo>
                  <a:lnTo>
                    <a:pt x="409" y="67"/>
                  </a:lnTo>
                  <a:lnTo>
                    <a:pt x="371" y="89"/>
                  </a:lnTo>
                  <a:lnTo>
                    <a:pt x="269" y="110"/>
                  </a:lnTo>
                  <a:lnTo>
                    <a:pt x="273" y="137"/>
                  </a:lnTo>
                  <a:lnTo>
                    <a:pt x="240" y="173"/>
                  </a:lnTo>
                  <a:lnTo>
                    <a:pt x="156" y="183"/>
                  </a:lnTo>
                  <a:lnTo>
                    <a:pt x="133" y="209"/>
                  </a:lnTo>
                  <a:lnTo>
                    <a:pt x="106" y="190"/>
                  </a:lnTo>
                  <a:lnTo>
                    <a:pt x="52" y="21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2" name="Freeform 145"/>
            <p:cNvSpPr>
              <a:spLocks/>
            </p:cNvSpPr>
            <p:nvPr/>
          </p:nvSpPr>
          <p:spPr bwMode="auto">
            <a:xfrm rot="127247">
              <a:off x="2895" y="1983"/>
              <a:ext cx="180" cy="342"/>
            </a:xfrm>
            <a:custGeom>
              <a:avLst/>
              <a:gdLst>
                <a:gd name="T0" fmla="*/ 7 w 592"/>
                <a:gd name="T1" fmla="*/ 564 h 940"/>
                <a:gd name="T2" fmla="*/ 9 w 592"/>
                <a:gd name="T3" fmla="*/ 566 h 940"/>
                <a:gd name="T4" fmla="*/ 11 w 592"/>
                <a:gd name="T5" fmla="*/ 558 h 940"/>
                <a:gd name="T6" fmla="*/ 0 w 592"/>
                <a:gd name="T7" fmla="*/ 516 h 940"/>
                <a:gd name="T8" fmla="*/ 21 w 592"/>
                <a:gd name="T9" fmla="*/ 510 h 940"/>
                <a:gd name="T10" fmla="*/ 30 w 592"/>
                <a:gd name="T11" fmla="*/ 470 h 940"/>
                <a:gd name="T12" fmla="*/ 103 w 592"/>
                <a:gd name="T13" fmla="*/ 382 h 940"/>
                <a:gd name="T14" fmla="*/ 120 w 592"/>
                <a:gd name="T15" fmla="*/ 240 h 940"/>
                <a:gd name="T16" fmla="*/ 136 w 592"/>
                <a:gd name="T17" fmla="*/ 186 h 940"/>
                <a:gd name="T18" fmla="*/ 119 w 592"/>
                <a:gd name="T19" fmla="*/ 136 h 940"/>
                <a:gd name="T20" fmla="*/ 92 w 592"/>
                <a:gd name="T21" fmla="*/ 27 h 940"/>
                <a:gd name="T22" fmla="*/ 82 w 592"/>
                <a:gd name="T23" fmla="*/ 33 h 940"/>
                <a:gd name="T24" fmla="*/ 140 w 592"/>
                <a:gd name="T25" fmla="*/ 0 h 940"/>
                <a:gd name="T26" fmla="*/ 577 w 592"/>
                <a:gd name="T27" fmla="*/ 221 h 940"/>
                <a:gd name="T28" fmla="*/ 577 w 592"/>
                <a:gd name="T29" fmla="*/ 213 h 940"/>
                <a:gd name="T30" fmla="*/ 579 w 592"/>
                <a:gd name="T31" fmla="*/ 217 h 940"/>
                <a:gd name="T32" fmla="*/ 592 w 592"/>
                <a:gd name="T33" fmla="*/ 449 h 940"/>
                <a:gd name="T34" fmla="*/ 569 w 592"/>
                <a:gd name="T35" fmla="*/ 443 h 940"/>
                <a:gd name="T36" fmla="*/ 558 w 592"/>
                <a:gd name="T37" fmla="*/ 460 h 940"/>
                <a:gd name="T38" fmla="*/ 539 w 592"/>
                <a:gd name="T39" fmla="*/ 451 h 940"/>
                <a:gd name="T40" fmla="*/ 518 w 592"/>
                <a:gd name="T41" fmla="*/ 516 h 940"/>
                <a:gd name="T42" fmla="*/ 527 w 592"/>
                <a:gd name="T43" fmla="*/ 533 h 940"/>
                <a:gd name="T44" fmla="*/ 493 w 592"/>
                <a:gd name="T45" fmla="*/ 553 h 940"/>
                <a:gd name="T46" fmla="*/ 497 w 592"/>
                <a:gd name="T47" fmla="*/ 581 h 940"/>
                <a:gd name="T48" fmla="*/ 477 w 592"/>
                <a:gd name="T49" fmla="*/ 608 h 940"/>
                <a:gd name="T50" fmla="*/ 502 w 592"/>
                <a:gd name="T51" fmla="*/ 606 h 940"/>
                <a:gd name="T52" fmla="*/ 520 w 592"/>
                <a:gd name="T53" fmla="*/ 650 h 940"/>
                <a:gd name="T54" fmla="*/ 516 w 592"/>
                <a:gd name="T55" fmla="*/ 681 h 940"/>
                <a:gd name="T56" fmla="*/ 541 w 592"/>
                <a:gd name="T57" fmla="*/ 698 h 940"/>
                <a:gd name="T58" fmla="*/ 533 w 592"/>
                <a:gd name="T59" fmla="*/ 723 h 940"/>
                <a:gd name="T60" fmla="*/ 497 w 592"/>
                <a:gd name="T61" fmla="*/ 729 h 940"/>
                <a:gd name="T62" fmla="*/ 454 w 592"/>
                <a:gd name="T63" fmla="*/ 771 h 940"/>
                <a:gd name="T64" fmla="*/ 462 w 592"/>
                <a:gd name="T65" fmla="*/ 790 h 940"/>
                <a:gd name="T66" fmla="*/ 424 w 592"/>
                <a:gd name="T67" fmla="*/ 812 h 940"/>
                <a:gd name="T68" fmla="*/ 322 w 592"/>
                <a:gd name="T69" fmla="*/ 833 h 940"/>
                <a:gd name="T70" fmla="*/ 326 w 592"/>
                <a:gd name="T71" fmla="*/ 860 h 940"/>
                <a:gd name="T72" fmla="*/ 293 w 592"/>
                <a:gd name="T73" fmla="*/ 896 h 940"/>
                <a:gd name="T74" fmla="*/ 209 w 592"/>
                <a:gd name="T75" fmla="*/ 906 h 940"/>
                <a:gd name="T76" fmla="*/ 186 w 592"/>
                <a:gd name="T77" fmla="*/ 932 h 940"/>
                <a:gd name="T78" fmla="*/ 159 w 592"/>
                <a:gd name="T79" fmla="*/ 913 h 940"/>
                <a:gd name="T80" fmla="*/ 105 w 592"/>
                <a:gd name="T81" fmla="*/ 936 h 940"/>
                <a:gd name="T82" fmla="*/ 107 w 592"/>
                <a:gd name="T83" fmla="*/ 940 h 940"/>
                <a:gd name="T84" fmla="*/ 101 w 592"/>
                <a:gd name="T85" fmla="*/ 913 h 940"/>
                <a:gd name="T86" fmla="*/ 88 w 592"/>
                <a:gd name="T87" fmla="*/ 884 h 940"/>
                <a:gd name="T88" fmla="*/ 28 w 592"/>
                <a:gd name="T89" fmla="*/ 848 h 940"/>
                <a:gd name="T90" fmla="*/ 19 w 592"/>
                <a:gd name="T91" fmla="*/ 817 h 940"/>
                <a:gd name="T92" fmla="*/ 28 w 592"/>
                <a:gd name="T93" fmla="*/ 806 h 940"/>
                <a:gd name="T94" fmla="*/ 80 w 592"/>
                <a:gd name="T95" fmla="*/ 806 h 940"/>
                <a:gd name="T96" fmla="*/ 122 w 592"/>
                <a:gd name="T97" fmla="*/ 796 h 940"/>
                <a:gd name="T98" fmla="*/ 103 w 592"/>
                <a:gd name="T99" fmla="*/ 735 h 940"/>
                <a:gd name="T100" fmla="*/ 88 w 592"/>
                <a:gd name="T101" fmla="*/ 718 h 940"/>
                <a:gd name="T102" fmla="*/ 88 w 592"/>
                <a:gd name="T103" fmla="*/ 689 h 940"/>
                <a:gd name="T104" fmla="*/ 96 w 592"/>
                <a:gd name="T105" fmla="*/ 668 h 940"/>
                <a:gd name="T106" fmla="*/ 82 w 592"/>
                <a:gd name="T107" fmla="*/ 652 h 940"/>
                <a:gd name="T108" fmla="*/ 63 w 592"/>
                <a:gd name="T109" fmla="*/ 601 h 940"/>
                <a:gd name="T110" fmla="*/ 34 w 592"/>
                <a:gd name="T111" fmla="*/ 593 h 940"/>
                <a:gd name="T112" fmla="*/ 7 w 592"/>
                <a:gd name="T113" fmla="*/ 564 h 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92" h="940">
                  <a:moveTo>
                    <a:pt x="7" y="564"/>
                  </a:moveTo>
                  <a:lnTo>
                    <a:pt x="9" y="566"/>
                  </a:lnTo>
                  <a:lnTo>
                    <a:pt x="11" y="558"/>
                  </a:lnTo>
                  <a:lnTo>
                    <a:pt x="0" y="516"/>
                  </a:lnTo>
                  <a:lnTo>
                    <a:pt x="21" y="510"/>
                  </a:lnTo>
                  <a:lnTo>
                    <a:pt x="30" y="470"/>
                  </a:lnTo>
                  <a:lnTo>
                    <a:pt x="103" y="382"/>
                  </a:lnTo>
                  <a:lnTo>
                    <a:pt x="120" y="240"/>
                  </a:lnTo>
                  <a:lnTo>
                    <a:pt x="136" y="186"/>
                  </a:lnTo>
                  <a:lnTo>
                    <a:pt x="119" y="136"/>
                  </a:lnTo>
                  <a:lnTo>
                    <a:pt x="92" y="27"/>
                  </a:lnTo>
                  <a:lnTo>
                    <a:pt x="82" y="33"/>
                  </a:lnTo>
                  <a:lnTo>
                    <a:pt x="140" y="0"/>
                  </a:lnTo>
                  <a:lnTo>
                    <a:pt x="577" y="221"/>
                  </a:lnTo>
                  <a:lnTo>
                    <a:pt x="577" y="213"/>
                  </a:lnTo>
                  <a:lnTo>
                    <a:pt x="579" y="217"/>
                  </a:lnTo>
                  <a:lnTo>
                    <a:pt x="592" y="449"/>
                  </a:lnTo>
                  <a:lnTo>
                    <a:pt x="569" y="443"/>
                  </a:lnTo>
                  <a:lnTo>
                    <a:pt x="558" y="460"/>
                  </a:lnTo>
                  <a:lnTo>
                    <a:pt x="539" y="451"/>
                  </a:lnTo>
                  <a:lnTo>
                    <a:pt x="518" y="516"/>
                  </a:lnTo>
                  <a:lnTo>
                    <a:pt x="527" y="533"/>
                  </a:lnTo>
                  <a:lnTo>
                    <a:pt x="493" y="553"/>
                  </a:lnTo>
                  <a:lnTo>
                    <a:pt x="497" y="581"/>
                  </a:lnTo>
                  <a:lnTo>
                    <a:pt x="477" y="608"/>
                  </a:lnTo>
                  <a:lnTo>
                    <a:pt x="502" y="606"/>
                  </a:lnTo>
                  <a:lnTo>
                    <a:pt x="520" y="650"/>
                  </a:lnTo>
                  <a:lnTo>
                    <a:pt x="516" y="681"/>
                  </a:lnTo>
                  <a:lnTo>
                    <a:pt x="541" y="698"/>
                  </a:lnTo>
                  <a:lnTo>
                    <a:pt x="533" y="723"/>
                  </a:lnTo>
                  <a:lnTo>
                    <a:pt x="497" y="729"/>
                  </a:lnTo>
                  <a:lnTo>
                    <a:pt x="454" y="771"/>
                  </a:lnTo>
                  <a:lnTo>
                    <a:pt x="462" y="790"/>
                  </a:lnTo>
                  <a:lnTo>
                    <a:pt x="424" y="812"/>
                  </a:lnTo>
                  <a:lnTo>
                    <a:pt x="322" y="833"/>
                  </a:lnTo>
                  <a:lnTo>
                    <a:pt x="326" y="860"/>
                  </a:lnTo>
                  <a:lnTo>
                    <a:pt x="293" y="896"/>
                  </a:lnTo>
                  <a:lnTo>
                    <a:pt x="209" y="906"/>
                  </a:lnTo>
                  <a:lnTo>
                    <a:pt x="186" y="932"/>
                  </a:lnTo>
                  <a:lnTo>
                    <a:pt x="159" y="913"/>
                  </a:lnTo>
                  <a:lnTo>
                    <a:pt x="105" y="936"/>
                  </a:lnTo>
                  <a:lnTo>
                    <a:pt x="107" y="940"/>
                  </a:lnTo>
                  <a:lnTo>
                    <a:pt x="101" y="913"/>
                  </a:lnTo>
                  <a:lnTo>
                    <a:pt x="88" y="884"/>
                  </a:lnTo>
                  <a:lnTo>
                    <a:pt x="28" y="848"/>
                  </a:lnTo>
                  <a:lnTo>
                    <a:pt x="19" y="817"/>
                  </a:lnTo>
                  <a:lnTo>
                    <a:pt x="28" y="806"/>
                  </a:lnTo>
                  <a:lnTo>
                    <a:pt x="80" y="806"/>
                  </a:lnTo>
                  <a:lnTo>
                    <a:pt x="122" y="796"/>
                  </a:lnTo>
                  <a:lnTo>
                    <a:pt x="103" y="735"/>
                  </a:lnTo>
                  <a:lnTo>
                    <a:pt x="88" y="718"/>
                  </a:lnTo>
                  <a:lnTo>
                    <a:pt x="88" y="689"/>
                  </a:lnTo>
                  <a:lnTo>
                    <a:pt x="96" y="668"/>
                  </a:lnTo>
                  <a:lnTo>
                    <a:pt x="82" y="652"/>
                  </a:lnTo>
                  <a:lnTo>
                    <a:pt x="63" y="601"/>
                  </a:lnTo>
                  <a:lnTo>
                    <a:pt x="34" y="593"/>
                  </a:lnTo>
                  <a:lnTo>
                    <a:pt x="7" y="56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3" name="Freeform 146"/>
            <p:cNvSpPr>
              <a:spLocks/>
            </p:cNvSpPr>
            <p:nvPr/>
          </p:nvSpPr>
          <p:spPr bwMode="auto">
            <a:xfrm rot="127247">
              <a:off x="3373" y="2211"/>
              <a:ext cx="24" cy="37"/>
            </a:xfrm>
            <a:custGeom>
              <a:avLst/>
              <a:gdLst>
                <a:gd name="T0" fmla="*/ 51 w 80"/>
                <a:gd name="T1" fmla="*/ 0 h 102"/>
                <a:gd name="T2" fmla="*/ 28 w 80"/>
                <a:gd name="T3" fmla="*/ 16 h 102"/>
                <a:gd name="T4" fmla="*/ 5 w 80"/>
                <a:gd name="T5" fmla="*/ 67 h 102"/>
                <a:gd name="T6" fmla="*/ 0 w 80"/>
                <a:gd name="T7" fmla="*/ 92 h 102"/>
                <a:gd name="T8" fmla="*/ 38 w 80"/>
                <a:gd name="T9" fmla="*/ 102 h 102"/>
                <a:gd name="T10" fmla="*/ 63 w 80"/>
                <a:gd name="T11" fmla="*/ 100 h 102"/>
                <a:gd name="T12" fmla="*/ 65 w 80"/>
                <a:gd name="T13" fmla="*/ 102 h 102"/>
                <a:gd name="T14" fmla="*/ 65 w 80"/>
                <a:gd name="T15" fmla="*/ 98 h 102"/>
                <a:gd name="T16" fmla="*/ 80 w 80"/>
                <a:gd name="T17" fmla="*/ 75 h 102"/>
                <a:gd name="T18" fmla="*/ 71 w 80"/>
                <a:gd name="T19" fmla="*/ 52 h 102"/>
                <a:gd name="T20" fmla="*/ 46 w 80"/>
                <a:gd name="T21" fmla="*/ 69 h 102"/>
                <a:gd name="T22" fmla="*/ 36 w 80"/>
                <a:gd name="T23" fmla="*/ 62 h 102"/>
                <a:gd name="T24" fmla="*/ 42 w 80"/>
                <a:gd name="T25" fmla="*/ 40 h 102"/>
                <a:gd name="T26" fmla="*/ 61 w 80"/>
                <a:gd name="T27" fmla="*/ 44 h 102"/>
                <a:gd name="T28" fmla="*/ 76 w 80"/>
                <a:gd name="T29" fmla="*/ 21 h 102"/>
                <a:gd name="T30" fmla="*/ 51 w 80"/>
                <a:gd name="T31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" h="102">
                  <a:moveTo>
                    <a:pt x="51" y="0"/>
                  </a:moveTo>
                  <a:lnTo>
                    <a:pt x="28" y="16"/>
                  </a:lnTo>
                  <a:lnTo>
                    <a:pt x="5" y="67"/>
                  </a:lnTo>
                  <a:lnTo>
                    <a:pt x="0" y="92"/>
                  </a:lnTo>
                  <a:lnTo>
                    <a:pt x="38" y="102"/>
                  </a:lnTo>
                  <a:lnTo>
                    <a:pt x="63" y="100"/>
                  </a:lnTo>
                  <a:lnTo>
                    <a:pt x="65" y="102"/>
                  </a:lnTo>
                  <a:lnTo>
                    <a:pt x="65" y="98"/>
                  </a:lnTo>
                  <a:lnTo>
                    <a:pt x="80" y="75"/>
                  </a:lnTo>
                  <a:lnTo>
                    <a:pt x="71" y="52"/>
                  </a:lnTo>
                  <a:lnTo>
                    <a:pt x="46" y="69"/>
                  </a:lnTo>
                  <a:lnTo>
                    <a:pt x="36" y="62"/>
                  </a:lnTo>
                  <a:lnTo>
                    <a:pt x="42" y="40"/>
                  </a:lnTo>
                  <a:lnTo>
                    <a:pt x="61" y="44"/>
                  </a:lnTo>
                  <a:lnTo>
                    <a:pt x="76" y="21"/>
                  </a:lnTo>
                  <a:lnTo>
                    <a:pt x="5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4" name="Freeform 147"/>
            <p:cNvSpPr>
              <a:spLocks/>
            </p:cNvSpPr>
            <p:nvPr/>
          </p:nvSpPr>
          <p:spPr bwMode="auto">
            <a:xfrm rot="127247">
              <a:off x="3547" y="1957"/>
              <a:ext cx="108" cy="158"/>
            </a:xfrm>
            <a:custGeom>
              <a:avLst/>
              <a:gdLst>
                <a:gd name="T0" fmla="*/ 356 w 356"/>
                <a:gd name="T1" fmla="*/ 82 h 437"/>
                <a:gd name="T2" fmla="*/ 314 w 356"/>
                <a:gd name="T3" fmla="*/ 167 h 437"/>
                <a:gd name="T4" fmla="*/ 316 w 356"/>
                <a:gd name="T5" fmla="*/ 178 h 437"/>
                <a:gd name="T6" fmla="*/ 285 w 356"/>
                <a:gd name="T7" fmla="*/ 220 h 437"/>
                <a:gd name="T8" fmla="*/ 241 w 356"/>
                <a:gd name="T9" fmla="*/ 293 h 437"/>
                <a:gd name="T10" fmla="*/ 197 w 356"/>
                <a:gd name="T11" fmla="*/ 341 h 437"/>
                <a:gd name="T12" fmla="*/ 118 w 356"/>
                <a:gd name="T13" fmla="*/ 399 h 437"/>
                <a:gd name="T14" fmla="*/ 103 w 356"/>
                <a:gd name="T15" fmla="*/ 412 h 437"/>
                <a:gd name="T16" fmla="*/ 86 w 356"/>
                <a:gd name="T17" fmla="*/ 412 h 437"/>
                <a:gd name="T18" fmla="*/ 82 w 356"/>
                <a:gd name="T19" fmla="*/ 428 h 437"/>
                <a:gd name="T20" fmla="*/ 63 w 356"/>
                <a:gd name="T21" fmla="*/ 437 h 437"/>
                <a:gd name="T22" fmla="*/ 0 w 356"/>
                <a:gd name="T23" fmla="*/ 318 h 437"/>
                <a:gd name="T24" fmla="*/ 186 w 356"/>
                <a:gd name="T25" fmla="*/ 117 h 437"/>
                <a:gd name="T26" fmla="*/ 172 w 356"/>
                <a:gd name="T27" fmla="*/ 54 h 437"/>
                <a:gd name="T28" fmla="*/ 276 w 356"/>
                <a:gd name="T29" fmla="*/ 0 h 437"/>
                <a:gd name="T30" fmla="*/ 283 w 356"/>
                <a:gd name="T31" fmla="*/ 31 h 437"/>
                <a:gd name="T32" fmla="*/ 356 w 356"/>
                <a:gd name="T33" fmla="*/ 82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6" h="437">
                  <a:moveTo>
                    <a:pt x="356" y="82"/>
                  </a:moveTo>
                  <a:lnTo>
                    <a:pt x="314" y="167"/>
                  </a:lnTo>
                  <a:lnTo>
                    <a:pt x="316" y="178"/>
                  </a:lnTo>
                  <a:lnTo>
                    <a:pt x="285" y="220"/>
                  </a:lnTo>
                  <a:lnTo>
                    <a:pt x="241" y="293"/>
                  </a:lnTo>
                  <a:lnTo>
                    <a:pt x="197" y="341"/>
                  </a:lnTo>
                  <a:lnTo>
                    <a:pt x="118" y="399"/>
                  </a:lnTo>
                  <a:lnTo>
                    <a:pt x="103" y="412"/>
                  </a:lnTo>
                  <a:lnTo>
                    <a:pt x="86" y="412"/>
                  </a:lnTo>
                  <a:lnTo>
                    <a:pt x="82" y="428"/>
                  </a:lnTo>
                  <a:lnTo>
                    <a:pt x="63" y="437"/>
                  </a:lnTo>
                  <a:lnTo>
                    <a:pt x="0" y="318"/>
                  </a:lnTo>
                  <a:lnTo>
                    <a:pt x="186" y="117"/>
                  </a:lnTo>
                  <a:lnTo>
                    <a:pt x="172" y="54"/>
                  </a:lnTo>
                  <a:lnTo>
                    <a:pt x="276" y="0"/>
                  </a:lnTo>
                  <a:lnTo>
                    <a:pt x="283" y="31"/>
                  </a:lnTo>
                  <a:lnTo>
                    <a:pt x="356" y="8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5" name="Freeform 148"/>
            <p:cNvSpPr>
              <a:spLocks/>
            </p:cNvSpPr>
            <p:nvPr/>
          </p:nvSpPr>
          <p:spPr bwMode="auto">
            <a:xfrm rot="127247">
              <a:off x="3414" y="2069"/>
              <a:ext cx="147" cy="146"/>
            </a:xfrm>
            <a:custGeom>
              <a:avLst/>
              <a:gdLst>
                <a:gd name="T0" fmla="*/ 424 w 484"/>
                <a:gd name="T1" fmla="*/ 0 h 401"/>
                <a:gd name="T2" fmla="*/ 484 w 484"/>
                <a:gd name="T3" fmla="*/ 113 h 401"/>
                <a:gd name="T4" fmla="*/ 378 w 484"/>
                <a:gd name="T5" fmla="*/ 205 h 401"/>
                <a:gd name="T6" fmla="*/ 330 w 484"/>
                <a:gd name="T7" fmla="*/ 240 h 401"/>
                <a:gd name="T8" fmla="*/ 242 w 484"/>
                <a:gd name="T9" fmla="*/ 267 h 401"/>
                <a:gd name="T10" fmla="*/ 219 w 484"/>
                <a:gd name="T11" fmla="*/ 296 h 401"/>
                <a:gd name="T12" fmla="*/ 171 w 484"/>
                <a:gd name="T13" fmla="*/ 347 h 401"/>
                <a:gd name="T14" fmla="*/ 58 w 484"/>
                <a:gd name="T15" fmla="*/ 388 h 401"/>
                <a:gd name="T16" fmla="*/ 35 w 484"/>
                <a:gd name="T17" fmla="*/ 388 h 401"/>
                <a:gd name="T18" fmla="*/ 21 w 484"/>
                <a:gd name="T19" fmla="*/ 401 h 401"/>
                <a:gd name="T20" fmla="*/ 0 w 484"/>
                <a:gd name="T21" fmla="*/ 392 h 401"/>
                <a:gd name="T22" fmla="*/ 25 w 484"/>
                <a:gd name="T23" fmla="*/ 372 h 401"/>
                <a:gd name="T24" fmla="*/ 50 w 484"/>
                <a:gd name="T25" fmla="*/ 368 h 401"/>
                <a:gd name="T26" fmla="*/ 39 w 484"/>
                <a:gd name="T27" fmla="*/ 347 h 401"/>
                <a:gd name="T28" fmla="*/ 66 w 484"/>
                <a:gd name="T29" fmla="*/ 319 h 401"/>
                <a:gd name="T30" fmla="*/ 89 w 484"/>
                <a:gd name="T31" fmla="*/ 307 h 401"/>
                <a:gd name="T32" fmla="*/ 91 w 484"/>
                <a:gd name="T33" fmla="*/ 232 h 401"/>
                <a:gd name="T34" fmla="*/ 185 w 484"/>
                <a:gd name="T35" fmla="*/ 88 h 401"/>
                <a:gd name="T36" fmla="*/ 424 w 484"/>
                <a:gd name="T3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84" h="401">
                  <a:moveTo>
                    <a:pt x="424" y="0"/>
                  </a:moveTo>
                  <a:lnTo>
                    <a:pt x="484" y="113"/>
                  </a:lnTo>
                  <a:lnTo>
                    <a:pt x="378" y="205"/>
                  </a:lnTo>
                  <a:lnTo>
                    <a:pt x="330" y="240"/>
                  </a:lnTo>
                  <a:lnTo>
                    <a:pt x="242" y="267"/>
                  </a:lnTo>
                  <a:lnTo>
                    <a:pt x="219" y="296"/>
                  </a:lnTo>
                  <a:lnTo>
                    <a:pt x="171" y="347"/>
                  </a:lnTo>
                  <a:lnTo>
                    <a:pt x="58" y="388"/>
                  </a:lnTo>
                  <a:lnTo>
                    <a:pt x="35" y="388"/>
                  </a:lnTo>
                  <a:lnTo>
                    <a:pt x="21" y="401"/>
                  </a:lnTo>
                  <a:lnTo>
                    <a:pt x="0" y="392"/>
                  </a:lnTo>
                  <a:lnTo>
                    <a:pt x="25" y="372"/>
                  </a:lnTo>
                  <a:lnTo>
                    <a:pt x="50" y="368"/>
                  </a:lnTo>
                  <a:lnTo>
                    <a:pt x="39" y="347"/>
                  </a:lnTo>
                  <a:lnTo>
                    <a:pt x="66" y="319"/>
                  </a:lnTo>
                  <a:lnTo>
                    <a:pt x="89" y="307"/>
                  </a:lnTo>
                  <a:lnTo>
                    <a:pt x="91" y="232"/>
                  </a:lnTo>
                  <a:lnTo>
                    <a:pt x="185" y="88"/>
                  </a:lnTo>
                  <a:lnTo>
                    <a:pt x="424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6" name="Freeform 149"/>
            <p:cNvSpPr>
              <a:spLocks/>
            </p:cNvSpPr>
            <p:nvPr/>
          </p:nvSpPr>
          <p:spPr bwMode="auto">
            <a:xfrm rot="127247">
              <a:off x="3383" y="2114"/>
              <a:ext cx="59" cy="96"/>
            </a:xfrm>
            <a:custGeom>
              <a:avLst/>
              <a:gdLst>
                <a:gd name="T0" fmla="*/ 100 w 192"/>
                <a:gd name="T1" fmla="*/ 265 h 265"/>
                <a:gd name="T2" fmla="*/ 123 w 192"/>
                <a:gd name="T3" fmla="*/ 245 h 265"/>
                <a:gd name="T4" fmla="*/ 148 w 192"/>
                <a:gd name="T5" fmla="*/ 241 h 265"/>
                <a:gd name="T6" fmla="*/ 137 w 192"/>
                <a:gd name="T7" fmla="*/ 220 h 265"/>
                <a:gd name="T8" fmla="*/ 164 w 192"/>
                <a:gd name="T9" fmla="*/ 192 h 265"/>
                <a:gd name="T10" fmla="*/ 187 w 192"/>
                <a:gd name="T11" fmla="*/ 180 h 265"/>
                <a:gd name="T12" fmla="*/ 189 w 192"/>
                <a:gd name="T13" fmla="*/ 105 h 265"/>
                <a:gd name="T14" fmla="*/ 192 w 192"/>
                <a:gd name="T15" fmla="*/ 100 h 265"/>
                <a:gd name="T16" fmla="*/ 85 w 192"/>
                <a:gd name="T17" fmla="*/ 0 h 265"/>
                <a:gd name="T18" fmla="*/ 50 w 192"/>
                <a:gd name="T19" fmla="*/ 4 h 265"/>
                <a:gd name="T20" fmla="*/ 35 w 192"/>
                <a:gd name="T21" fmla="*/ 9 h 265"/>
                <a:gd name="T22" fmla="*/ 33 w 192"/>
                <a:gd name="T23" fmla="*/ 32 h 265"/>
                <a:gd name="T24" fmla="*/ 0 w 192"/>
                <a:gd name="T25" fmla="*/ 57 h 265"/>
                <a:gd name="T26" fmla="*/ 8 w 192"/>
                <a:gd name="T27" fmla="*/ 98 h 265"/>
                <a:gd name="T28" fmla="*/ 8 w 192"/>
                <a:gd name="T29" fmla="*/ 115 h 265"/>
                <a:gd name="T30" fmla="*/ 20 w 192"/>
                <a:gd name="T31" fmla="*/ 124 h 265"/>
                <a:gd name="T32" fmla="*/ 27 w 192"/>
                <a:gd name="T33" fmla="*/ 159 h 265"/>
                <a:gd name="T34" fmla="*/ 48 w 192"/>
                <a:gd name="T35" fmla="*/ 188 h 265"/>
                <a:gd name="T36" fmla="*/ 60 w 192"/>
                <a:gd name="T37" fmla="*/ 188 h 265"/>
                <a:gd name="T38" fmla="*/ 52 w 192"/>
                <a:gd name="T39" fmla="*/ 199 h 265"/>
                <a:gd name="T40" fmla="*/ 64 w 192"/>
                <a:gd name="T41" fmla="*/ 245 h 265"/>
                <a:gd name="T42" fmla="*/ 100 w 192"/>
                <a:gd name="T43" fmla="*/ 26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2" h="265">
                  <a:moveTo>
                    <a:pt x="100" y="265"/>
                  </a:moveTo>
                  <a:lnTo>
                    <a:pt x="123" y="245"/>
                  </a:lnTo>
                  <a:lnTo>
                    <a:pt x="148" y="241"/>
                  </a:lnTo>
                  <a:lnTo>
                    <a:pt x="137" y="220"/>
                  </a:lnTo>
                  <a:lnTo>
                    <a:pt x="164" y="192"/>
                  </a:lnTo>
                  <a:lnTo>
                    <a:pt x="187" y="180"/>
                  </a:lnTo>
                  <a:lnTo>
                    <a:pt x="189" y="105"/>
                  </a:lnTo>
                  <a:lnTo>
                    <a:pt x="192" y="100"/>
                  </a:lnTo>
                  <a:lnTo>
                    <a:pt x="85" y="0"/>
                  </a:lnTo>
                  <a:lnTo>
                    <a:pt x="50" y="4"/>
                  </a:lnTo>
                  <a:lnTo>
                    <a:pt x="35" y="9"/>
                  </a:lnTo>
                  <a:lnTo>
                    <a:pt x="33" y="32"/>
                  </a:lnTo>
                  <a:lnTo>
                    <a:pt x="0" y="57"/>
                  </a:lnTo>
                  <a:lnTo>
                    <a:pt x="8" y="98"/>
                  </a:lnTo>
                  <a:lnTo>
                    <a:pt x="8" y="115"/>
                  </a:lnTo>
                  <a:lnTo>
                    <a:pt x="20" y="124"/>
                  </a:lnTo>
                  <a:lnTo>
                    <a:pt x="27" y="159"/>
                  </a:lnTo>
                  <a:lnTo>
                    <a:pt x="48" y="188"/>
                  </a:lnTo>
                  <a:lnTo>
                    <a:pt x="60" y="188"/>
                  </a:lnTo>
                  <a:lnTo>
                    <a:pt x="52" y="199"/>
                  </a:lnTo>
                  <a:lnTo>
                    <a:pt x="64" y="245"/>
                  </a:lnTo>
                  <a:lnTo>
                    <a:pt x="100" y="26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7" name="Freeform 150"/>
            <p:cNvSpPr>
              <a:spLocks/>
            </p:cNvSpPr>
            <p:nvPr/>
          </p:nvSpPr>
          <p:spPr bwMode="auto">
            <a:xfrm>
              <a:off x="3248" y="1783"/>
              <a:ext cx="80" cy="94"/>
            </a:xfrm>
            <a:custGeom>
              <a:avLst/>
              <a:gdLst>
                <a:gd name="T0" fmla="*/ 75 w 82"/>
                <a:gd name="T1" fmla="*/ 0 h 96"/>
                <a:gd name="T2" fmla="*/ 82 w 82"/>
                <a:gd name="T3" fmla="*/ 29 h 96"/>
                <a:gd name="T4" fmla="*/ 73 w 82"/>
                <a:gd name="T5" fmla="*/ 36 h 96"/>
                <a:gd name="T6" fmla="*/ 49 w 82"/>
                <a:gd name="T7" fmla="*/ 44 h 96"/>
                <a:gd name="T8" fmla="*/ 71 w 82"/>
                <a:gd name="T9" fmla="*/ 59 h 96"/>
                <a:gd name="T10" fmla="*/ 39 w 82"/>
                <a:gd name="T11" fmla="*/ 96 h 96"/>
                <a:gd name="T12" fmla="*/ 0 w 82"/>
                <a:gd name="T13" fmla="*/ 93 h 96"/>
                <a:gd name="T14" fmla="*/ 17 w 82"/>
                <a:gd name="T15" fmla="*/ 51 h 96"/>
                <a:gd name="T16" fmla="*/ 30 w 82"/>
                <a:gd name="T17" fmla="*/ 14 h 96"/>
                <a:gd name="T18" fmla="*/ 48 w 82"/>
                <a:gd name="T19" fmla="*/ 17 h 96"/>
                <a:gd name="T20" fmla="*/ 75 w 82"/>
                <a:gd name="T21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96">
                  <a:moveTo>
                    <a:pt x="75" y="0"/>
                  </a:moveTo>
                  <a:lnTo>
                    <a:pt x="82" y="29"/>
                  </a:lnTo>
                  <a:lnTo>
                    <a:pt x="73" y="36"/>
                  </a:lnTo>
                  <a:lnTo>
                    <a:pt x="49" y="44"/>
                  </a:lnTo>
                  <a:lnTo>
                    <a:pt x="71" y="59"/>
                  </a:lnTo>
                  <a:lnTo>
                    <a:pt x="39" y="96"/>
                  </a:lnTo>
                  <a:lnTo>
                    <a:pt x="0" y="93"/>
                  </a:lnTo>
                  <a:lnTo>
                    <a:pt x="17" y="51"/>
                  </a:lnTo>
                  <a:lnTo>
                    <a:pt x="30" y="14"/>
                  </a:lnTo>
                  <a:lnTo>
                    <a:pt x="48" y="17"/>
                  </a:lnTo>
                  <a:lnTo>
                    <a:pt x="75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8" name="Freeform 151"/>
            <p:cNvSpPr>
              <a:spLocks/>
            </p:cNvSpPr>
            <p:nvPr/>
          </p:nvSpPr>
          <p:spPr bwMode="auto">
            <a:xfrm>
              <a:off x="3233" y="1790"/>
              <a:ext cx="46" cy="87"/>
            </a:xfrm>
            <a:custGeom>
              <a:avLst/>
              <a:gdLst>
                <a:gd name="T0" fmla="*/ 20 w 47"/>
                <a:gd name="T1" fmla="*/ 85 h 88"/>
                <a:gd name="T2" fmla="*/ 32 w 47"/>
                <a:gd name="T3" fmla="*/ 42 h 88"/>
                <a:gd name="T4" fmla="*/ 47 w 47"/>
                <a:gd name="T5" fmla="*/ 6 h 88"/>
                <a:gd name="T6" fmla="*/ 35 w 47"/>
                <a:gd name="T7" fmla="*/ 0 h 88"/>
                <a:gd name="T8" fmla="*/ 17 w 47"/>
                <a:gd name="T9" fmla="*/ 22 h 88"/>
                <a:gd name="T10" fmla="*/ 0 w 47"/>
                <a:gd name="T11" fmla="*/ 38 h 88"/>
                <a:gd name="T12" fmla="*/ 19 w 47"/>
                <a:gd name="T13" fmla="*/ 88 h 88"/>
                <a:gd name="T14" fmla="*/ 20 w 47"/>
                <a:gd name="T15" fmla="*/ 8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88">
                  <a:moveTo>
                    <a:pt x="20" y="85"/>
                  </a:moveTo>
                  <a:lnTo>
                    <a:pt x="32" y="42"/>
                  </a:lnTo>
                  <a:lnTo>
                    <a:pt x="47" y="6"/>
                  </a:lnTo>
                  <a:lnTo>
                    <a:pt x="35" y="0"/>
                  </a:lnTo>
                  <a:lnTo>
                    <a:pt x="17" y="22"/>
                  </a:lnTo>
                  <a:lnTo>
                    <a:pt x="0" y="38"/>
                  </a:lnTo>
                  <a:lnTo>
                    <a:pt x="19" y="88"/>
                  </a:lnTo>
                  <a:lnTo>
                    <a:pt x="20" y="8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9" name="Freeform 152"/>
            <p:cNvSpPr>
              <a:spLocks/>
            </p:cNvSpPr>
            <p:nvPr/>
          </p:nvSpPr>
          <p:spPr bwMode="auto">
            <a:xfrm rot="127247">
              <a:off x="3199" y="1828"/>
              <a:ext cx="46" cy="71"/>
            </a:xfrm>
            <a:custGeom>
              <a:avLst/>
              <a:gdLst>
                <a:gd name="T0" fmla="*/ 5 w 151"/>
                <a:gd name="T1" fmla="*/ 48 h 198"/>
                <a:gd name="T2" fmla="*/ 5 w 151"/>
                <a:gd name="T3" fmla="*/ 46 h 198"/>
                <a:gd name="T4" fmla="*/ 13 w 151"/>
                <a:gd name="T5" fmla="*/ 35 h 198"/>
                <a:gd name="T6" fmla="*/ 5 w 151"/>
                <a:gd name="T7" fmla="*/ 17 h 198"/>
                <a:gd name="T8" fmla="*/ 0 w 151"/>
                <a:gd name="T9" fmla="*/ 16 h 198"/>
                <a:gd name="T10" fmla="*/ 0 w 151"/>
                <a:gd name="T11" fmla="*/ 10 h 198"/>
                <a:gd name="T12" fmla="*/ 28 w 151"/>
                <a:gd name="T13" fmla="*/ 16 h 198"/>
                <a:gd name="T14" fmla="*/ 48 w 151"/>
                <a:gd name="T15" fmla="*/ 4 h 198"/>
                <a:gd name="T16" fmla="*/ 52 w 151"/>
                <a:gd name="T17" fmla="*/ 16 h 198"/>
                <a:gd name="T18" fmla="*/ 61 w 151"/>
                <a:gd name="T19" fmla="*/ 4 h 198"/>
                <a:gd name="T20" fmla="*/ 73 w 151"/>
                <a:gd name="T21" fmla="*/ 12 h 198"/>
                <a:gd name="T22" fmla="*/ 105 w 151"/>
                <a:gd name="T23" fmla="*/ 0 h 198"/>
                <a:gd name="T24" fmla="*/ 109 w 151"/>
                <a:gd name="T25" fmla="*/ 29 h 198"/>
                <a:gd name="T26" fmla="*/ 123 w 151"/>
                <a:gd name="T27" fmla="*/ 48 h 198"/>
                <a:gd name="T28" fmla="*/ 123 w 151"/>
                <a:gd name="T29" fmla="*/ 69 h 198"/>
                <a:gd name="T30" fmla="*/ 151 w 151"/>
                <a:gd name="T31" fmla="*/ 108 h 198"/>
                <a:gd name="T32" fmla="*/ 149 w 151"/>
                <a:gd name="T33" fmla="*/ 142 h 198"/>
                <a:gd name="T34" fmla="*/ 136 w 151"/>
                <a:gd name="T35" fmla="*/ 188 h 198"/>
                <a:gd name="T36" fmla="*/ 115 w 151"/>
                <a:gd name="T37" fmla="*/ 198 h 198"/>
                <a:gd name="T38" fmla="*/ 78 w 151"/>
                <a:gd name="T39" fmla="*/ 159 h 198"/>
                <a:gd name="T40" fmla="*/ 65 w 151"/>
                <a:gd name="T41" fmla="*/ 148 h 198"/>
                <a:gd name="T42" fmla="*/ 61 w 151"/>
                <a:gd name="T43" fmla="*/ 125 h 198"/>
                <a:gd name="T44" fmla="*/ 36 w 151"/>
                <a:gd name="T45" fmla="*/ 102 h 198"/>
                <a:gd name="T46" fmla="*/ 32 w 151"/>
                <a:gd name="T47" fmla="*/ 81 h 198"/>
                <a:gd name="T48" fmla="*/ 5 w 151"/>
                <a:gd name="T49" fmla="*/ 4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1" h="198">
                  <a:moveTo>
                    <a:pt x="5" y="48"/>
                  </a:moveTo>
                  <a:lnTo>
                    <a:pt x="5" y="46"/>
                  </a:lnTo>
                  <a:lnTo>
                    <a:pt x="13" y="35"/>
                  </a:lnTo>
                  <a:lnTo>
                    <a:pt x="5" y="17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28" y="16"/>
                  </a:lnTo>
                  <a:lnTo>
                    <a:pt x="48" y="4"/>
                  </a:lnTo>
                  <a:lnTo>
                    <a:pt x="52" y="16"/>
                  </a:lnTo>
                  <a:lnTo>
                    <a:pt x="61" y="4"/>
                  </a:lnTo>
                  <a:lnTo>
                    <a:pt x="73" y="12"/>
                  </a:lnTo>
                  <a:lnTo>
                    <a:pt x="105" y="0"/>
                  </a:lnTo>
                  <a:lnTo>
                    <a:pt x="109" y="29"/>
                  </a:lnTo>
                  <a:lnTo>
                    <a:pt x="123" y="48"/>
                  </a:lnTo>
                  <a:lnTo>
                    <a:pt x="123" y="69"/>
                  </a:lnTo>
                  <a:lnTo>
                    <a:pt x="151" y="108"/>
                  </a:lnTo>
                  <a:lnTo>
                    <a:pt x="149" y="142"/>
                  </a:lnTo>
                  <a:lnTo>
                    <a:pt x="136" y="188"/>
                  </a:lnTo>
                  <a:lnTo>
                    <a:pt x="115" y="198"/>
                  </a:lnTo>
                  <a:lnTo>
                    <a:pt x="78" y="159"/>
                  </a:lnTo>
                  <a:lnTo>
                    <a:pt x="65" y="148"/>
                  </a:lnTo>
                  <a:lnTo>
                    <a:pt x="61" y="125"/>
                  </a:lnTo>
                  <a:lnTo>
                    <a:pt x="36" y="102"/>
                  </a:lnTo>
                  <a:lnTo>
                    <a:pt x="32" y="81"/>
                  </a:lnTo>
                  <a:lnTo>
                    <a:pt x="5" y="4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0" name="Freeform 153"/>
            <p:cNvSpPr>
              <a:spLocks/>
            </p:cNvSpPr>
            <p:nvPr/>
          </p:nvSpPr>
          <p:spPr bwMode="auto">
            <a:xfrm>
              <a:off x="3252" y="1811"/>
              <a:ext cx="352" cy="339"/>
            </a:xfrm>
            <a:custGeom>
              <a:avLst/>
              <a:gdLst>
                <a:gd name="T0" fmla="*/ 195 w 360"/>
                <a:gd name="T1" fmla="*/ 346 h 346"/>
                <a:gd name="T2" fmla="*/ 164 w 360"/>
                <a:gd name="T3" fmla="*/ 308 h 346"/>
                <a:gd name="T4" fmla="*/ 153 w 360"/>
                <a:gd name="T5" fmla="*/ 309 h 346"/>
                <a:gd name="T6" fmla="*/ 147 w 360"/>
                <a:gd name="T7" fmla="*/ 310 h 346"/>
                <a:gd name="T8" fmla="*/ 146 w 360"/>
                <a:gd name="T9" fmla="*/ 319 h 346"/>
                <a:gd name="T10" fmla="*/ 136 w 360"/>
                <a:gd name="T11" fmla="*/ 328 h 346"/>
                <a:gd name="T12" fmla="*/ 136 w 360"/>
                <a:gd name="T13" fmla="*/ 329 h 346"/>
                <a:gd name="T14" fmla="*/ 129 w 360"/>
                <a:gd name="T15" fmla="*/ 308 h 346"/>
                <a:gd name="T16" fmla="*/ 116 w 360"/>
                <a:gd name="T17" fmla="*/ 295 h 346"/>
                <a:gd name="T18" fmla="*/ 107 w 360"/>
                <a:gd name="T19" fmla="*/ 274 h 346"/>
                <a:gd name="T20" fmla="*/ 100 w 360"/>
                <a:gd name="T21" fmla="*/ 262 h 346"/>
                <a:gd name="T22" fmla="*/ 95 w 360"/>
                <a:gd name="T23" fmla="*/ 254 h 346"/>
                <a:gd name="T24" fmla="*/ 68 w 360"/>
                <a:gd name="T25" fmla="*/ 199 h 346"/>
                <a:gd name="T26" fmla="*/ 61 w 360"/>
                <a:gd name="T27" fmla="*/ 178 h 346"/>
                <a:gd name="T28" fmla="*/ 51 w 360"/>
                <a:gd name="T29" fmla="*/ 164 h 346"/>
                <a:gd name="T30" fmla="*/ 18 w 360"/>
                <a:gd name="T31" fmla="*/ 108 h 346"/>
                <a:gd name="T32" fmla="*/ 9 w 360"/>
                <a:gd name="T33" fmla="*/ 93 h 346"/>
                <a:gd name="T34" fmla="*/ 0 w 360"/>
                <a:gd name="T35" fmla="*/ 67 h 346"/>
                <a:gd name="T36" fmla="*/ 1 w 360"/>
                <a:gd name="T37" fmla="*/ 68 h 346"/>
                <a:gd name="T38" fmla="*/ 35 w 360"/>
                <a:gd name="T39" fmla="*/ 68 h 346"/>
                <a:gd name="T40" fmla="*/ 64 w 360"/>
                <a:gd name="T41" fmla="*/ 30 h 346"/>
                <a:gd name="T42" fmla="*/ 46 w 360"/>
                <a:gd name="T43" fmla="*/ 14 h 346"/>
                <a:gd name="T44" fmla="*/ 70 w 360"/>
                <a:gd name="T45" fmla="*/ 7 h 346"/>
                <a:gd name="T46" fmla="*/ 79 w 360"/>
                <a:gd name="T47" fmla="*/ 1 h 346"/>
                <a:gd name="T48" fmla="*/ 78 w 360"/>
                <a:gd name="T49" fmla="*/ 0 h 346"/>
                <a:gd name="T50" fmla="*/ 122 w 360"/>
                <a:gd name="T51" fmla="*/ 24 h 346"/>
                <a:gd name="T52" fmla="*/ 130 w 360"/>
                <a:gd name="T53" fmla="*/ 24 h 346"/>
                <a:gd name="T54" fmla="*/ 135 w 360"/>
                <a:gd name="T55" fmla="*/ 31 h 346"/>
                <a:gd name="T56" fmla="*/ 193 w 360"/>
                <a:gd name="T57" fmla="*/ 65 h 346"/>
                <a:gd name="T58" fmla="*/ 202 w 360"/>
                <a:gd name="T59" fmla="*/ 73 h 346"/>
                <a:gd name="T60" fmla="*/ 214 w 360"/>
                <a:gd name="T61" fmla="*/ 71 h 346"/>
                <a:gd name="T62" fmla="*/ 229 w 360"/>
                <a:gd name="T63" fmla="*/ 71 h 346"/>
                <a:gd name="T64" fmla="*/ 251 w 360"/>
                <a:gd name="T65" fmla="*/ 103 h 346"/>
                <a:gd name="T66" fmla="*/ 261 w 360"/>
                <a:gd name="T67" fmla="*/ 120 h 346"/>
                <a:gd name="T68" fmla="*/ 275 w 360"/>
                <a:gd name="T69" fmla="*/ 148 h 346"/>
                <a:gd name="T70" fmla="*/ 289 w 360"/>
                <a:gd name="T71" fmla="*/ 156 h 346"/>
                <a:gd name="T72" fmla="*/ 305 w 360"/>
                <a:gd name="T73" fmla="*/ 162 h 346"/>
                <a:gd name="T74" fmla="*/ 313 w 360"/>
                <a:gd name="T75" fmla="*/ 170 h 346"/>
                <a:gd name="T76" fmla="*/ 317 w 360"/>
                <a:gd name="T77" fmla="*/ 170 h 346"/>
                <a:gd name="T78" fmla="*/ 321 w 360"/>
                <a:gd name="T79" fmla="*/ 172 h 346"/>
                <a:gd name="T80" fmla="*/ 357 w 360"/>
                <a:gd name="T81" fmla="*/ 169 h 346"/>
                <a:gd name="T82" fmla="*/ 360 w 360"/>
                <a:gd name="T83" fmla="*/ 192 h 346"/>
                <a:gd name="T84" fmla="*/ 299 w 360"/>
                <a:gd name="T85" fmla="*/ 264 h 346"/>
                <a:gd name="T86" fmla="*/ 300 w 360"/>
                <a:gd name="T87" fmla="*/ 266 h 346"/>
                <a:gd name="T88" fmla="*/ 225 w 360"/>
                <a:gd name="T89" fmla="*/ 295 h 346"/>
                <a:gd name="T90" fmla="*/ 195 w 360"/>
                <a:gd name="T91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0" h="346">
                  <a:moveTo>
                    <a:pt x="195" y="346"/>
                  </a:moveTo>
                  <a:lnTo>
                    <a:pt x="164" y="308"/>
                  </a:lnTo>
                  <a:lnTo>
                    <a:pt x="153" y="309"/>
                  </a:lnTo>
                  <a:lnTo>
                    <a:pt x="147" y="310"/>
                  </a:lnTo>
                  <a:lnTo>
                    <a:pt x="146" y="319"/>
                  </a:lnTo>
                  <a:lnTo>
                    <a:pt x="136" y="328"/>
                  </a:lnTo>
                  <a:lnTo>
                    <a:pt x="136" y="329"/>
                  </a:lnTo>
                  <a:lnTo>
                    <a:pt x="129" y="308"/>
                  </a:lnTo>
                  <a:lnTo>
                    <a:pt x="116" y="295"/>
                  </a:lnTo>
                  <a:lnTo>
                    <a:pt x="107" y="274"/>
                  </a:lnTo>
                  <a:lnTo>
                    <a:pt x="100" y="262"/>
                  </a:lnTo>
                  <a:lnTo>
                    <a:pt x="95" y="254"/>
                  </a:lnTo>
                  <a:lnTo>
                    <a:pt x="68" y="199"/>
                  </a:lnTo>
                  <a:lnTo>
                    <a:pt x="61" y="178"/>
                  </a:lnTo>
                  <a:lnTo>
                    <a:pt x="51" y="164"/>
                  </a:lnTo>
                  <a:lnTo>
                    <a:pt x="18" y="108"/>
                  </a:lnTo>
                  <a:lnTo>
                    <a:pt x="9" y="93"/>
                  </a:lnTo>
                  <a:lnTo>
                    <a:pt x="0" y="67"/>
                  </a:lnTo>
                  <a:lnTo>
                    <a:pt x="1" y="68"/>
                  </a:lnTo>
                  <a:lnTo>
                    <a:pt x="35" y="68"/>
                  </a:lnTo>
                  <a:lnTo>
                    <a:pt x="64" y="30"/>
                  </a:lnTo>
                  <a:lnTo>
                    <a:pt x="46" y="14"/>
                  </a:lnTo>
                  <a:lnTo>
                    <a:pt x="70" y="7"/>
                  </a:lnTo>
                  <a:lnTo>
                    <a:pt x="79" y="1"/>
                  </a:lnTo>
                  <a:lnTo>
                    <a:pt x="78" y="0"/>
                  </a:lnTo>
                  <a:lnTo>
                    <a:pt x="122" y="24"/>
                  </a:lnTo>
                  <a:lnTo>
                    <a:pt x="130" y="24"/>
                  </a:lnTo>
                  <a:lnTo>
                    <a:pt x="135" y="31"/>
                  </a:lnTo>
                  <a:lnTo>
                    <a:pt x="193" y="65"/>
                  </a:lnTo>
                  <a:lnTo>
                    <a:pt x="202" y="73"/>
                  </a:lnTo>
                  <a:lnTo>
                    <a:pt x="214" y="71"/>
                  </a:lnTo>
                  <a:lnTo>
                    <a:pt x="229" y="71"/>
                  </a:lnTo>
                  <a:lnTo>
                    <a:pt x="251" y="103"/>
                  </a:lnTo>
                  <a:lnTo>
                    <a:pt x="261" y="120"/>
                  </a:lnTo>
                  <a:lnTo>
                    <a:pt x="275" y="148"/>
                  </a:lnTo>
                  <a:lnTo>
                    <a:pt x="289" y="156"/>
                  </a:lnTo>
                  <a:lnTo>
                    <a:pt x="305" y="162"/>
                  </a:lnTo>
                  <a:lnTo>
                    <a:pt x="313" y="170"/>
                  </a:lnTo>
                  <a:lnTo>
                    <a:pt x="317" y="170"/>
                  </a:lnTo>
                  <a:lnTo>
                    <a:pt x="321" y="172"/>
                  </a:lnTo>
                  <a:lnTo>
                    <a:pt x="357" y="169"/>
                  </a:lnTo>
                  <a:lnTo>
                    <a:pt x="360" y="192"/>
                  </a:lnTo>
                  <a:lnTo>
                    <a:pt x="299" y="264"/>
                  </a:lnTo>
                  <a:lnTo>
                    <a:pt x="300" y="266"/>
                  </a:lnTo>
                  <a:lnTo>
                    <a:pt x="225" y="295"/>
                  </a:lnTo>
                  <a:lnTo>
                    <a:pt x="195" y="34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1" name="Freeform 154"/>
            <p:cNvSpPr>
              <a:spLocks/>
            </p:cNvSpPr>
            <p:nvPr/>
          </p:nvSpPr>
          <p:spPr bwMode="auto">
            <a:xfrm rot="127247">
              <a:off x="3561" y="1938"/>
              <a:ext cx="73" cy="42"/>
            </a:xfrm>
            <a:custGeom>
              <a:avLst/>
              <a:gdLst>
                <a:gd name="T0" fmla="*/ 0 w 240"/>
                <a:gd name="T1" fmla="*/ 115 h 119"/>
                <a:gd name="T2" fmla="*/ 6 w 240"/>
                <a:gd name="T3" fmla="*/ 113 h 119"/>
                <a:gd name="T4" fmla="*/ 19 w 240"/>
                <a:gd name="T5" fmla="*/ 119 h 119"/>
                <a:gd name="T6" fmla="*/ 136 w 240"/>
                <a:gd name="T7" fmla="*/ 109 h 119"/>
                <a:gd name="T8" fmla="*/ 134 w 240"/>
                <a:gd name="T9" fmla="*/ 106 h 119"/>
                <a:gd name="T10" fmla="*/ 238 w 240"/>
                <a:gd name="T11" fmla="*/ 52 h 119"/>
                <a:gd name="T12" fmla="*/ 238 w 240"/>
                <a:gd name="T13" fmla="*/ 56 h 119"/>
                <a:gd name="T14" fmla="*/ 240 w 240"/>
                <a:gd name="T15" fmla="*/ 56 h 119"/>
                <a:gd name="T16" fmla="*/ 240 w 240"/>
                <a:gd name="T17" fmla="*/ 54 h 119"/>
                <a:gd name="T18" fmla="*/ 221 w 240"/>
                <a:gd name="T19" fmla="*/ 17 h 119"/>
                <a:gd name="T20" fmla="*/ 205 w 240"/>
                <a:gd name="T21" fmla="*/ 0 h 119"/>
                <a:gd name="T22" fmla="*/ 196 w 240"/>
                <a:gd name="T23" fmla="*/ 8 h 119"/>
                <a:gd name="T24" fmla="*/ 192 w 240"/>
                <a:gd name="T25" fmla="*/ 29 h 119"/>
                <a:gd name="T26" fmla="*/ 171 w 240"/>
                <a:gd name="T27" fmla="*/ 33 h 119"/>
                <a:gd name="T28" fmla="*/ 148 w 240"/>
                <a:gd name="T29" fmla="*/ 54 h 119"/>
                <a:gd name="T30" fmla="*/ 115 w 240"/>
                <a:gd name="T31" fmla="*/ 63 h 119"/>
                <a:gd name="T32" fmla="*/ 59 w 240"/>
                <a:gd name="T33" fmla="*/ 83 h 119"/>
                <a:gd name="T34" fmla="*/ 27 w 240"/>
                <a:gd name="T35" fmla="*/ 84 h 119"/>
                <a:gd name="T36" fmla="*/ 8 w 240"/>
                <a:gd name="T37" fmla="*/ 96 h 119"/>
                <a:gd name="T38" fmla="*/ 0 w 240"/>
                <a:gd name="T39" fmla="*/ 11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0" h="119">
                  <a:moveTo>
                    <a:pt x="0" y="115"/>
                  </a:moveTo>
                  <a:lnTo>
                    <a:pt x="6" y="113"/>
                  </a:lnTo>
                  <a:lnTo>
                    <a:pt x="19" y="119"/>
                  </a:lnTo>
                  <a:lnTo>
                    <a:pt x="136" y="109"/>
                  </a:lnTo>
                  <a:lnTo>
                    <a:pt x="134" y="106"/>
                  </a:lnTo>
                  <a:lnTo>
                    <a:pt x="238" y="52"/>
                  </a:lnTo>
                  <a:lnTo>
                    <a:pt x="238" y="56"/>
                  </a:lnTo>
                  <a:lnTo>
                    <a:pt x="240" y="56"/>
                  </a:lnTo>
                  <a:lnTo>
                    <a:pt x="240" y="54"/>
                  </a:lnTo>
                  <a:lnTo>
                    <a:pt x="221" y="17"/>
                  </a:lnTo>
                  <a:lnTo>
                    <a:pt x="205" y="0"/>
                  </a:lnTo>
                  <a:lnTo>
                    <a:pt x="196" y="8"/>
                  </a:lnTo>
                  <a:lnTo>
                    <a:pt x="192" y="29"/>
                  </a:lnTo>
                  <a:lnTo>
                    <a:pt x="171" y="33"/>
                  </a:lnTo>
                  <a:lnTo>
                    <a:pt x="148" y="54"/>
                  </a:lnTo>
                  <a:lnTo>
                    <a:pt x="115" y="63"/>
                  </a:lnTo>
                  <a:lnTo>
                    <a:pt x="59" y="83"/>
                  </a:lnTo>
                  <a:lnTo>
                    <a:pt x="27" y="84"/>
                  </a:lnTo>
                  <a:lnTo>
                    <a:pt x="8" y="96"/>
                  </a:lnTo>
                  <a:lnTo>
                    <a:pt x="0" y="11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2" name="Freeform 155"/>
            <p:cNvSpPr>
              <a:spLocks/>
            </p:cNvSpPr>
            <p:nvPr/>
          </p:nvSpPr>
          <p:spPr bwMode="auto">
            <a:xfrm rot="127247">
              <a:off x="3530" y="1938"/>
              <a:ext cx="19" cy="31"/>
            </a:xfrm>
            <a:custGeom>
              <a:avLst/>
              <a:gdLst>
                <a:gd name="T0" fmla="*/ 0 w 60"/>
                <a:gd name="T1" fmla="*/ 63 h 82"/>
                <a:gd name="T2" fmla="*/ 17 w 60"/>
                <a:gd name="T3" fmla="*/ 69 h 82"/>
                <a:gd name="T4" fmla="*/ 58 w 60"/>
                <a:gd name="T5" fmla="*/ 82 h 82"/>
                <a:gd name="T6" fmla="*/ 60 w 60"/>
                <a:gd name="T7" fmla="*/ 73 h 82"/>
                <a:gd name="T8" fmla="*/ 50 w 60"/>
                <a:gd name="T9" fmla="*/ 44 h 82"/>
                <a:gd name="T10" fmla="*/ 58 w 60"/>
                <a:gd name="T11" fmla="*/ 23 h 82"/>
                <a:gd name="T12" fmla="*/ 58 w 60"/>
                <a:gd name="T13" fmla="*/ 2 h 82"/>
                <a:gd name="T14" fmla="*/ 37 w 60"/>
                <a:gd name="T15" fmla="*/ 0 h 82"/>
                <a:gd name="T16" fmla="*/ 25 w 60"/>
                <a:gd name="T17" fmla="*/ 23 h 82"/>
                <a:gd name="T18" fmla="*/ 23 w 60"/>
                <a:gd name="T19" fmla="*/ 44 h 82"/>
                <a:gd name="T20" fmla="*/ 0 w 60"/>
                <a:gd name="T21" fmla="*/ 63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82">
                  <a:moveTo>
                    <a:pt x="0" y="63"/>
                  </a:moveTo>
                  <a:lnTo>
                    <a:pt x="17" y="69"/>
                  </a:lnTo>
                  <a:lnTo>
                    <a:pt x="58" y="82"/>
                  </a:lnTo>
                  <a:lnTo>
                    <a:pt x="60" y="73"/>
                  </a:lnTo>
                  <a:lnTo>
                    <a:pt x="50" y="44"/>
                  </a:lnTo>
                  <a:lnTo>
                    <a:pt x="58" y="23"/>
                  </a:lnTo>
                  <a:lnTo>
                    <a:pt x="58" y="2"/>
                  </a:lnTo>
                  <a:lnTo>
                    <a:pt x="37" y="0"/>
                  </a:lnTo>
                  <a:lnTo>
                    <a:pt x="25" y="23"/>
                  </a:lnTo>
                  <a:lnTo>
                    <a:pt x="23" y="44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3" name="Freeform 156"/>
            <p:cNvSpPr>
              <a:spLocks/>
            </p:cNvSpPr>
            <p:nvPr/>
          </p:nvSpPr>
          <p:spPr bwMode="auto">
            <a:xfrm rot="127247">
              <a:off x="3203" y="2680"/>
              <a:ext cx="48" cy="152"/>
            </a:xfrm>
            <a:custGeom>
              <a:avLst/>
              <a:gdLst>
                <a:gd name="T0" fmla="*/ 7 w 155"/>
                <a:gd name="T1" fmla="*/ 261 h 422"/>
                <a:gd name="T2" fmla="*/ 47 w 155"/>
                <a:gd name="T3" fmla="*/ 303 h 422"/>
                <a:gd name="T4" fmla="*/ 82 w 155"/>
                <a:gd name="T5" fmla="*/ 297 h 422"/>
                <a:gd name="T6" fmla="*/ 101 w 155"/>
                <a:gd name="T7" fmla="*/ 301 h 422"/>
                <a:gd name="T8" fmla="*/ 90 w 155"/>
                <a:gd name="T9" fmla="*/ 353 h 422"/>
                <a:gd name="T10" fmla="*/ 82 w 155"/>
                <a:gd name="T11" fmla="*/ 357 h 422"/>
                <a:gd name="T12" fmla="*/ 78 w 155"/>
                <a:gd name="T13" fmla="*/ 359 h 422"/>
                <a:gd name="T14" fmla="*/ 107 w 155"/>
                <a:gd name="T15" fmla="*/ 422 h 422"/>
                <a:gd name="T16" fmla="*/ 122 w 155"/>
                <a:gd name="T17" fmla="*/ 370 h 422"/>
                <a:gd name="T18" fmla="*/ 147 w 155"/>
                <a:gd name="T19" fmla="*/ 372 h 422"/>
                <a:gd name="T20" fmla="*/ 155 w 155"/>
                <a:gd name="T21" fmla="*/ 339 h 422"/>
                <a:gd name="T22" fmla="*/ 145 w 155"/>
                <a:gd name="T23" fmla="*/ 326 h 422"/>
                <a:gd name="T24" fmla="*/ 151 w 155"/>
                <a:gd name="T25" fmla="*/ 297 h 422"/>
                <a:gd name="T26" fmla="*/ 99 w 155"/>
                <a:gd name="T27" fmla="*/ 232 h 422"/>
                <a:gd name="T28" fmla="*/ 99 w 155"/>
                <a:gd name="T29" fmla="*/ 173 h 422"/>
                <a:gd name="T30" fmla="*/ 90 w 155"/>
                <a:gd name="T31" fmla="*/ 161 h 422"/>
                <a:gd name="T32" fmla="*/ 90 w 155"/>
                <a:gd name="T33" fmla="*/ 144 h 422"/>
                <a:gd name="T34" fmla="*/ 115 w 155"/>
                <a:gd name="T35" fmla="*/ 119 h 422"/>
                <a:gd name="T36" fmla="*/ 117 w 155"/>
                <a:gd name="T37" fmla="*/ 119 h 422"/>
                <a:gd name="T38" fmla="*/ 99 w 155"/>
                <a:gd name="T39" fmla="*/ 94 h 422"/>
                <a:gd name="T40" fmla="*/ 109 w 155"/>
                <a:gd name="T41" fmla="*/ 79 h 422"/>
                <a:gd name="T42" fmla="*/ 95 w 155"/>
                <a:gd name="T43" fmla="*/ 19 h 422"/>
                <a:gd name="T44" fmla="*/ 82 w 155"/>
                <a:gd name="T45" fmla="*/ 0 h 422"/>
                <a:gd name="T46" fmla="*/ 69 w 155"/>
                <a:gd name="T47" fmla="*/ 15 h 422"/>
                <a:gd name="T48" fmla="*/ 38 w 155"/>
                <a:gd name="T49" fmla="*/ 6 h 422"/>
                <a:gd name="T50" fmla="*/ 32 w 155"/>
                <a:gd name="T51" fmla="*/ 31 h 422"/>
                <a:gd name="T52" fmla="*/ 49 w 155"/>
                <a:gd name="T53" fmla="*/ 61 h 422"/>
                <a:gd name="T54" fmla="*/ 34 w 155"/>
                <a:gd name="T55" fmla="*/ 79 h 422"/>
                <a:gd name="T56" fmla="*/ 42 w 155"/>
                <a:gd name="T57" fmla="*/ 94 h 422"/>
                <a:gd name="T58" fmla="*/ 30 w 155"/>
                <a:gd name="T59" fmla="*/ 113 h 422"/>
                <a:gd name="T60" fmla="*/ 30 w 155"/>
                <a:gd name="T61" fmla="*/ 132 h 422"/>
                <a:gd name="T62" fmla="*/ 23 w 155"/>
                <a:gd name="T63" fmla="*/ 136 h 422"/>
                <a:gd name="T64" fmla="*/ 32 w 155"/>
                <a:gd name="T65" fmla="*/ 171 h 422"/>
                <a:gd name="T66" fmla="*/ 13 w 155"/>
                <a:gd name="T67" fmla="*/ 190 h 422"/>
                <a:gd name="T68" fmla="*/ 11 w 155"/>
                <a:gd name="T69" fmla="*/ 215 h 422"/>
                <a:gd name="T70" fmla="*/ 0 w 155"/>
                <a:gd name="T71" fmla="*/ 232 h 422"/>
                <a:gd name="T72" fmla="*/ 3 w 155"/>
                <a:gd name="T73" fmla="*/ 261 h 422"/>
                <a:gd name="T74" fmla="*/ 7 w 155"/>
                <a:gd name="T75" fmla="*/ 261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5" h="422">
                  <a:moveTo>
                    <a:pt x="7" y="261"/>
                  </a:moveTo>
                  <a:lnTo>
                    <a:pt x="47" y="303"/>
                  </a:lnTo>
                  <a:lnTo>
                    <a:pt x="82" y="297"/>
                  </a:lnTo>
                  <a:lnTo>
                    <a:pt x="101" y="301"/>
                  </a:lnTo>
                  <a:lnTo>
                    <a:pt x="90" y="353"/>
                  </a:lnTo>
                  <a:lnTo>
                    <a:pt x="82" y="357"/>
                  </a:lnTo>
                  <a:lnTo>
                    <a:pt x="78" y="359"/>
                  </a:lnTo>
                  <a:lnTo>
                    <a:pt x="107" y="422"/>
                  </a:lnTo>
                  <a:lnTo>
                    <a:pt x="122" y="370"/>
                  </a:lnTo>
                  <a:lnTo>
                    <a:pt x="147" y="372"/>
                  </a:lnTo>
                  <a:lnTo>
                    <a:pt x="155" y="339"/>
                  </a:lnTo>
                  <a:lnTo>
                    <a:pt x="145" y="326"/>
                  </a:lnTo>
                  <a:lnTo>
                    <a:pt x="151" y="297"/>
                  </a:lnTo>
                  <a:lnTo>
                    <a:pt x="99" y="232"/>
                  </a:lnTo>
                  <a:lnTo>
                    <a:pt x="99" y="173"/>
                  </a:lnTo>
                  <a:lnTo>
                    <a:pt x="90" y="161"/>
                  </a:lnTo>
                  <a:lnTo>
                    <a:pt x="90" y="144"/>
                  </a:lnTo>
                  <a:lnTo>
                    <a:pt x="115" y="119"/>
                  </a:lnTo>
                  <a:lnTo>
                    <a:pt x="117" y="119"/>
                  </a:lnTo>
                  <a:lnTo>
                    <a:pt x="99" y="94"/>
                  </a:lnTo>
                  <a:lnTo>
                    <a:pt x="109" y="79"/>
                  </a:lnTo>
                  <a:lnTo>
                    <a:pt x="95" y="19"/>
                  </a:lnTo>
                  <a:lnTo>
                    <a:pt x="82" y="0"/>
                  </a:lnTo>
                  <a:lnTo>
                    <a:pt x="69" y="15"/>
                  </a:lnTo>
                  <a:lnTo>
                    <a:pt x="38" y="6"/>
                  </a:lnTo>
                  <a:lnTo>
                    <a:pt x="32" y="31"/>
                  </a:lnTo>
                  <a:lnTo>
                    <a:pt x="49" y="61"/>
                  </a:lnTo>
                  <a:lnTo>
                    <a:pt x="34" y="79"/>
                  </a:lnTo>
                  <a:lnTo>
                    <a:pt x="42" y="94"/>
                  </a:lnTo>
                  <a:lnTo>
                    <a:pt x="30" y="113"/>
                  </a:lnTo>
                  <a:lnTo>
                    <a:pt x="30" y="132"/>
                  </a:lnTo>
                  <a:lnTo>
                    <a:pt x="23" y="136"/>
                  </a:lnTo>
                  <a:lnTo>
                    <a:pt x="32" y="171"/>
                  </a:lnTo>
                  <a:lnTo>
                    <a:pt x="13" y="190"/>
                  </a:lnTo>
                  <a:lnTo>
                    <a:pt x="11" y="215"/>
                  </a:lnTo>
                  <a:lnTo>
                    <a:pt x="0" y="232"/>
                  </a:lnTo>
                  <a:lnTo>
                    <a:pt x="3" y="261"/>
                  </a:lnTo>
                  <a:lnTo>
                    <a:pt x="7" y="26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444" name="Group 158"/>
            <p:cNvGrpSpPr>
              <a:grpSpLocks/>
            </p:cNvGrpSpPr>
            <p:nvPr/>
          </p:nvGrpSpPr>
          <p:grpSpPr bwMode="auto">
            <a:xfrm>
              <a:off x="2566" y="803"/>
              <a:ext cx="861" cy="936"/>
              <a:chOff x="1194" y="508"/>
              <a:chExt cx="3134" cy="3278"/>
            </a:xfrm>
            <a:grpFill/>
          </p:grpSpPr>
          <p:grpSp>
            <p:nvGrpSpPr>
              <p:cNvPr id="510" name="Group 159"/>
              <p:cNvGrpSpPr>
                <a:grpSpLocks/>
              </p:cNvGrpSpPr>
              <p:nvPr/>
            </p:nvGrpSpPr>
            <p:grpSpPr bwMode="auto">
              <a:xfrm>
                <a:off x="2234" y="1852"/>
                <a:ext cx="264" cy="329"/>
                <a:chOff x="2234" y="1852"/>
                <a:chExt cx="264" cy="329"/>
              </a:xfrm>
              <a:grpFill/>
            </p:grpSpPr>
            <p:sp>
              <p:nvSpPr>
                <p:cNvPr id="582" name="Freeform 160"/>
                <p:cNvSpPr>
                  <a:spLocks/>
                </p:cNvSpPr>
                <p:nvPr/>
              </p:nvSpPr>
              <p:spPr bwMode="auto">
                <a:xfrm>
                  <a:off x="2234" y="1852"/>
                  <a:ext cx="168" cy="280"/>
                </a:xfrm>
                <a:custGeom>
                  <a:avLst/>
                  <a:gdLst>
                    <a:gd name="T0" fmla="*/ 44 w 168"/>
                    <a:gd name="T1" fmla="*/ 280 h 280"/>
                    <a:gd name="T2" fmla="*/ 96 w 168"/>
                    <a:gd name="T3" fmla="*/ 280 h 280"/>
                    <a:gd name="T4" fmla="*/ 102 w 168"/>
                    <a:gd name="T5" fmla="*/ 260 h 280"/>
                    <a:gd name="T6" fmla="*/ 100 w 168"/>
                    <a:gd name="T7" fmla="*/ 244 h 280"/>
                    <a:gd name="T8" fmla="*/ 122 w 168"/>
                    <a:gd name="T9" fmla="*/ 210 h 280"/>
                    <a:gd name="T10" fmla="*/ 138 w 168"/>
                    <a:gd name="T11" fmla="*/ 158 h 280"/>
                    <a:gd name="T12" fmla="*/ 158 w 168"/>
                    <a:gd name="T13" fmla="*/ 168 h 280"/>
                    <a:gd name="T14" fmla="*/ 168 w 168"/>
                    <a:gd name="T15" fmla="*/ 142 h 280"/>
                    <a:gd name="T16" fmla="*/ 136 w 168"/>
                    <a:gd name="T17" fmla="*/ 134 h 280"/>
                    <a:gd name="T18" fmla="*/ 132 w 168"/>
                    <a:gd name="T19" fmla="*/ 82 h 280"/>
                    <a:gd name="T20" fmla="*/ 106 w 168"/>
                    <a:gd name="T21" fmla="*/ 74 h 280"/>
                    <a:gd name="T22" fmla="*/ 132 w 168"/>
                    <a:gd name="T23" fmla="*/ 64 h 280"/>
                    <a:gd name="T24" fmla="*/ 150 w 168"/>
                    <a:gd name="T25" fmla="*/ 52 h 280"/>
                    <a:gd name="T26" fmla="*/ 142 w 168"/>
                    <a:gd name="T27" fmla="*/ 18 h 280"/>
                    <a:gd name="T28" fmla="*/ 156 w 168"/>
                    <a:gd name="T29" fmla="*/ 0 h 280"/>
                    <a:gd name="T30" fmla="*/ 114 w 168"/>
                    <a:gd name="T31" fmla="*/ 20 h 280"/>
                    <a:gd name="T32" fmla="*/ 96 w 168"/>
                    <a:gd name="T33" fmla="*/ 56 h 280"/>
                    <a:gd name="T34" fmla="*/ 46 w 168"/>
                    <a:gd name="T35" fmla="*/ 60 h 280"/>
                    <a:gd name="T36" fmla="*/ 10 w 168"/>
                    <a:gd name="T37" fmla="*/ 88 h 280"/>
                    <a:gd name="T38" fmla="*/ 26 w 168"/>
                    <a:gd name="T39" fmla="*/ 114 h 280"/>
                    <a:gd name="T40" fmla="*/ 50 w 168"/>
                    <a:gd name="T41" fmla="*/ 76 h 280"/>
                    <a:gd name="T42" fmla="*/ 84 w 168"/>
                    <a:gd name="T43" fmla="*/ 78 h 280"/>
                    <a:gd name="T44" fmla="*/ 96 w 168"/>
                    <a:gd name="T45" fmla="*/ 124 h 280"/>
                    <a:gd name="T46" fmla="*/ 72 w 168"/>
                    <a:gd name="T47" fmla="*/ 100 h 280"/>
                    <a:gd name="T48" fmla="*/ 48 w 168"/>
                    <a:gd name="T49" fmla="*/ 128 h 280"/>
                    <a:gd name="T50" fmla="*/ 0 w 168"/>
                    <a:gd name="T51" fmla="*/ 128 h 280"/>
                    <a:gd name="T52" fmla="*/ 6 w 168"/>
                    <a:gd name="T53" fmla="*/ 180 h 280"/>
                    <a:gd name="T54" fmla="*/ 28 w 168"/>
                    <a:gd name="T55" fmla="*/ 200 h 280"/>
                    <a:gd name="T56" fmla="*/ 10 w 168"/>
                    <a:gd name="T57" fmla="*/ 216 h 280"/>
                    <a:gd name="T58" fmla="*/ 14 w 168"/>
                    <a:gd name="T59" fmla="*/ 240 h 280"/>
                    <a:gd name="T60" fmla="*/ 40 w 168"/>
                    <a:gd name="T61" fmla="*/ 256 h 280"/>
                    <a:gd name="T62" fmla="*/ 44 w 168"/>
                    <a:gd name="T63" fmla="*/ 280 h 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68" h="280">
                      <a:moveTo>
                        <a:pt x="44" y="280"/>
                      </a:moveTo>
                      <a:lnTo>
                        <a:pt x="96" y="280"/>
                      </a:lnTo>
                      <a:lnTo>
                        <a:pt x="102" y="260"/>
                      </a:lnTo>
                      <a:lnTo>
                        <a:pt x="100" y="244"/>
                      </a:lnTo>
                      <a:lnTo>
                        <a:pt x="122" y="210"/>
                      </a:lnTo>
                      <a:lnTo>
                        <a:pt x="138" y="158"/>
                      </a:lnTo>
                      <a:lnTo>
                        <a:pt x="158" y="168"/>
                      </a:lnTo>
                      <a:lnTo>
                        <a:pt x="168" y="142"/>
                      </a:lnTo>
                      <a:lnTo>
                        <a:pt x="136" y="134"/>
                      </a:lnTo>
                      <a:lnTo>
                        <a:pt x="132" y="82"/>
                      </a:lnTo>
                      <a:lnTo>
                        <a:pt x="106" y="74"/>
                      </a:lnTo>
                      <a:lnTo>
                        <a:pt x="132" y="64"/>
                      </a:lnTo>
                      <a:lnTo>
                        <a:pt x="150" y="52"/>
                      </a:lnTo>
                      <a:lnTo>
                        <a:pt x="142" y="18"/>
                      </a:lnTo>
                      <a:lnTo>
                        <a:pt x="156" y="0"/>
                      </a:lnTo>
                      <a:lnTo>
                        <a:pt x="114" y="20"/>
                      </a:lnTo>
                      <a:lnTo>
                        <a:pt x="96" y="56"/>
                      </a:lnTo>
                      <a:lnTo>
                        <a:pt x="46" y="60"/>
                      </a:lnTo>
                      <a:lnTo>
                        <a:pt x="10" y="88"/>
                      </a:lnTo>
                      <a:lnTo>
                        <a:pt x="26" y="114"/>
                      </a:lnTo>
                      <a:lnTo>
                        <a:pt x="50" y="76"/>
                      </a:lnTo>
                      <a:lnTo>
                        <a:pt x="84" y="78"/>
                      </a:lnTo>
                      <a:lnTo>
                        <a:pt x="96" y="124"/>
                      </a:lnTo>
                      <a:lnTo>
                        <a:pt x="72" y="100"/>
                      </a:lnTo>
                      <a:lnTo>
                        <a:pt x="48" y="128"/>
                      </a:lnTo>
                      <a:lnTo>
                        <a:pt x="0" y="128"/>
                      </a:lnTo>
                      <a:lnTo>
                        <a:pt x="6" y="180"/>
                      </a:lnTo>
                      <a:lnTo>
                        <a:pt x="28" y="200"/>
                      </a:lnTo>
                      <a:lnTo>
                        <a:pt x="10" y="216"/>
                      </a:lnTo>
                      <a:lnTo>
                        <a:pt x="14" y="240"/>
                      </a:lnTo>
                      <a:lnTo>
                        <a:pt x="40" y="256"/>
                      </a:lnTo>
                      <a:lnTo>
                        <a:pt x="44" y="28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3" name="Freeform 161"/>
                <p:cNvSpPr>
                  <a:spLocks/>
                </p:cNvSpPr>
                <p:nvPr/>
              </p:nvSpPr>
              <p:spPr bwMode="auto">
                <a:xfrm>
                  <a:off x="2348" y="2085"/>
                  <a:ext cx="37" cy="44"/>
                </a:xfrm>
                <a:custGeom>
                  <a:avLst/>
                  <a:gdLst>
                    <a:gd name="T0" fmla="*/ 0 w 37"/>
                    <a:gd name="T1" fmla="*/ 15 h 44"/>
                    <a:gd name="T2" fmla="*/ 21 w 37"/>
                    <a:gd name="T3" fmla="*/ 39 h 44"/>
                    <a:gd name="T4" fmla="*/ 37 w 37"/>
                    <a:gd name="T5" fmla="*/ 44 h 44"/>
                    <a:gd name="T6" fmla="*/ 34 w 37"/>
                    <a:gd name="T7" fmla="*/ 0 h 44"/>
                    <a:gd name="T8" fmla="*/ 15 w 37"/>
                    <a:gd name="T9" fmla="*/ 0 h 44"/>
                    <a:gd name="T10" fmla="*/ 0 w 37"/>
                    <a:gd name="T11" fmla="*/ 15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44">
                      <a:moveTo>
                        <a:pt x="0" y="15"/>
                      </a:moveTo>
                      <a:lnTo>
                        <a:pt x="21" y="39"/>
                      </a:lnTo>
                      <a:lnTo>
                        <a:pt x="37" y="44"/>
                      </a:lnTo>
                      <a:lnTo>
                        <a:pt x="34" y="0"/>
                      </a:lnTo>
                      <a:lnTo>
                        <a:pt x="15" y="0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4" name="Freeform 162"/>
                <p:cNvSpPr>
                  <a:spLocks/>
                </p:cNvSpPr>
                <p:nvPr/>
              </p:nvSpPr>
              <p:spPr bwMode="auto">
                <a:xfrm>
                  <a:off x="2391" y="2015"/>
                  <a:ext cx="102" cy="115"/>
                </a:xfrm>
                <a:custGeom>
                  <a:avLst/>
                  <a:gdLst>
                    <a:gd name="T0" fmla="*/ 0 w 102"/>
                    <a:gd name="T1" fmla="*/ 54 h 115"/>
                    <a:gd name="T2" fmla="*/ 17 w 102"/>
                    <a:gd name="T3" fmla="*/ 75 h 115"/>
                    <a:gd name="T4" fmla="*/ 21 w 102"/>
                    <a:gd name="T5" fmla="*/ 106 h 115"/>
                    <a:gd name="T6" fmla="*/ 44 w 102"/>
                    <a:gd name="T7" fmla="*/ 91 h 115"/>
                    <a:gd name="T8" fmla="*/ 60 w 102"/>
                    <a:gd name="T9" fmla="*/ 115 h 115"/>
                    <a:gd name="T10" fmla="*/ 72 w 102"/>
                    <a:gd name="T11" fmla="*/ 108 h 115"/>
                    <a:gd name="T12" fmla="*/ 78 w 102"/>
                    <a:gd name="T13" fmla="*/ 94 h 115"/>
                    <a:gd name="T14" fmla="*/ 102 w 102"/>
                    <a:gd name="T15" fmla="*/ 81 h 115"/>
                    <a:gd name="T16" fmla="*/ 81 w 102"/>
                    <a:gd name="T17" fmla="*/ 61 h 115"/>
                    <a:gd name="T18" fmla="*/ 96 w 102"/>
                    <a:gd name="T19" fmla="*/ 46 h 115"/>
                    <a:gd name="T20" fmla="*/ 89 w 102"/>
                    <a:gd name="T21" fmla="*/ 0 h 115"/>
                    <a:gd name="T22" fmla="*/ 57 w 102"/>
                    <a:gd name="T23" fmla="*/ 12 h 115"/>
                    <a:gd name="T24" fmla="*/ 66 w 102"/>
                    <a:gd name="T25" fmla="*/ 40 h 115"/>
                    <a:gd name="T26" fmla="*/ 51 w 102"/>
                    <a:gd name="T27" fmla="*/ 52 h 115"/>
                    <a:gd name="T28" fmla="*/ 38 w 102"/>
                    <a:gd name="T29" fmla="*/ 34 h 115"/>
                    <a:gd name="T30" fmla="*/ 20 w 102"/>
                    <a:gd name="T31" fmla="*/ 51 h 115"/>
                    <a:gd name="T32" fmla="*/ 0 w 102"/>
                    <a:gd name="T33" fmla="*/ 54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2" h="115">
                      <a:moveTo>
                        <a:pt x="0" y="54"/>
                      </a:moveTo>
                      <a:lnTo>
                        <a:pt x="17" y="75"/>
                      </a:lnTo>
                      <a:lnTo>
                        <a:pt x="21" y="106"/>
                      </a:lnTo>
                      <a:lnTo>
                        <a:pt x="44" y="91"/>
                      </a:lnTo>
                      <a:lnTo>
                        <a:pt x="60" y="115"/>
                      </a:lnTo>
                      <a:lnTo>
                        <a:pt x="72" y="108"/>
                      </a:lnTo>
                      <a:lnTo>
                        <a:pt x="78" y="94"/>
                      </a:lnTo>
                      <a:lnTo>
                        <a:pt x="102" y="81"/>
                      </a:lnTo>
                      <a:lnTo>
                        <a:pt x="81" y="61"/>
                      </a:lnTo>
                      <a:lnTo>
                        <a:pt x="96" y="46"/>
                      </a:lnTo>
                      <a:lnTo>
                        <a:pt x="89" y="0"/>
                      </a:lnTo>
                      <a:lnTo>
                        <a:pt x="57" y="12"/>
                      </a:lnTo>
                      <a:lnTo>
                        <a:pt x="66" y="40"/>
                      </a:lnTo>
                      <a:lnTo>
                        <a:pt x="51" y="52"/>
                      </a:lnTo>
                      <a:lnTo>
                        <a:pt x="38" y="34"/>
                      </a:lnTo>
                      <a:lnTo>
                        <a:pt x="20" y="51"/>
                      </a:lnTo>
                      <a:lnTo>
                        <a:pt x="0" y="54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5" name="Freeform 163"/>
                <p:cNvSpPr>
                  <a:spLocks/>
                </p:cNvSpPr>
                <p:nvPr/>
              </p:nvSpPr>
              <p:spPr bwMode="auto">
                <a:xfrm>
                  <a:off x="2409" y="2138"/>
                  <a:ext cx="89" cy="43"/>
                </a:xfrm>
                <a:custGeom>
                  <a:avLst/>
                  <a:gdLst>
                    <a:gd name="T0" fmla="*/ 8 w 89"/>
                    <a:gd name="T1" fmla="*/ 3 h 43"/>
                    <a:gd name="T2" fmla="*/ 0 w 89"/>
                    <a:gd name="T3" fmla="*/ 37 h 43"/>
                    <a:gd name="T4" fmla="*/ 23 w 89"/>
                    <a:gd name="T5" fmla="*/ 43 h 43"/>
                    <a:gd name="T6" fmla="*/ 89 w 89"/>
                    <a:gd name="T7" fmla="*/ 0 h 43"/>
                    <a:gd name="T8" fmla="*/ 33 w 89"/>
                    <a:gd name="T9" fmla="*/ 12 h 43"/>
                    <a:gd name="T10" fmla="*/ 8 w 89"/>
                    <a:gd name="T11" fmla="*/ 3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9" h="43">
                      <a:moveTo>
                        <a:pt x="8" y="3"/>
                      </a:moveTo>
                      <a:lnTo>
                        <a:pt x="0" y="37"/>
                      </a:lnTo>
                      <a:lnTo>
                        <a:pt x="23" y="43"/>
                      </a:lnTo>
                      <a:lnTo>
                        <a:pt x="89" y="0"/>
                      </a:lnTo>
                      <a:lnTo>
                        <a:pt x="33" y="12"/>
                      </a:lnTo>
                      <a:lnTo>
                        <a:pt x="8" y="3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511" name="Freeform 164"/>
              <p:cNvSpPr>
                <a:spLocks/>
              </p:cNvSpPr>
              <p:nvPr/>
            </p:nvSpPr>
            <p:spPr bwMode="auto">
              <a:xfrm>
                <a:off x="2091" y="2130"/>
                <a:ext cx="507" cy="657"/>
              </a:xfrm>
              <a:custGeom>
                <a:avLst/>
                <a:gdLst>
                  <a:gd name="T0" fmla="*/ 249 w 507"/>
                  <a:gd name="T1" fmla="*/ 8 h 657"/>
                  <a:gd name="T2" fmla="*/ 255 w 507"/>
                  <a:gd name="T3" fmla="*/ 23 h 657"/>
                  <a:gd name="T4" fmla="*/ 312 w 507"/>
                  <a:gd name="T5" fmla="*/ 77 h 657"/>
                  <a:gd name="T6" fmla="*/ 344 w 507"/>
                  <a:gd name="T7" fmla="*/ 113 h 657"/>
                  <a:gd name="T8" fmla="*/ 375 w 507"/>
                  <a:gd name="T9" fmla="*/ 83 h 657"/>
                  <a:gd name="T10" fmla="*/ 447 w 507"/>
                  <a:gd name="T11" fmla="*/ 72 h 657"/>
                  <a:gd name="T12" fmla="*/ 489 w 507"/>
                  <a:gd name="T13" fmla="*/ 117 h 657"/>
                  <a:gd name="T14" fmla="*/ 495 w 507"/>
                  <a:gd name="T15" fmla="*/ 191 h 657"/>
                  <a:gd name="T16" fmla="*/ 500 w 507"/>
                  <a:gd name="T17" fmla="*/ 266 h 657"/>
                  <a:gd name="T18" fmla="*/ 483 w 507"/>
                  <a:gd name="T19" fmla="*/ 329 h 657"/>
                  <a:gd name="T20" fmla="*/ 416 w 507"/>
                  <a:gd name="T21" fmla="*/ 369 h 657"/>
                  <a:gd name="T22" fmla="*/ 365 w 507"/>
                  <a:gd name="T23" fmla="*/ 396 h 657"/>
                  <a:gd name="T24" fmla="*/ 405 w 507"/>
                  <a:gd name="T25" fmla="*/ 495 h 657"/>
                  <a:gd name="T26" fmla="*/ 452 w 507"/>
                  <a:gd name="T27" fmla="*/ 518 h 657"/>
                  <a:gd name="T28" fmla="*/ 429 w 507"/>
                  <a:gd name="T29" fmla="*/ 567 h 657"/>
                  <a:gd name="T30" fmla="*/ 393 w 507"/>
                  <a:gd name="T31" fmla="*/ 587 h 657"/>
                  <a:gd name="T32" fmla="*/ 411 w 507"/>
                  <a:gd name="T33" fmla="*/ 626 h 657"/>
                  <a:gd name="T34" fmla="*/ 335 w 507"/>
                  <a:gd name="T35" fmla="*/ 608 h 657"/>
                  <a:gd name="T36" fmla="*/ 267 w 507"/>
                  <a:gd name="T37" fmla="*/ 639 h 657"/>
                  <a:gd name="T38" fmla="*/ 213 w 507"/>
                  <a:gd name="T39" fmla="*/ 626 h 657"/>
                  <a:gd name="T40" fmla="*/ 164 w 507"/>
                  <a:gd name="T41" fmla="*/ 624 h 657"/>
                  <a:gd name="T42" fmla="*/ 134 w 507"/>
                  <a:gd name="T43" fmla="*/ 585 h 657"/>
                  <a:gd name="T44" fmla="*/ 146 w 507"/>
                  <a:gd name="T45" fmla="*/ 518 h 657"/>
                  <a:gd name="T46" fmla="*/ 96 w 507"/>
                  <a:gd name="T47" fmla="*/ 506 h 657"/>
                  <a:gd name="T48" fmla="*/ 41 w 507"/>
                  <a:gd name="T49" fmla="*/ 486 h 657"/>
                  <a:gd name="T50" fmla="*/ 47 w 507"/>
                  <a:gd name="T51" fmla="*/ 447 h 657"/>
                  <a:gd name="T52" fmla="*/ 27 w 507"/>
                  <a:gd name="T53" fmla="*/ 392 h 657"/>
                  <a:gd name="T54" fmla="*/ 24 w 507"/>
                  <a:gd name="T55" fmla="*/ 359 h 657"/>
                  <a:gd name="T56" fmla="*/ 23 w 507"/>
                  <a:gd name="T57" fmla="*/ 306 h 657"/>
                  <a:gd name="T58" fmla="*/ 68 w 507"/>
                  <a:gd name="T59" fmla="*/ 284 h 657"/>
                  <a:gd name="T60" fmla="*/ 93 w 507"/>
                  <a:gd name="T61" fmla="*/ 239 h 657"/>
                  <a:gd name="T62" fmla="*/ 122 w 507"/>
                  <a:gd name="T63" fmla="*/ 188 h 657"/>
                  <a:gd name="T64" fmla="*/ 119 w 507"/>
                  <a:gd name="T65" fmla="*/ 149 h 657"/>
                  <a:gd name="T66" fmla="*/ 165 w 507"/>
                  <a:gd name="T67" fmla="*/ 158 h 657"/>
                  <a:gd name="T68" fmla="*/ 180 w 507"/>
                  <a:gd name="T69" fmla="*/ 108 h 657"/>
                  <a:gd name="T70" fmla="*/ 192 w 507"/>
                  <a:gd name="T71" fmla="*/ 95 h 657"/>
                  <a:gd name="T72" fmla="*/ 200 w 507"/>
                  <a:gd name="T73" fmla="*/ 54 h 657"/>
                  <a:gd name="T74" fmla="*/ 185 w 507"/>
                  <a:gd name="T75" fmla="*/ 0 h 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07" h="657">
                    <a:moveTo>
                      <a:pt x="239" y="2"/>
                    </a:moveTo>
                    <a:lnTo>
                      <a:pt x="249" y="8"/>
                    </a:lnTo>
                    <a:lnTo>
                      <a:pt x="266" y="2"/>
                    </a:lnTo>
                    <a:lnTo>
                      <a:pt x="255" y="23"/>
                    </a:lnTo>
                    <a:lnTo>
                      <a:pt x="269" y="77"/>
                    </a:lnTo>
                    <a:lnTo>
                      <a:pt x="312" y="77"/>
                    </a:lnTo>
                    <a:lnTo>
                      <a:pt x="312" y="96"/>
                    </a:lnTo>
                    <a:lnTo>
                      <a:pt x="344" y="113"/>
                    </a:lnTo>
                    <a:lnTo>
                      <a:pt x="344" y="87"/>
                    </a:lnTo>
                    <a:lnTo>
                      <a:pt x="375" y="83"/>
                    </a:lnTo>
                    <a:lnTo>
                      <a:pt x="390" y="54"/>
                    </a:lnTo>
                    <a:lnTo>
                      <a:pt x="447" y="72"/>
                    </a:lnTo>
                    <a:lnTo>
                      <a:pt x="492" y="83"/>
                    </a:lnTo>
                    <a:lnTo>
                      <a:pt x="489" y="117"/>
                    </a:lnTo>
                    <a:lnTo>
                      <a:pt x="479" y="156"/>
                    </a:lnTo>
                    <a:lnTo>
                      <a:pt x="495" y="191"/>
                    </a:lnTo>
                    <a:lnTo>
                      <a:pt x="491" y="230"/>
                    </a:lnTo>
                    <a:lnTo>
                      <a:pt x="500" y="266"/>
                    </a:lnTo>
                    <a:lnTo>
                      <a:pt x="507" y="339"/>
                    </a:lnTo>
                    <a:lnTo>
                      <a:pt x="483" y="329"/>
                    </a:lnTo>
                    <a:lnTo>
                      <a:pt x="443" y="351"/>
                    </a:lnTo>
                    <a:lnTo>
                      <a:pt x="416" y="369"/>
                    </a:lnTo>
                    <a:lnTo>
                      <a:pt x="402" y="383"/>
                    </a:lnTo>
                    <a:lnTo>
                      <a:pt x="365" y="396"/>
                    </a:lnTo>
                    <a:lnTo>
                      <a:pt x="408" y="461"/>
                    </a:lnTo>
                    <a:lnTo>
                      <a:pt x="405" y="495"/>
                    </a:lnTo>
                    <a:lnTo>
                      <a:pt x="435" y="498"/>
                    </a:lnTo>
                    <a:lnTo>
                      <a:pt x="452" y="518"/>
                    </a:lnTo>
                    <a:lnTo>
                      <a:pt x="434" y="534"/>
                    </a:lnTo>
                    <a:lnTo>
                      <a:pt x="429" y="567"/>
                    </a:lnTo>
                    <a:lnTo>
                      <a:pt x="408" y="575"/>
                    </a:lnTo>
                    <a:lnTo>
                      <a:pt x="393" y="587"/>
                    </a:lnTo>
                    <a:lnTo>
                      <a:pt x="414" y="608"/>
                    </a:lnTo>
                    <a:lnTo>
                      <a:pt x="411" y="626"/>
                    </a:lnTo>
                    <a:lnTo>
                      <a:pt x="371" y="612"/>
                    </a:lnTo>
                    <a:lnTo>
                      <a:pt x="335" y="608"/>
                    </a:lnTo>
                    <a:lnTo>
                      <a:pt x="309" y="626"/>
                    </a:lnTo>
                    <a:lnTo>
                      <a:pt x="267" y="639"/>
                    </a:lnTo>
                    <a:lnTo>
                      <a:pt x="257" y="657"/>
                    </a:lnTo>
                    <a:lnTo>
                      <a:pt x="213" y="626"/>
                    </a:lnTo>
                    <a:lnTo>
                      <a:pt x="191" y="614"/>
                    </a:lnTo>
                    <a:lnTo>
                      <a:pt x="164" y="624"/>
                    </a:lnTo>
                    <a:lnTo>
                      <a:pt x="138" y="633"/>
                    </a:lnTo>
                    <a:lnTo>
                      <a:pt x="134" y="585"/>
                    </a:lnTo>
                    <a:lnTo>
                      <a:pt x="135" y="555"/>
                    </a:lnTo>
                    <a:lnTo>
                      <a:pt x="146" y="518"/>
                    </a:lnTo>
                    <a:lnTo>
                      <a:pt x="123" y="503"/>
                    </a:lnTo>
                    <a:lnTo>
                      <a:pt x="96" y="506"/>
                    </a:lnTo>
                    <a:lnTo>
                      <a:pt x="80" y="491"/>
                    </a:lnTo>
                    <a:lnTo>
                      <a:pt x="41" y="486"/>
                    </a:lnTo>
                    <a:lnTo>
                      <a:pt x="36" y="467"/>
                    </a:lnTo>
                    <a:lnTo>
                      <a:pt x="47" y="447"/>
                    </a:lnTo>
                    <a:lnTo>
                      <a:pt x="24" y="419"/>
                    </a:lnTo>
                    <a:lnTo>
                      <a:pt x="27" y="392"/>
                    </a:lnTo>
                    <a:lnTo>
                      <a:pt x="17" y="374"/>
                    </a:lnTo>
                    <a:lnTo>
                      <a:pt x="24" y="359"/>
                    </a:lnTo>
                    <a:lnTo>
                      <a:pt x="0" y="348"/>
                    </a:lnTo>
                    <a:lnTo>
                      <a:pt x="23" y="306"/>
                    </a:lnTo>
                    <a:lnTo>
                      <a:pt x="24" y="279"/>
                    </a:lnTo>
                    <a:lnTo>
                      <a:pt x="68" y="284"/>
                    </a:lnTo>
                    <a:lnTo>
                      <a:pt x="101" y="255"/>
                    </a:lnTo>
                    <a:lnTo>
                      <a:pt x="93" y="239"/>
                    </a:lnTo>
                    <a:lnTo>
                      <a:pt x="114" y="228"/>
                    </a:lnTo>
                    <a:lnTo>
                      <a:pt x="122" y="188"/>
                    </a:lnTo>
                    <a:lnTo>
                      <a:pt x="108" y="167"/>
                    </a:lnTo>
                    <a:lnTo>
                      <a:pt x="119" y="149"/>
                    </a:lnTo>
                    <a:lnTo>
                      <a:pt x="155" y="132"/>
                    </a:lnTo>
                    <a:lnTo>
                      <a:pt x="165" y="158"/>
                    </a:lnTo>
                    <a:lnTo>
                      <a:pt x="179" y="135"/>
                    </a:lnTo>
                    <a:lnTo>
                      <a:pt x="180" y="108"/>
                    </a:lnTo>
                    <a:lnTo>
                      <a:pt x="206" y="117"/>
                    </a:lnTo>
                    <a:lnTo>
                      <a:pt x="192" y="95"/>
                    </a:lnTo>
                    <a:lnTo>
                      <a:pt x="191" y="68"/>
                    </a:lnTo>
                    <a:lnTo>
                      <a:pt x="200" y="54"/>
                    </a:lnTo>
                    <a:lnTo>
                      <a:pt x="180" y="23"/>
                    </a:lnTo>
                    <a:lnTo>
                      <a:pt x="185" y="0"/>
                    </a:lnTo>
                    <a:lnTo>
                      <a:pt x="239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grpSp>
            <p:nvGrpSpPr>
              <p:cNvPr id="512" name="Group 165"/>
              <p:cNvGrpSpPr>
                <a:grpSpLocks/>
              </p:cNvGrpSpPr>
              <p:nvPr/>
            </p:nvGrpSpPr>
            <p:grpSpPr bwMode="auto">
              <a:xfrm>
                <a:off x="1964" y="2283"/>
                <a:ext cx="247" cy="197"/>
                <a:chOff x="1964" y="2283"/>
                <a:chExt cx="247" cy="197"/>
              </a:xfrm>
              <a:grpFill/>
            </p:grpSpPr>
            <p:sp>
              <p:nvSpPr>
                <p:cNvPr id="580" name="Freeform 166"/>
                <p:cNvSpPr>
                  <a:spLocks/>
                </p:cNvSpPr>
                <p:nvPr/>
              </p:nvSpPr>
              <p:spPr bwMode="auto">
                <a:xfrm>
                  <a:off x="1964" y="2283"/>
                  <a:ext cx="247" cy="197"/>
                </a:xfrm>
                <a:custGeom>
                  <a:avLst/>
                  <a:gdLst>
                    <a:gd name="T0" fmla="*/ 246 w 247"/>
                    <a:gd name="T1" fmla="*/ 32 h 197"/>
                    <a:gd name="T2" fmla="*/ 226 w 247"/>
                    <a:gd name="T3" fmla="*/ 27 h 197"/>
                    <a:gd name="T4" fmla="*/ 222 w 247"/>
                    <a:gd name="T5" fmla="*/ 5 h 197"/>
                    <a:gd name="T6" fmla="*/ 189 w 247"/>
                    <a:gd name="T7" fmla="*/ 9 h 197"/>
                    <a:gd name="T8" fmla="*/ 171 w 247"/>
                    <a:gd name="T9" fmla="*/ 0 h 197"/>
                    <a:gd name="T10" fmla="*/ 142 w 247"/>
                    <a:gd name="T11" fmla="*/ 5 h 197"/>
                    <a:gd name="T12" fmla="*/ 127 w 247"/>
                    <a:gd name="T13" fmla="*/ 27 h 197"/>
                    <a:gd name="T14" fmla="*/ 112 w 247"/>
                    <a:gd name="T15" fmla="*/ 35 h 197"/>
                    <a:gd name="T16" fmla="*/ 94 w 247"/>
                    <a:gd name="T17" fmla="*/ 33 h 197"/>
                    <a:gd name="T18" fmla="*/ 61 w 247"/>
                    <a:gd name="T19" fmla="*/ 104 h 197"/>
                    <a:gd name="T20" fmla="*/ 76 w 247"/>
                    <a:gd name="T21" fmla="*/ 116 h 197"/>
                    <a:gd name="T22" fmla="*/ 60 w 247"/>
                    <a:gd name="T23" fmla="*/ 131 h 197"/>
                    <a:gd name="T24" fmla="*/ 58 w 247"/>
                    <a:gd name="T25" fmla="*/ 147 h 197"/>
                    <a:gd name="T26" fmla="*/ 46 w 247"/>
                    <a:gd name="T27" fmla="*/ 159 h 197"/>
                    <a:gd name="T28" fmla="*/ 28 w 247"/>
                    <a:gd name="T29" fmla="*/ 152 h 197"/>
                    <a:gd name="T30" fmla="*/ 0 w 247"/>
                    <a:gd name="T31" fmla="*/ 147 h 197"/>
                    <a:gd name="T32" fmla="*/ 13 w 247"/>
                    <a:gd name="T33" fmla="*/ 170 h 197"/>
                    <a:gd name="T34" fmla="*/ 42 w 247"/>
                    <a:gd name="T35" fmla="*/ 189 h 197"/>
                    <a:gd name="T36" fmla="*/ 73 w 247"/>
                    <a:gd name="T37" fmla="*/ 180 h 197"/>
                    <a:gd name="T38" fmla="*/ 100 w 247"/>
                    <a:gd name="T39" fmla="*/ 176 h 197"/>
                    <a:gd name="T40" fmla="*/ 111 w 247"/>
                    <a:gd name="T41" fmla="*/ 194 h 197"/>
                    <a:gd name="T42" fmla="*/ 127 w 247"/>
                    <a:gd name="T43" fmla="*/ 197 h 197"/>
                    <a:gd name="T44" fmla="*/ 150 w 247"/>
                    <a:gd name="T45" fmla="*/ 153 h 197"/>
                    <a:gd name="T46" fmla="*/ 153 w 247"/>
                    <a:gd name="T47" fmla="*/ 125 h 197"/>
                    <a:gd name="T48" fmla="*/ 196 w 247"/>
                    <a:gd name="T49" fmla="*/ 132 h 197"/>
                    <a:gd name="T50" fmla="*/ 229 w 247"/>
                    <a:gd name="T51" fmla="*/ 102 h 197"/>
                    <a:gd name="T52" fmla="*/ 220 w 247"/>
                    <a:gd name="T53" fmla="*/ 86 h 197"/>
                    <a:gd name="T54" fmla="*/ 243 w 247"/>
                    <a:gd name="T55" fmla="*/ 75 h 197"/>
                    <a:gd name="T56" fmla="*/ 247 w 247"/>
                    <a:gd name="T57" fmla="*/ 45 h 197"/>
                    <a:gd name="T58" fmla="*/ 246 w 247"/>
                    <a:gd name="T59" fmla="*/ 32 h 1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47" h="197">
                      <a:moveTo>
                        <a:pt x="246" y="32"/>
                      </a:moveTo>
                      <a:lnTo>
                        <a:pt x="226" y="27"/>
                      </a:lnTo>
                      <a:lnTo>
                        <a:pt x="222" y="5"/>
                      </a:lnTo>
                      <a:lnTo>
                        <a:pt x="189" y="9"/>
                      </a:lnTo>
                      <a:lnTo>
                        <a:pt x="171" y="0"/>
                      </a:lnTo>
                      <a:lnTo>
                        <a:pt x="142" y="5"/>
                      </a:lnTo>
                      <a:lnTo>
                        <a:pt x="127" y="27"/>
                      </a:lnTo>
                      <a:lnTo>
                        <a:pt x="112" y="35"/>
                      </a:lnTo>
                      <a:lnTo>
                        <a:pt x="94" y="33"/>
                      </a:lnTo>
                      <a:lnTo>
                        <a:pt x="61" y="104"/>
                      </a:lnTo>
                      <a:lnTo>
                        <a:pt x="76" y="116"/>
                      </a:lnTo>
                      <a:lnTo>
                        <a:pt x="60" y="131"/>
                      </a:lnTo>
                      <a:lnTo>
                        <a:pt x="58" y="147"/>
                      </a:lnTo>
                      <a:lnTo>
                        <a:pt x="46" y="159"/>
                      </a:lnTo>
                      <a:lnTo>
                        <a:pt x="28" y="152"/>
                      </a:lnTo>
                      <a:lnTo>
                        <a:pt x="0" y="147"/>
                      </a:lnTo>
                      <a:lnTo>
                        <a:pt x="13" y="170"/>
                      </a:lnTo>
                      <a:lnTo>
                        <a:pt x="42" y="189"/>
                      </a:lnTo>
                      <a:lnTo>
                        <a:pt x="73" y="180"/>
                      </a:lnTo>
                      <a:lnTo>
                        <a:pt x="100" y="176"/>
                      </a:lnTo>
                      <a:lnTo>
                        <a:pt x="111" y="194"/>
                      </a:lnTo>
                      <a:lnTo>
                        <a:pt x="127" y="197"/>
                      </a:lnTo>
                      <a:lnTo>
                        <a:pt x="150" y="153"/>
                      </a:lnTo>
                      <a:lnTo>
                        <a:pt x="153" y="125"/>
                      </a:lnTo>
                      <a:lnTo>
                        <a:pt x="196" y="132"/>
                      </a:lnTo>
                      <a:lnTo>
                        <a:pt x="229" y="102"/>
                      </a:lnTo>
                      <a:lnTo>
                        <a:pt x="220" y="86"/>
                      </a:lnTo>
                      <a:lnTo>
                        <a:pt x="243" y="75"/>
                      </a:lnTo>
                      <a:lnTo>
                        <a:pt x="247" y="45"/>
                      </a:lnTo>
                      <a:lnTo>
                        <a:pt x="246" y="32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81" name="Freeform 167"/>
                <p:cNvSpPr>
                  <a:spLocks/>
                </p:cNvSpPr>
                <p:nvPr/>
              </p:nvSpPr>
              <p:spPr bwMode="auto">
                <a:xfrm>
                  <a:off x="1979" y="2411"/>
                  <a:ext cx="30" cy="16"/>
                </a:xfrm>
                <a:custGeom>
                  <a:avLst/>
                  <a:gdLst>
                    <a:gd name="T0" fmla="*/ 0 w 30"/>
                    <a:gd name="T1" fmla="*/ 4 h 16"/>
                    <a:gd name="T2" fmla="*/ 12 w 30"/>
                    <a:gd name="T3" fmla="*/ 16 h 16"/>
                    <a:gd name="T4" fmla="*/ 30 w 30"/>
                    <a:gd name="T5" fmla="*/ 12 h 16"/>
                    <a:gd name="T6" fmla="*/ 22 w 30"/>
                    <a:gd name="T7" fmla="*/ 0 h 16"/>
                    <a:gd name="T8" fmla="*/ 0 w 30"/>
                    <a:gd name="T9" fmla="*/ 4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" h="16">
                      <a:moveTo>
                        <a:pt x="0" y="4"/>
                      </a:moveTo>
                      <a:lnTo>
                        <a:pt x="12" y="16"/>
                      </a:lnTo>
                      <a:lnTo>
                        <a:pt x="30" y="12"/>
                      </a:lnTo>
                      <a:lnTo>
                        <a:pt x="22" y="0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513" name="Freeform 168"/>
              <p:cNvSpPr>
                <a:spLocks/>
              </p:cNvSpPr>
              <p:nvPr/>
            </p:nvSpPr>
            <p:spPr bwMode="auto">
              <a:xfrm>
                <a:off x="1898" y="2432"/>
                <a:ext cx="220" cy="160"/>
              </a:xfrm>
              <a:custGeom>
                <a:avLst/>
                <a:gdLst>
                  <a:gd name="T0" fmla="*/ 67 w 220"/>
                  <a:gd name="T1" fmla="*/ 0 h 160"/>
                  <a:gd name="T2" fmla="*/ 37 w 220"/>
                  <a:gd name="T3" fmla="*/ 10 h 160"/>
                  <a:gd name="T4" fmla="*/ 0 w 220"/>
                  <a:gd name="T5" fmla="*/ 22 h 160"/>
                  <a:gd name="T6" fmla="*/ 22 w 220"/>
                  <a:gd name="T7" fmla="*/ 45 h 160"/>
                  <a:gd name="T8" fmla="*/ 30 w 220"/>
                  <a:gd name="T9" fmla="*/ 72 h 160"/>
                  <a:gd name="T10" fmla="*/ 64 w 220"/>
                  <a:gd name="T11" fmla="*/ 103 h 160"/>
                  <a:gd name="T12" fmla="*/ 82 w 220"/>
                  <a:gd name="T13" fmla="*/ 97 h 160"/>
                  <a:gd name="T14" fmla="*/ 94 w 220"/>
                  <a:gd name="T15" fmla="*/ 120 h 160"/>
                  <a:gd name="T16" fmla="*/ 120 w 220"/>
                  <a:gd name="T17" fmla="*/ 136 h 160"/>
                  <a:gd name="T18" fmla="*/ 148 w 220"/>
                  <a:gd name="T19" fmla="*/ 130 h 160"/>
                  <a:gd name="T20" fmla="*/ 150 w 220"/>
                  <a:gd name="T21" fmla="*/ 150 h 160"/>
                  <a:gd name="T22" fmla="*/ 169 w 220"/>
                  <a:gd name="T23" fmla="*/ 160 h 160"/>
                  <a:gd name="T24" fmla="*/ 201 w 220"/>
                  <a:gd name="T25" fmla="*/ 160 h 160"/>
                  <a:gd name="T26" fmla="*/ 207 w 220"/>
                  <a:gd name="T27" fmla="*/ 135 h 160"/>
                  <a:gd name="T28" fmla="*/ 219 w 220"/>
                  <a:gd name="T29" fmla="*/ 121 h 160"/>
                  <a:gd name="T30" fmla="*/ 219 w 220"/>
                  <a:gd name="T31" fmla="*/ 106 h 160"/>
                  <a:gd name="T32" fmla="*/ 220 w 220"/>
                  <a:gd name="T33" fmla="*/ 91 h 160"/>
                  <a:gd name="T34" fmla="*/ 210 w 220"/>
                  <a:gd name="T35" fmla="*/ 69 h 160"/>
                  <a:gd name="T36" fmla="*/ 217 w 220"/>
                  <a:gd name="T37" fmla="*/ 55 h 160"/>
                  <a:gd name="T38" fmla="*/ 192 w 220"/>
                  <a:gd name="T39" fmla="*/ 45 h 160"/>
                  <a:gd name="T40" fmla="*/ 178 w 220"/>
                  <a:gd name="T41" fmla="*/ 48 h 160"/>
                  <a:gd name="T42" fmla="*/ 168 w 220"/>
                  <a:gd name="T43" fmla="*/ 28 h 160"/>
                  <a:gd name="T44" fmla="*/ 142 w 220"/>
                  <a:gd name="T45" fmla="*/ 31 h 160"/>
                  <a:gd name="T46" fmla="*/ 111 w 220"/>
                  <a:gd name="T47" fmla="*/ 39 h 160"/>
                  <a:gd name="T48" fmla="*/ 87 w 220"/>
                  <a:gd name="T49" fmla="*/ 28 h 160"/>
                  <a:gd name="T50" fmla="*/ 73 w 220"/>
                  <a:gd name="T51" fmla="*/ 12 h 160"/>
                  <a:gd name="T52" fmla="*/ 67 w 220"/>
                  <a:gd name="T53" fmla="*/ 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20" h="160">
                    <a:moveTo>
                      <a:pt x="67" y="0"/>
                    </a:moveTo>
                    <a:lnTo>
                      <a:pt x="37" y="10"/>
                    </a:lnTo>
                    <a:lnTo>
                      <a:pt x="0" y="22"/>
                    </a:lnTo>
                    <a:lnTo>
                      <a:pt x="22" y="45"/>
                    </a:lnTo>
                    <a:lnTo>
                      <a:pt x="30" y="72"/>
                    </a:lnTo>
                    <a:lnTo>
                      <a:pt x="64" y="103"/>
                    </a:lnTo>
                    <a:lnTo>
                      <a:pt x="82" y="97"/>
                    </a:lnTo>
                    <a:lnTo>
                      <a:pt x="94" y="120"/>
                    </a:lnTo>
                    <a:lnTo>
                      <a:pt x="120" y="136"/>
                    </a:lnTo>
                    <a:lnTo>
                      <a:pt x="148" y="130"/>
                    </a:lnTo>
                    <a:lnTo>
                      <a:pt x="150" y="150"/>
                    </a:lnTo>
                    <a:lnTo>
                      <a:pt x="169" y="160"/>
                    </a:lnTo>
                    <a:lnTo>
                      <a:pt x="201" y="160"/>
                    </a:lnTo>
                    <a:lnTo>
                      <a:pt x="207" y="135"/>
                    </a:lnTo>
                    <a:lnTo>
                      <a:pt x="219" y="121"/>
                    </a:lnTo>
                    <a:lnTo>
                      <a:pt x="219" y="106"/>
                    </a:lnTo>
                    <a:lnTo>
                      <a:pt x="220" y="91"/>
                    </a:lnTo>
                    <a:lnTo>
                      <a:pt x="210" y="69"/>
                    </a:lnTo>
                    <a:lnTo>
                      <a:pt x="217" y="55"/>
                    </a:lnTo>
                    <a:lnTo>
                      <a:pt x="192" y="45"/>
                    </a:lnTo>
                    <a:lnTo>
                      <a:pt x="178" y="48"/>
                    </a:lnTo>
                    <a:lnTo>
                      <a:pt x="168" y="28"/>
                    </a:lnTo>
                    <a:lnTo>
                      <a:pt x="142" y="31"/>
                    </a:lnTo>
                    <a:lnTo>
                      <a:pt x="111" y="39"/>
                    </a:lnTo>
                    <a:lnTo>
                      <a:pt x="87" y="28"/>
                    </a:lnTo>
                    <a:lnTo>
                      <a:pt x="73" y="12"/>
                    </a:lnTo>
                    <a:lnTo>
                      <a:pt x="67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grpSp>
            <p:nvGrpSpPr>
              <p:cNvPr id="514" name="Group 169"/>
              <p:cNvGrpSpPr>
                <a:grpSpLocks/>
              </p:cNvGrpSpPr>
              <p:nvPr/>
            </p:nvGrpSpPr>
            <p:grpSpPr bwMode="auto">
              <a:xfrm>
                <a:off x="1340" y="1764"/>
                <a:ext cx="541" cy="798"/>
                <a:chOff x="1340" y="1764"/>
                <a:chExt cx="541" cy="798"/>
              </a:xfrm>
              <a:grpFill/>
            </p:grpSpPr>
            <p:sp>
              <p:nvSpPr>
                <p:cNvPr id="572" name="Freeform 170"/>
                <p:cNvSpPr>
                  <a:spLocks/>
                </p:cNvSpPr>
                <p:nvPr/>
              </p:nvSpPr>
              <p:spPr bwMode="auto">
                <a:xfrm>
                  <a:off x="1433" y="1764"/>
                  <a:ext cx="448" cy="798"/>
                </a:xfrm>
                <a:custGeom>
                  <a:avLst/>
                  <a:gdLst>
                    <a:gd name="T0" fmla="*/ 418 w 448"/>
                    <a:gd name="T1" fmla="*/ 672 h 798"/>
                    <a:gd name="T2" fmla="*/ 381 w 448"/>
                    <a:gd name="T3" fmla="*/ 663 h 798"/>
                    <a:gd name="T4" fmla="*/ 403 w 448"/>
                    <a:gd name="T5" fmla="*/ 632 h 798"/>
                    <a:gd name="T6" fmla="*/ 448 w 448"/>
                    <a:gd name="T7" fmla="*/ 560 h 798"/>
                    <a:gd name="T8" fmla="*/ 381 w 448"/>
                    <a:gd name="T9" fmla="*/ 539 h 798"/>
                    <a:gd name="T10" fmla="*/ 366 w 448"/>
                    <a:gd name="T11" fmla="*/ 533 h 798"/>
                    <a:gd name="T12" fmla="*/ 342 w 448"/>
                    <a:gd name="T13" fmla="*/ 470 h 798"/>
                    <a:gd name="T14" fmla="*/ 337 w 448"/>
                    <a:gd name="T15" fmla="*/ 435 h 798"/>
                    <a:gd name="T16" fmla="*/ 282 w 448"/>
                    <a:gd name="T17" fmla="*/ 384 h 798"/>
                    <a:gd name="T18" fmla="*/ 238 w 448"/>
                    <a:gd name="T19" fmla="*/ 308 h 798"/>
                    <a:gd name="T20" fmla="*/ 187 w 448"/>
                    <a:gd name="T21" fmla="*/ 269 h 798"/>
                    <a:gd name="T22" fmla="*/ 199 w 448"/>
                    <a:gd name="T23" fmla="*/ 231 h 798"/>
                    <a:gd name="T24" fmla="*/ 220 w 448"/>
                    <a:gd name="T25" fmla="*/ 168 h 798"/>
                    <a:gd name="T26" fmla="*/ 214 w 448"/>
                    <a:gd name="T27" fmla="*/ 95 h 798"/>
                    <a:gd name="T28" fmla="*/ 156 w 448"/>
                    <a:gd name="T29" fmla="*/ 102 h 798"/>
                    <a:gd name="T30" fmla="*/ 108 w 448"/>
                    <a:gd name="T31" fmla="*/ 87 h 798"/>
                    <a:gd name="T32" fmla="*/ 163 w 448"/>
                    <a:gd name="T33" fmla="*/ 14 h 798"/>
                    <a:gd name="T34" fmla="*/ 90 w 448"/>
                    <a:gd name="T35" fmla="*/ 29 h 798"/>
                    <a:gd name="T36" fmla="*/ 64 w 448"/>
                    <a:gd name="T37" fmla="*/ 39 h 798"/>
                    <a:gd name="T38" fmla="*/ 58 w 448"/>
                    <a:gd name="T39" fmla="*/ 90 h 798"/>
                    <a:gd name="T40" fmla="*/ 13 w 448"/>
                    <a:gd name="T41" fmla="*/ 120 h 798"/>
                    <a:gd name="T42" fmla="*/ 34 w 448"/>
                    <a:gd name="T43" fmla="*/ 177 h 798"/>
                    <a:gd name="T44" fmla="*/ 43 w 448"/>
                    <a:gd name="T45" fmla="*/ 213 h 798"/>
                    <a:gd name="T46" fmla="*/ 27 w 448"/>
                    <a:gd name="T47" fmla="*/ 263 h 798"/>
                    <a:gd name="T48" fmla="*/ 48 w 448"/>
                    <a:gd name="T49" fmla="*/ 257 h 798"/>
                    <a:gd name="T50" fmla="*/ 72 w 448"/>
                    <a:gd name="T51" fmla="*/ 279 h 798"/>
                    <a:gd name="T52" fmla="*/ 51 w 448"/>
                    <a:gd name="T53" fmla="*/ 363 h 798"/>
                    <a:gd name="T54" fmla="*/ 85 w 448"/>
                    <a:gd name="T55" fmla="*/ 359 h 798"/>
                    <a:gd name="T56" fmla="*/ 142 w 448"/>
                    <a:gd name="T57" fmla="*/ 360 h 798"/>
                    <a:gd name="T58" fmla="*/ 147 w 448"/>
                    <a:gd name="T59" fmla="*/ 405 h 798"/>
                    <a:gd name="T60" fmla="*/ 184 w 448"/>
                    <a:gd name="T61" fmla="*/ 437 h 798"/>
                    <a:gd name="T62" fmla="*/ 147 w 448"/>
                    <a:gd name="T63" fmla="*/ 492 h 798"/>
                    <a:gd name="T64" fmla="*/ 112 w 448"/>
                    <a:gd name="T65" fmla="*/ 470 h 798"/>
                    <a:gd name="T66" fmla="*/ 108 w 448"/>
                    <a:gd name="T67" fmla="*/ 498 h 798"/>
                    <a:gd name="T68" fmla="*/ 81 w 448"/>
                    <a:gd name="T69" fmla="*/ 551 h 798"/>
                    <a:gd name="T70" fmla="*/ 84 w 448"/>
                    <a:gd name="T71" fmla="*/ 596 h 798"/>
                    <a:gd name="T72" fmla="*/ 57 w 448"/>
                    <a:gd name="T73" fmla="*/ 639 h 798"/>
                    <a:gd name="T74" fmla="*/ 93 w 448"/>
                    <a:gd name="T75" fmla="*/ 657 h 798"/>
                    <a:gd name="T76" fmla="*/ 157 w 448"/>
                    <a:gd name="T77" fmla="*/ 654 h 798"/>
                    <a:gd name="T78" fmla="*/ 183 w 448"/>
                    <a:gd name="T79" fmla="*/ 650 h 798"/>
                    <a:gd name="T80" fmla="*/ 88 w 448"/>
                    <a:gd name="T81" fmla="*/ 674 h 798"/>
                    <a:gd name="T82" fmla="*/ 18 w 448"/>
                    <a:gd name="T83" fmla="*/ 764 h 798"/>
                    <a:gd name="T84" fmla="*/ 40 w 448"/>
                    <a:gd name="T85" fmla="*/ 798 h 798"/>
                    <a:gd name="T86" fmla="*/ 72 w 448"/>
                    <a:gd name="T87" fmla="*/ 758 h 798"/>
                    <a:gd name="T88" fmla="*/ 139 w 448"/>
                    <a:gd name="T89" fmla="*/ 756 h 798"/>
                    <a:gd name="T90" fmla="*/ 225 w 448"/>
                    <a:gd name="T91" fmla="*/ 735 h 798"/>
                    <a:gd name="T92" fmla="*/ 285 w 448"/>
                    <a:gd name="T93" fmla="*/ 720 h 798"/>
                    <a:gd name="T94" fmla="*/ 373 w 448"/>
                    <a:gd name="T95" fmla="*/ 711 h 7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48" h="798">
                      <a:moveTo>
                        <a:pt x="396" y="699"/>
                      </a:moveTo>
                      <a:lnTo>
                        <a:pt x="414" y="686"/>
                      </a:lnTo>
                      <a:lnTo>
                        <a:pt x="418" y="672"/>
                      </a:lnTo>
                      <a:lnTo>
                        <a:pt x="397" y="668"/>
                      </a:lnTo>
                      <a:lnTo>
                        <a:pt x="372" y="672"/>
                      </a:lnTo>
                      <a:lnTo>
                        <a:pt x="381" y="663"/>
                      </a:lnTo>
                      <a:lnTo>
                        <a:pt x="373" y="645"/>
                      </a:lnTo>
                      <a:lnTo>
                        <a:pt x="385" y="645"/>
                      </a:lnTo>
                      <a:lnTo>
                        <a:pt x="403" y="632"/>
                      </a:lnTo>
                      <a:lnTo>
                        <a:pt x="420" y="633"/>
                      </a:lnTo>
                      <a:lnTo>
                        <a:pt x="441" y="606"/>
                      </a:lnTo>
                      <a:lnTo>
                        <a:pt x="448" y="560"/>
                      </a:lnTo>
                      <a:lnTo>
                        <a:pt x="432" y="539"/>
                      </a:lnTo>
                      <a:lnTo>
                        <a:pt x="399" y="528"/>
                      </a:lnTo>
                      <a:lnTo>
                        <a:pt x="381" y="539"/>
                      </a:lnTo>
                      <a:lnTo>
                        <a:pt x="381" y="554"/>
                      </a:lnTo>
                      <a:lnTo>
                        <a:pt x="367" y="549"/>
                      </a:lnTo>
                      <a:lnTo>
                        <a:pt x="366" y="533"/>
                      </a:lnTo>
                      <a:lnTo>
                        <a:pt x="370" y="506"/>
                      </a:lnTo>
                      <a:lnTo>
                        <a:pt x="349" y="483"/>
                      </a:lnTo>
                      <a:lnTo>
                        <a:pt x="342" y="470"/>
                      </a:lnTo>
                      <a:lnTo>
                        <a:pt x="363" y="474"/>
                      </a:lnTo>
                      <a:lnTo>
                        <a:pt x="360" y="459"/>
                      </a:lnTo>
                      <a:lnTo>
                        <a:pt x="337" y="435"/>
                      </a:lnTo>
                      <a:lnTo>
                        <a:pt x="312" y="423"/>
                      </a:lnTo>
                      <a:lnTo>
                        <a:pt x="306" y="402"/>
                      </a:lnTo>
                      <a:lnTo>
                        <a:pt x="282" y="384"/>
                      </a:lnTo>
                      <a:lnTo>
                        <a:pt x="259" y="357"/>
                      </a:lnTo>
                      <a:lnTo>
                        <a:pt x="253" y="330"/>
                      </a:lnTo>
                      <a:lnTo>
                        <a:pt x="238" y="308"/>
                      </a:lnTo>
                      <a:lnTo>
                        <a:pt x="216" y="288"/>
                      </a:lnTo>
                      <a:lnTo>
                        <a:pt x="207" y="266"/>
                      </a:lnTo>
                      <a:lnTo>
                        <a:pt x="187" y="269"/>
                      </a:lnTo>
                      <a:lnTo>
                        <a:pt x="175" y="263"/>
                      </a:lnTo>
                      <a:lnTo>
                        <a:pt x="199" y="248"/>
                      </a:lnTo>
                      <a:lnTo>
                        <a:pt x="199" y="231"/>
                      </a:lnTo>
                      <a:lnTo>
                        <a:pt x="184" y="216"/>
                      </a:lnTo>
                      <a:lnTo>
                        <a:pt x="196" y="204"/>
                      </a:lnTo>
                      <a:lnTo>
                        <a:pt x="220" y="168"/>
                      </a:lnTo>
                      <a:lnTo>
                        <a:pt x="226" y="141"/>
                      </a:lnTo>
                      <a:lnTo>
                        <a:pt x="235" y="110"/>
                      </a:lnTo>
                      <a:lnTo>
                        <a:pt x="214" y="95"/>
                      </a:lnTo>
                      <a:lnTo>
                        <a:pt x="184" y="104"/>
                      </a:lnTo>
                      <a:lnTo>
                        <a:pt x="177" y="95"/>
                      </a:lnTo>
                      <a:lnTo>
                        <a:pt x="156" y="102"/>
                      </a:lnTo>
                      <a:lnTo>
                        <a:pt x="130" y="113"/>
                      </a:lnTo>
                      <a:lnTo>
                        <a:pt x="112" y="120"/>
                      </a:lnTo>
                      <a:lnTo>
                        <a:pt x="108" y="87"/>
                      </a:lnTo>
                      <a:lnTo>
                        <a:pt x="142" y="65"/>
                      </a:lnTo>
                      <a:lnTo>
                        <a:pt x="156" y="38"/>
                      </a:lnTo>
                      <a:lnTo>
                        <a:pt x="163" y="14"/>
                      </a:lnTo>
                      <a:lnTo>
                        <a:pt x="135" y="0"/>
                      </a:lnTo>
                      <a:lnTo>
                        <a:pt x="112" y="6"/>
                      </a:lnTo>
                      <a:lnTo>
                        <a:pt x="90" y="29"/>
                      </a:lnTo>
                      <a:lnTo>
                        <a:pt x="91" y="9"/>
                      </a:lnTo>
                      <a:lnTo>
                        <a:pt x="72" y="8"/>
                      </a:lnTo>
                      <a:lnTo>
                        <a:pt x="64" y="39"/>
                      </a:lnTo>
                      <a:lnTo>
                        <a:pt x="51" y="57"/>
                      </a:lnTo>
                      <a:lnTo>
                        <a:pt x="46" y="74"/>
                      </a:lnTo>
                      <a:lnTo>
                        <a:pt x="58" y="90"/>
                      </a:lnTo>
                      <a:lnTo>
                        <a:pt x="31" y="92"/>
                      </a:lnTo>
                      <a:lnTo>
                        <a:pt x="27" y="105"/>
                      </a:lnTo>
                      <a:lnTo>
                        <a:pt x="13" y="120"/>
                      </a:lnTo>
                      <a:lnTo>
                        <a:pt x="27" y="143"/>
                      </a:lnTo>
                      <a:lnTo>
                        <a:pt x="21" y="165"/>
                      </a:lnTo>
                      <a:lnTo>
                        <a:pt x="34" y="177"/>
                      </a:lnTo>
                      <a:lnTo>
                        <a:pt x="18" y="192"/>
                      </a:lnTo>
                      <a:lnTo>
                        <a:pt x="22" y="225"/>
                      </a:lnTo>
                      <a:lnTo>
                        <a:pt x="43" y="213"/>
                      </a:lnTo>
                      <a:lnTo>
                        <a:pt x="58" y="231"/>
                      </a:lnTo>
                      <a:lnTo>
                        <a:pt x="27" y="236"/>
                      </a:lnTo>
                      <a:lnTo>
                        <a:pt x="27" y="263"/>
                      </a:lnTo>
                      <a:lnTo>
                        <a:pt x="21" y="290"/>
                      </a:lnTo>
                      <a:lnTo>
                        <a:pt x="36" y="279"/>
                      </a:lnTo>
                      <a:lnTo>
                        <a:pt x="48" y="257"/>
                      </a:lnTo>
                      <a:lnTo>
                        <a:pt x="54" y="267"/>
                      </a:lnTo>
                      <a:lnTo>
                        <a:pt x="64" y="261"/>
                      </a:lnTo>
                      <a:lnTo>
                        <a:pt x="72" y="279"/>
                      </a:lnTo>
                      <a:lnTo>
                        <a:pt x="58" y="285"/>
                      </a:lnTo>
                      <a:lnTo>
                        <a:pt x="72" y="311"/>
                      </a:lnTo>
                      <a:lnTo>
                        <a:pt x="51" y="363"/>
                      </a:lnTo>
                      <a:lnTo>
                        <a:pt x="82" y="387"/>
                      </a:lnTo>
                      <a:lnTo>
                        <a:pt x="90" y="375"/>
                      </a:lnTo>
                      <a:lnTo>
                        <a:pt x="85" y="359"/>
                      </a:lnTo>
                      <a:lnTo>
                        <a:pt x="99" y="366"/>
                      </a:lnTo>
                      <a:lnTo>
                        <a:pt x="126" y="371"/>
                      </a:lnTo>
                      <a:lnTo>
                        <a:pt x="142" y="360"/>
                      </a:lnTo>
                      <a:lnTo>
                        <a:pt x="162" y="363"/>
                      </a:lnTo>
                      <a:lnTo>
                        <a:pt x="151" y="381"/>
                      </a:lnTo>
                      <a:lnTo>
                        <a:pt x="147" y="405"/>
                      </a:lnTo>
                      <a:lnTo>
                        <a:pt x="169" y="416"/>
                      </a:lnTo>
                      <a:lnTo>
                        <a:pt x="186" y="408"/>
                      </a:lnTo>
                      <a:lnTo>
                        <a:pt x="184" y="437"/>
                      </a:lnTo>
                      <a:lnTo>
                        <a:pt x="175" y="468"/>
                      </a:lnTo>
                      <a:lnTo>
                        <a:pt x="174" y="485"/>
                      </a:lnTo>
                      <a:lnTo>
                        <a:pt x="147" y="492"/>
                      </a:lnTo>
                      <a:lnTo>
                        <a:pt x="121" y="497"/>
                      </a:lnTo>
                      <a:lnTo>
                        <a:pt x="112" y="488"/>
                      </a:lnTo>
                      <a:lnTo>
                        <a:pt x="112" y="470"/>
                      </a:lnTo>
                      <a:lnTo>
                        <a:pt x="91" y="479"/>
                      </a:lnTo>
                      <a:lnTo>
                        <a:pt x="85" y="494"/>
                      </a:lnTo>
                      <a:lnTo>
                        <a:pt x="108" y="498"/>
                      </a:lnTo>
                      <a:lnTo>
                        <a:pt x="94" y="524"/>
                      </a:lnTo>
                      <a:lnTo>
                        <a:pt x="66" y="542"/>
                      </a:lnTo>
                      <a:lnTo>
                        <a:pt x="81" y="551"/>
                      </a:lnTo>
                      <a:lnTo>
                        <a:pt x="99" y="537"/>
                      </a:lnTo>
                      <a:lnTo>
                        <a:pt x="108" y="576"/>
                      </a:lnTo>
                      <a:lnTo>
                        <a:pt x="84" y="596"/>
                      </a:lnTo>
                      <a:lnTo>
                        <a:pt x="51" y="614"/>
                      </a:lnTo>
                      <a:lnTo>
                        <a:pt x="40" y="627"/>
                      </a:lnTo>
                      <a:lnTo>
                        <a:pt x="57" y="639"/>
                      </a:lnTo>
                      <a:lnTo>
                        <a:pt x="58" y="654"/>
                      </a:lnTo>
                      <a:lnTo>
                        <a:pt x="88" y="641"/>
                      </a:lnTo>
                      <a:lnTo>
                        <a:pt x="93" y="657"/>
                      </a:lnTo>
                      <a:lnTo>
                        <a:pt x="121" y="653"/>
                      </a:lnTo>
                      <a:lnTo>
                        <a:pt x="139" y="642"/>
                      </a:lnTo>
                      <a:lnTo>
                        <a:pt x="157" y="654"/>
                      </a:lnTo>
                      <a:lnTo>
                        <a:pt x="175" y="638"/>
                      </a:lnTo>
                      <a:lnTo>
                        <a:pt x="204" y="633"/>
                      </a:lnTo>
                      <a:lnTo>
                        <a:pt x="183" y="650"/>
                      </a:lnTo>
                      <a:lnTo>
                        <a:pt x="171" y="671"/>
                      </a:lnTo>
                      <a:lnTo>
                        <a:pt x="136" y="675"/>
                      </a:lnTo>
                      <a:lnTo>
                        <a:pt x="88" y="674"/>
                      </a:lnTo>
                      <a:lnTo>
                        <a:pt x="58" y="723"/>
                      </a:lnTo>
                      <a:lnTo>
                        <a:pt x="40" y="752"/>
                      </a:lnTo>
                      <a:lnTo>
                        <a:pt x="18" y="764"/>
                      </a:lnTo>
                      <a:lnTo>
                        <a:pt x="0" y="773"/>
                      </a:lnTo>
                      <a:lnTo>
                        <a:pt x="25" y="780"/>
                      </a:lnTo>
                      <a:lnTo>
                        <a:pt x="40" y="798"/>
                      </a:lnTo>
                      <a:lnTo>
                        <a:pt x="57" y="779"/>
                      </a:lnTo>
                      <a:lnTo>
                        <a:pt x="57" y="762"/>
                      </a:lnTo>
                      <a:lnTo>
                        <a:pt x="72" y="758"/>
                      </a:lnTo>
                      <a:lnTo>
                        <a:pt x="82" y="744"/>
                      </a:lnTo>
                      <a:lnTo>
                        <a:pt x="129" y="744"/>
                      </a:lnTo>
                      <a:lnTo>
                        <a:pt x="139" y="756"/>
                      </a:lnTo>
                      <a:lnTo>
                        <a:pt x="162" y="725"/>
                      </a:lnTo>
                      <a:lnTo>
                        <a:pt x="195" y="723"/>
                      </a:lnTo>
                      <a:lnTo>
                        <a:pt x="225" y="735"/>
                      </a:lnTo>
                      <a:lnTo>
                        <a:pt x="234" y="719"/>
                      </a:lnTo>
                      <a:lnTo>
                        <a:pt x="265" y="713"/>
                      </a:lnTo>
                      <a:lnTo>
                        <a:pt x="285" y="720"/>
                      </a:lnTo>
                      <a:lnTo>
                        <a:pt x="328" y="705"/>
                      </a:lnTo>
                      <a:lnTo>
                        <a:pt x="355" y="719"/>
                      </a:lnTo>
                      <a:lnTo>
                        <a:pt x="373" y="711"/>
                      </a:lnTo>
                      <a:lnTo>
                        <a:pt x="396" y="699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3" name="Freeform 171"/>
                <p:cNvSpPr>
                  <a:spLocks/>
                </p:cNvSpPr>
                <p:nvPr/>
              </p:nvSpPr>
              <p:spPr bwMode="auto">
                <a:xfrm>
                  <a:off x="1683" y="2486"/>
                  <a:ext cx="14" cy="13"/>
                </a:xfrm>
                <a:custGeom>
                  <a:avLst/>
                  <a:gdLst>
                    <a:gd name="T0" fmla="*/ 14 w 14"/>
                    <a:gd name="T1" fmla="*/ 3 h 13"/>
                    <a:gd name="T2" fmla="*/ 3 w 14"/>
                    <a:gd name="T3" fmla="*/ 0 h 13"/>
                    <a:gd name="T4" fmla="*/ 0 w 14"/>
                    <a:gd name="T5" fmla="*/ 13 h 13"/>
                    <a:gd name="T6" fmla="*/ 14 w 14"/>
                    <a:gd name="T7" fmla="*/ 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4" h="13">
                      <a:moveTo>
                        <a:pt x="14" y="3"/>
                      </a:moveTo>
                      <a:lnTo>
                        <a:pt x="3" y="0"/>
                      </a:lnTo>
                      <a:lnTo>
                        <a:pt x="0" y="13"/>
                      </a:lnTo>
                      <a:lnTo>
                        <a:pt x="14" y="3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4" name="Freeform 172"/>
                <p:cNvSpPr>
                  <a:spLocks/>
                </p:cNvSpPr>
                <p:nvPr/>
              </p:nvSpPr>
              <p:spPr bwMode="auto">
                <a:xfrm>
                  <a:off x="1340" y="2105"/>
                  <a:ext cx="129" cy="102"/>
                </a:xfrm>
                <a:custGeom>
                  <a:avLst/>
                  <a:gdLst>
                    <a:gd name="T0" fmla="*/ 105 w 129"/>
                    <a:gd name="T1" fmla="*/ 16 h 102"/>
                    <a:gd name="T2" fmla="*/ 91 w 129"/>
                    <a:gd name="T3" fmla="*/ 39 h 102"/>
                    <a:gd name="T4" fmla="*/ 106 w 129"/>
                    <a:gd name="T5" fmla="*/ 39 h 102"/>
                    <a:gd name="T6" fmla="*/ 106 w 129"/>
                    <a:gd name="T7" fmla="*/ 64 h 102"/>
                    <a:gd name="T8" fmla="*/ 129 w 129"/>
                    <a:gd name="T9" fmla="*/ 78 h 102"/>
                    <a:gd name="T10" fmla="*/ 94 w 129"/>
                    <a:gd name="T11" fmla="*/ 88 h 102"/>
                    <a:gd name="T12" fmla="*/ 75 w 129"/>
                    <a:gd name="T13" fmla="*/ 97 h 102"/>
                    <a:gd name="T14" fmla="*/ 51 w 129"/>
                    <a:gd name="T15" fmla="*/ 102 h 102"/>
                    <a:gd name="T16" fmla="*/ 42 w 129"/>
                    <a:gd name="T17" fmla="*/ 88 h 102"/>
                    <a:gd name="T18" fmla="*/ 25 w 129"/>
                    <a:gd name="T19" fmla="*/ 102 h 102"/>
                    <a:gd name="T20" fmla="*/ 18 w 129"/>
                    <a:gd name="T21" fmla="*/ 85 h 102"/>
                    <a:gd name="T22" fmla="*/ 7 w 129"/>
                    <a:gd name="T23" fmla="*/ 75 h 102"/>
                    <a:gd name="T24" fmla="*/ 0 w 129"/>
                    <a:gd name="T25" fmla="*/ 54 h 102"/>
                    <a:gd name="T26" fmla="*/ 16 w 129"/>
                    <a:gd name="T27" fmla="*/ 52 h 102"/>
                    <a:gd name="T28" fmla="*/ 22 w 129"/>
                    <a:gd name="T29" fmla="*/ 25 h 102"/>
                    <a:gd name="T30" fmla="*/ 48 w 129"/>
                    <a:gd name="T31" fmla="*/ 10 h 102"/>
                    <a:gd name="T32" fmla="*/ 43 w 129"/>
                    <a:gd name="T33" fmla="*/ 27 h 102"/>
                    <a:gd name="T34" fmla="*/ 64 w 129"/>
                    <a:gd name="T35" fmla="*/ 10 h 102"/>
                    <a:gd name="T36" fmla="*/ 88 w 129"/>
                    <a:gd name="T37" fmla="*/ 0 h 102"/>
                    <a:gd name="T38" fmla="*/ 105 w 129"/>
                    <a:gd name="T39" fmla="*/ 16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9" h="102">
                      <a:moveTo>
                        <a:pt x="105" y="16"/>
                      </a:moveTo>
                      <a:lnTo>
                        <a:pt x="91" y="39"/>
                      </a:lnTo>
                      <a:lnTo>
                        <a:pt x="106" y="39"/>
                      </a:lnTo>
                      <a:lnTo>
                        <a:pt x="106" y="64"/>
                      </a:lnTo>
                      <a:lnTo>
                        <a:pt x="129" y="78"/>
                      </a:lnTo>
                      <a:lnTo>
                        <a:pt x="94" y="88"/>
                      </a:lnTo>
                      <a:lnTo>
                        <a:pt x="75" y="97"/>
                      </a:lnTo>
                      <a:lnTo>
                        <a:pt x="51" y="102"/>
                      </a:lnTo>
                      <a:lnTo>
                        <a:pt x="42" y="88"/>
                      </a:lnTo>
                      <a:lnTo>
                        <a:pt x="25" y="102"/>
                      </a:lnTo>
                      <a:lnTo>
                        <a:pt x="18" y="85"/>
                      </a:lnTo>
                      <a:lnTo>
                        <a:pt x="7" y="75"/>
                      </a:lnTo>
                      <a:lnTo>
                        <a:pt x="0" y="54"/>
                      </a:lnTo>
                      <a:lnTo>
                        <a:pt x="16" y="52"/>
                      </a:lnTo>
                      <a:lnTo>
                        <a:pt x="22" y="25"/>
                      </a:lnTo>
                      <a:lnTo>
                        <a:pt x="48" y="10"/>
                      </a:lnTo>
                      <a:lnTo>
                        <a:pt x="43" y="27"/>
                      </a:lnTo>
                      <a:lnTo>
                        <a:pt x="64" y="10"/>
                      </a:lnTo>
                      <a:lnTo>
                        <a:pt x="88" y="0"/>
                      </a:lnTo>
                      <a:lnTo>
                        <a:pt x="105" y="16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5" name="Freeform 173"/>
                <p:cNvSpPr>
                  <a:spLocks/>
                </p:cNvSpPr>
                <p:nvPr/>
              </p:nvSpPr>
              <p:spPr bwMode="auto">
                <a:xfrm>
                  <a:off x="1382" y="1778"/>
                  <a:ext cx="51" cy="90"/>
                </a:xfrm>
                <a:custGeom>
                  <a:avLst/>
                  <a:gdLst>
                    <a:gd name="T0" fmla="*/ 51 w 51"/>
                    <a:gd name="T1" fmla="*/ 0 h 90"/>
                    <a:gd name="T2" fmla="*/ 39 w 51"/>
                    <a:gd name="T3" fmla="*/ 37 h 90"/>
                    <a:gd name="T4" fmla="*/ 39 w 51"/>
                    <a:gd name="T5" fmla="*/ 67 h 90"/>
                    <a:gd name="T6" fmla="*/ 21 w 51"/>
                    <a:gd name="T7" fmla="*/ 73 h 90"/>
                    <a:gd name="T8" fmla="*/ 0 w 51"/>
                    <a:gd name="T9" fmla="*/ 90 h 90"/>
                    <a:gd name="T10" fmla="*/ 0 w 51"/>
                    <a:gd name="T11" fmla="*/ 60 h 90"/>
                    <a:gd name="T12" fmla="*/ 16 w 51"/>
                    <a:gd name="T13" fmla="*/ 51 h 90"/>
                    <a:gd name="T14" fmla="*/ 0 w 51"/>
                    <a:gd name="T15" fmla="*/ 25 h 90"/>
                    <a:gd name="T16" fmla="*/ 19 w 51"/>
                    <a:gd name="T17" fmla="*/ 28 h 90"/>
                    <a:gd name="T18" fmla="*/ 16 w 51"/>
                    <a:gd name="T19" fmla="*/ 13 h 90"/>
                    <a:gd name="T20" fmla="*/ 51 w 51"/>
                    <a:gd name="T21" fmla="*/ 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1" h="90">
                      <a:moveTo>
                        <a:pt x="51" y="0"/>
                      </a:moveTo>
                      <a:lnTo>
                        <a:pt x="39" y="37"/>
                      </a:lnTo>
                      <a:lnTo>
                        <a:pt x="39" y="67"/>
                      </a:lnTo>
                      <a:lnTo>
                        <a:pt x="21" y="73"/>
                      </a:lnTo>
                      <a:lnTo>
                        <a:pt x="0" y="90"/>
                      </a:lnTo>
                      <a:lnTo>
                        <a:pt x="0" y="60"/>
                      </a:lnTo>
                      <a:lnTo>
                        <a:pt x="16" y="51"/>
                      </a:lnTo>
                      <a:lnTo>
                        <a:pt x="0" y="25"/>
                      </a:lnTo>
                      <a:lnTo>
                        <a:pt x="19" y="28"/>
                      </a:lnTo>
                      <a:lnTo>
                        <a:pt x="16" y="13"/>
                      </a:lnTo>
                      <a:lnTo>
                        <a:pt x="51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6" name="Freeform 174"/>
                <p:cNvSpPr>
                  <a:spLocks/>
                </p:cNvSpPr>
                <p:nvPr/>
              </p:nvSpPr>
              <p:spPr bwMode="auto">
                <a:xfrm>
                  <a:off x="1350" y="1866"/>
                  <a:ext cx="21" cy="18"/>
                </a:xfrm>
                <a:custGeom>
                  <a:avLst/>
                  <a:gdLst>
                    <a:gd name="T0" fmla="*/ 0 w 21"/>
                    <a:gd name="T1" fmla="*/ 0 h 18"/>
                    <a:gd name="T2" fmla="*/ 21 w 21"/>
                    <a:gd name="T3" fmla="*/ 3 h 18"/>
                    <a:gd name="T4" fmla="*/ 9 w 21"/>
                    <a:gd name="T5" fmla="*/ 18 h 18"/>
                    <a:gd name="T6" fmla="*/ 0 w 21"/>
                    <a:gd name="T7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" h="18">
                      <a:moveTo>
                        <a:pt x="0" y="0"/>
                      </a:moveTo>
                      <a:lnTo>
                        <a:pt x="21" y="3"/>
                      </a:lnTo>
                      <a:lnTo>
                        <a:pt x="9" y="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7" name="Freeform 175"/>
                <p:cNvSpPr>
                  <a:spLocks/>
                </p:cNvSpPr>
                <p:nvPr/>
              </p:nvSpPr>
              <p:spPr bwMode="auto">
                <a:xfrm>
                  <a:off x="1346" y="1893"/>
                  <a:ext cx="13" cy="23"/>
                </a:xfrm>
                <a:custGeom>
                  <a:avLst/>
                  <a:gdLst>
                    <a:gd name="T0" fmla="*/ 0 w 13"/>
                    <a:gd name="T1" fmla="*/ 0 h 23"/>
                    <a:gd name="T2" fmla="*/ 13 w 13"/>
                    <a:gd name="T3" fmla="*/ 3 h 23"/>
                    <a:gd name="T4" fmla="*/ 1 w 13"/>
                    <a:gd name="T5" fmla="*/ 23 h 23"/>
                    <a:gd name="T6" fmla="*/ 0 w 13"/>
                    <a:gd name="T7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" h="23">
                      <a:moveTo>
                        <a:pt x="0" y="0"/>
                      </a:moveTo>
                      <a:lnTo>
                        <a:pt x="13" y="3"/>
                      </a:lnTo>
                      <a:lnTo>
                        <a:pt x="1" y="2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8" name="Freeform 176"/>
                <p:cNvSpPr>
                  <a:spLocks/>
                </p:cNvSpPr>
                <p:nvPr/>
              </p:nvSpPr>
              <p:spPr bwMode="auto">
                <a:xfrm>
                  <a:off x="1403" y="1869"/>
                  <a:ext cx="40" cy="89"/>
                </a:xfrm>
                <a:custGeom>
                  <a:avLst/>
                  <a:gdLst>
                    <a:gd name="T0" fmla="*/ 21 w 40"/>
                    <a:gd name="T1" fmla="*/ 0 h 89"/>
                    <a:gd name="T2" fmla="*/ 0 w 40"/>
                    <a:gd name="T3" fmla="*/ 20 h 89"/>
                    <a:gd name="T4" fmla="*/ 7 w 40"/>
                    <a:gd name="T5" fmla="*/ 54 h 89"/>
                    <a:gd name="T6" fmla="*/ 30 w 40"/>
                    <a:gd name="T7" fmla="*/ 89 h 89"/>
                    <a:gd name="T8" fmla="*/ 40 w 40"/>
                    <a:gd name="T9" fmla="*/ 60 h 89"/>
                    <a:gd name="T10" fmla="*/ 18 w 40"/>
                    <a:gd name="T11" fmla="*/ 44 h 89"/>
                    <a:gd name="T12" fmla="*/ 21 w 40"/>
                    <a:gd name="T13" fmla="*/ 0 h 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89">
                      <a:moveTo>
                        <a:pt x="21" y="0"/>
                      </a:moveTo>
                      <a:lnTo>
                        <a:pt x="0" y="20"/>
                      </a:lnTo>
                      <a:lnTo>
                        <a:pt x="7" y="54"/>
                      </a:lnTo>
                      <a:lnTo>
                        <a:pt x="30" y="89"/>
                      </a:lnTo>
                      <a:lnTo>
                        <a:pt x="40" y="60"/>
                      </a:lnTo>
                      <a:lnTo>
                        <a:pt x="18" y="44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9" name="Freeform 177"/>
                <p:cNvSpPr>
                  <a:spLocks/>
                </p:cNvSpPr>
                <p:nvPr/>
              </p:nvSpPr>
              <p:spPr bwMode="auto">
                <a:xfrm>
                  <a:off x="1421" y="1976"/>
                  <a:ext cx="25" cy="36"/>
                </a:xfrm>
                <a:custGeom>
                  <a:avLst/>
                  <a:gdLst>
                    <a:gd name="T0" fmla="*/ 4 w 25"/>
                    <a:gd name="T1" fmla="*/ 0 h 36"/>
                    <a:gd name="T2" fmla="*/ 25 w 25"/>
                    <a:gd name="T3" fmla="*/ 21 h 36"/>
                    <a:gd name="T4" fmla="*/ 0 w 25"/>
                    <a:gd name="T5" fmla="*/ 36 h 36"/>
                    <a:gd name="T6" fmla="*/ 4 w 25"/>
                    <a:gd name="T7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5" h="36">
                      <a:moveTo>
                        <a:pt x="4" y="0"/>
                      </a:moveTo>
                      <a:lnTo>
                        <a:pt x="25" y="21"/>
                      </a:lnTo>
                      <a:lnTo>
                        <a:pt x="0" y="36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515" name="Freeform 178"/>
              <p:cNvSpPr>
                <a:spLocks/>
              </p:cNvSpPr>
              <p:nvPr/>
            </p:nvSpPr>
            <p:spPr bwMode="auto">
              <a:xfrm>
                <a:off x="1194" y="2085"/>
                <a:ext cx="230" cy="351"/>
              </a:xfrm>
              <a:custGeom>
                <a:avLst/>
                <a:gdLst>
                  <a:gd name="T0" fmla="*/ 195 w 230"/>
                  <a:gd name="T1" fmla="*/ 14 h 351"/>
                  <a:gd name="T2" fmla="*/ 164 w 230"/>
                  <a:gd name="T3" fmla="*/ 23 h 351"/>
                  <a:gd name="T4" fmla="*/ 125 w 230"/>
                  <a:gd name="T5" fmla="*/ 23 h 351"/>
                  <a:gd name="T6" fmla="*/ 107 w 230"/>
                  <a:gd name="T7" fmla="*/ 45 h 351"/>
                  <a:gd name="T8" fmla="*/ 95 w 230"/>
                  <a:gd name="T9" fmla="*/ 86 h 351"/>
                  <a:gd name="T10" fmla="*/ 75 w 230"/>
                  <a:gd name="T11" fmla="*/ 90 h 351"/>
                  <a:gd name="T12" fmla="*/ 41 w 230"/>
                  <a:gd name="T13" fmla="*/ 84 h 351"/>
                  <a:gd name="T14" fmla="*/ 59 w 230"/>
                  <a:gd name="T15" fmla="*/ 135 h 351"/>
                  <a:gd name="T16" fmla="*/ 15 w 230"/>
                  <a:gd name="T17" fmla="*/ 167 h 351"/>
                  <a:gd name="T18" fmla="*/ 50 w 230"/>
                  <a:gd name="T19" fmla="*/ 189 h 351"/>
                  <a:gd name="T20" fmla="*/ 78 w 230"/>
                  <a:gd name="T21" fmla="*/ 168 h 351"/>
                  <a:gd name="T22" fmla="*/ 60 w 230"/>
                  <a:gd name="T23" fmla="*/ 213 h 351"/>
                  <a:gd name="T24" fmla="*/ 57 w 230"/>
                  <a:gd name="T25" fmla="*/ 261 h 351"/>
                  <a:gd name="T26" fmla="*/ 39 w 230"/>
                  <a:gd name="T27" fmla="*/ 287 h 351"/>
                  <a:gd name="T28" fmla="*/ 9 w 230"/>
                  <a:gd name="T29" fmla="*/ 311 h 351"/>
                  <a:gd name="T30" fmla="*/ 33 w 230"/>
                  <a:gd name="T31" fmla="*/ 320 h 351"/>
                  <a:gd name="T32" fmla="*/ 26 w 230"/>
                  <a:gd name="T33" fmla="*/ 344 h 351"/>
                  <a:gd name="T34" fmla="*/ 69 w 230"/>
                  <a:gd name="T35" fmla="*/ 326 h 351"/>
                  <a:gd name="T36" fmla="*/ 83 w 230"/>
                  <a:gd name="T37" fmla="*/ 351 h 351"/>
                  <a:gd name="T38" fmla="*/ 123 w 230"/>
                  <a:gd name="T39" fmla="*/ 309 h 351"/>
                  <a:gd name="T40" fmla="*/ 159 w 230"/>
                  <a:gd name="T41" fmla="*/ 303 h 351"/>
                  <a:gd name="T42" fmla="*/ 186 w 230"/>
                  <a:gd name="T43" fmla="*/ 284 h 351"/>
                  <a:gd name="T44" fmla="*/ 209 w 230"/>
                  <a:gd name="T45" fmla="*/ 279 h 351"/>
                  <a:gd name="T46" fmla="*/ 204 w 230"/>
                  <a:gd name="T47" fmla="*/ 252 h 351"/>
                  <a:gd name="T48" fmla="*/ 219 w 230"/>
                  <a:gd name="T49" fmla="*/ 221 h 351"/>
                  <a:gd name="T50" fmla="*/ 213 w 230"/>
                  <a:gd name="T51" fmla="*/ 180 h 351"/>
                  <a:gd name="T52" fmla="*/ 218 w 230"/>
                  <a:gd name="T53" fmla="*/ 129 h 351"/>
                  <a:gd name="T54" fmla="*/ 197 w 230"/>
                  <a:gd name="T55" fmla="*/ 122 h 351"/>
                  <a:gd name="T56" fmla="*/ 168 w 230"/>
                  <a:gd name="T57" fmla="*/ 123 h 351"/>
                  <a:gd name="T58" fmla="*/ 156 w 230"/>
                  <a:gd name="T59" fmla="*/ 99 h 351"/>
                  <a:gd name="T60" fmla="*/ 162 w 230"/>
                  <a:gd name="T61" fmla="*/ 72 h 351"/>
                  <a:gd name="T62" fmla="*/ 192 w 230"/>
                  <a:gd name="T63" fmla="*/ 33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0" h="351">
                    <a:moveTo>
                      <a:pt x="192" y="33"/>
                    </a:moveTo>
                    <a:lnTo>
                      <a:pt x="195" y="14"/>
                    </a:lnTo>
                    <a:lnTo>
                      <a:pt x="182" y="0"/>
                    </a:lnTo>
                    <a:lnTo>
                      <a:pt x="164" y="23"/>
                    </a:lnTo>
                    <a:lnTo>
                      <a:pt x="152" y="11"/>
                    </a:lnTo>
                    <a:lnTo>
                      <a:pt x="125" y="23"/>
                    </a:lnTo>
                    <a:lnTo>
                      <a:pt x="125" y="36"/>
                    </a:lnTo>
                    <a:lnTo>
                      <a:pt x="107" y="45"/>
                    </a:lnTo>
                    <a:lnTo>
                      <a:pt x="129" y="60"/>
                    </a:lnTo>
                    <a:lnTo>
                      <a:pt x="95" y="86"/>
                    </a:lnTo>
                    <a:lnTo>
                      <a:pt x="101" y="104"/>
                    </a:lnTo>
                    <a:lnTo>
                      <a:pt x="75" y="90"/>
                    </a:lnTo>
                    <a:lnTo>
                      <a:pt x="60" y="104"/>
                    </a:lnTo>
                    <a:lnTo>
                      <a:pt x="41" y="84"/>
                    </a:lnTo>
                    <a:lnTo>
                      <a:pt x="38" y="113"/>
                    </a:lnTo>
                    <a:lnTo>
                      <a:pt x="59" y="135"/>
                    </a:lnTo>
                    <a:lnTo>
                      <a:pt x="29" y="149"/>
                    </a:lnTo>
                    <a:lnTo>
                      <a:pt x="15" y="167"/>
                    </a:lnTo>
                    <a:lnTo>
                      <a:pt x="18" y="180"/>
                    </a:lnTo>
                    <a:lnTo>
                      <a:pt x="50" y="189"/>
                    </a:lnTo>
                    <a:lnTo>
                      <a:pt x="72" y="182"/>
                    </a:lnTo>
                    <a:lnTo>
                      <a:pt x="78" y="168"/>
                    </a:lnTo>
                    <a:lnTo>
                      <a:pt x="84" y="195"/>
                    </a:lnTo>
                    <a:lnTo>
                      <a:pt x="60" y="213"/>
                    </a:lnTo>
                    <a:lnTo>
                      <a:pt x="36" y="252"/>
                    </a:lnTo>
                    <a:lnTo>
                      <a:pt x="57" y="261"/>
                    </a:lnTo>
                    <a:lnTo>
                      <a:pt x="21" y="275"/>
                    </a:lnTo>
                    <a:lnTo>
                      <a:pt x="39" y="287"/>
                    </a:lnTo>
                    <a:lnTo>
                      <a:pt x="0" y="287"/>
                    </a:lnTo>
                    <a:lnTo>
                      <a:pt x="9" y="311"/>
                    </a:lnTo>
                    <a:lnTo>
                      <a:pt x="3" y="336"/>
                    </a:lnTo>
                    <a:lnTo>
                      <a:pt x="33" y="320"/>
                    </a:lnTo>
                    <a:lnTo>
                      <a:pt x="42" y="329"/>
                    </a:lnTo>
                    <a:lnTo>
                      <a:pt x="26" y="344"/>
                    </a:lnTo>
                    <a:lnTo>
                      <a:pt x="35" y="351"/>
                    </a:lnTo>
                    <a:lnTo>
                      <a:pt x="69" y="326"/>
                    </a:lnTo>
                    <a:lnTo>
                      <a:pt x="71" y="342"/>
                    </a:lnTo>
                    <a:lnTo>
                      <a:pt x="83" y="351"/>
                    </a:lnTo>
                    <a:lnTo>
                      <a:pt x="125" y="324"/>
                    </a:lnTo>
                    <a:lnTo>
                      <a:pt x="123" y="309"/>
                    </a:lnTo>
                    <a:lnTo>
                      <a:pt x="146" y="317"/>
                    </a:lnTo>
                    <a:lnTo>
                      <a:pt x="159" y="303"/>
                    </a:lnTo>
                    <a:lnTo>
                      <a:pt x="162" y="284"/>
                    </a:lnTo>
                    <a:lnTo>
                      <a:pt x="186" y="284"/>
                    </a:lnTo>
                    <a:lnTo>
                      <a:pt x="195" y="261"/>
                    </a:lnTo>
                    <a:lnTo>
                      <a:pt x="209" y="279"/>
                    </a:lnTo>
                    <a:lnTo>
                      <a:pt x="213" y="258"/>
                    </a:lnTo>
                    <a:lnTo>
                      <a:pt x="204" y="252"/>
                    </a:lnTo>
                    <a:lnTo>
                      <a:pt x="219" y="248"/>
                    </a:lnTo>
                    <a:lnTo>
                      <a:pt x="219" y="221"/>
                    </a:lnTo>
                    <a:lnTo>
                      <a:pt x="230" y="212"/>
                    </a:lnTo>
                    <a:lnTo>
                      <a:pt x="213" y="180"/>
                    </a:lnTo>
                    <a:lnTo>
                      <a:pt x="209" y="153"/>
                    </a:lnTo>
                    <a:lnTo>
                      <a:pt x="218" y="129"/>
                    </a:lnTo>
                    <a:lnTo>
                      <a:pt x="222" y="117"/>
                    </a:lnTo>
                    <a:lnTo>
                      <a:pt x="197" y="122"/>
                    </a:lnTo>
                    <a:lnTo>
                      <a:pt x="188" y="108"/>
                    </a:lnTo>
                    <a:lnTo>
                      <a:pt x="168" y="123"/>
                    </a:lnTo>
                    <a:lnTo>
                      <a:pt x="165" y="104"/>
                    </a:lnTo>
                    <a:lnTo>
                      <a:pt x="156" y="99"/>
                    </a:lnTo>
                    <a:lnTo>
                      <a:pt x="146" y="77"/>
                    </a:lnTo>
                    <a:lnTo>
                      <a:pt x="162" y="72"/>
                    </a:lnTo>
                    <a:lnTo>
                      <a:pt x="168" y="45"/>
                    </a:lnTo>
                    <a:lnTo>
                      <a:pt x="192" y="3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6" name="Freeform 179"/>
              <p:cNvSpPr>
                <a:spLocks/>
              </p:cNvSpPr>
              <p:nvPr/>
            </p:nvSpPr>
            <p:spPr bwMode="auto">
              <a:xfrm>
                <a:off x="1244" y="3210"/>
                <a:ext cx="153" cy="390"/>
              </a:xfrm>
              <a:custGeom>
                <a:avLst/>
                <a:gdLst>
                  <a:gd name="T0" fmla="*/ 36 w 153"/>
                  <a:gd name="T1" fmla="*/ 9 h 390"/>
                  <a:gd name="T2" fmla="*/ 39 w 153"/>
                  <a:gd name="T3" fmla="*/ 45 h 390"/>
                  <a:gd name="T4" fmla="*/ 48 w 153"/>
                  <a:gd name="T5" fmla="*/ 59 h 390"/>
                  <a:gd name="T6" fmla="*/ 46 w 153"/>
                  <a:gd name="T7" fmla="*/ 80 h 390"/>
                  <a:gd name="T8" fmla="*/ 39 w 153"/>
                  <a:gd name="T9" fmla="*/ 126 h 390"/>
                  <a:gd name="T10" fmla="*/ 22 w 153"/>
                  <a:gd name="T11" fmla="*/ 140 h 390"/>
                  <a:gd name="T12" fmla="*/ 31 w 153"/>
                  <a:gd name="T13" fmla="*/ 153 h 390"/>
                  <a:gd name="T14" fmla="*/ 6 w 153"/>
                  <a:gd name="T15" fmla="*/ 203 h 390"/>
                  <a:gd name="T16" fmla="*/ 0 w 153"/>
                  <a:gd name="T17" fmla="*/ 249 h 390"/>
                  <a:gd name="T18" fmla="*/ 19 w 153"/>
                  <a:gd name="T19" fmla="*/ 240 h 390"/>
                  <a:gd name="T20" fmla="*/ 18 w 153"/>
                  <a:gd name="T21" fmla="*/ 257 h 390"/>
                  <a:gd name="T22" fmla="*/ 4 w 153"/>
                  <a:gd name="T23" fmla="*/ 269 h 390"/>
                  <a:gd name="T24" fmla="*/ 21 w 153"/>
                  <a:gd name="T25" fmla="*/ 279 h 390"/>
                  <a:gd name="T26" fmla="*/ 28 w 153"/>
                  <a:gd name="T27" fmla="*/ 324 h 390"/>
                  <a:gd name="T28" fmla="*/ 16 w 153"/>
                  <a:gd name="T29" fmla="*/ 378 h 390"/>
                  <a:gd name="T30" fmla="*/ 43 w 153"/>
                  <a:gd name="T31" fmla="*/ 378 h 390"/>
                  <a:gd name="T32" fmla="*/ 79 w 153"/>
                  <a:gd name="T33" fmla="*/ 390 h 390"/>
                  <a:gd name="T34" fmla="*/ 111 w 153"/>
                  <a:gd name="T35" fmla="*/ 381 h 390"/>
                  <a:gd name="T36" fmla="*/ 133 w 153"/>
                  <a:gd name="T37" fmla="*/ 375 h 390"/>
                  <a:gd name="T38" fmla="*/ 147 w 153"/>
                  <a:gd name="T39" fmla="*/ 336 h 390"/>
                  <a:gd name="T40" fmla="*/ 129 w 153"/>
                  <a:gd name="T41" fmla="*/ 333 h 390"/>
                  <a:gd name="T42" fmla="*/ 111 w 153"/>
                  <a:gd name="T43" fmla="*/ 305 h 390"/>
                  <a:gd name="T44" fmla="*/ 129 w 153"/>
                  <a:gd name="T45" fmla="*/ 270 h 390"/>
                  <a:gd name="T46" fmla="*/ 106 w 153"/>
                  <a:gd name="T47" fmla="*/ 231 h 390"/>
                  <a:gd name="T48" fmla="*/ 130 w 153"/>
                  <a:gd name="T49" fmla="*/ 221 h 390"/>
                  <a:gd name="T50" fmla="*/ 124 w 153"/>
                  <a:gd name="T51" fmla="*/ 153 h 390"/>
                  <a:gd name="T52" fmla="*/ 148 w 153"/>
                  <a:gd name="T53" fmla="*/ 131 h 390"/>
                  <a:gd name="T54" fmla="*/ 124 w 153"/>
                  <a:gd name="T55" fmla="*/ 75 h 390"/>
                  <a:gd name="T56" fmla="*/ 153 w 153"/>
                  <a:gd name="T57" fmla="*/ 24 h 390"/>
                  <a:gd name="T58" fmla="*/ 117 w 153"/>
                  <a:gd name="T59" fmla="*/ 8 h 390"/>
                  <a:gd name="T60" fmla="*/ 100 w 153"/>
                  <a:gd name="T61" fmla="*/ 17 h 390"/>
                  <a:gd name="T62" fmla="*/ 63 w 153"/>
                  <a:gd name="T63" fmla="*/ 14 h 390"/>
                  <a:gd name="T64" fmla="*/ 57 w 153"/>
                  <a:gd name="T65" fmla="*/ 0 h 390"/>
                  <a:gd name="T66" fmla="*/ 36 w 153"/>
                  <a:gd name="T67" fmla="*/ 9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3" h="390">
                    <a:moveTo>
                      <a:pt x="36" y="9"/>
                    </a:moveTo>
                    <a:lnTo>
                      <a:pt x="39" y="45"/>
                    </a:lnTo>
                    <a:lnTo>
                      <a:pt x="48" y="59"/>
                    </a:lnTo>
                    <a:lnTo>
                      <a:pt x="46" y="80"/>
                    </a:lnTo>
                    <a:lnTo>
                      <a:pt x="39" y="126"/>
                    </a:lnTo>
                    <a:lnTo>
                      <a:pt x="22" y="140"/>
                    </a:lnTo>
                    <a:lnTo>
                      <a:pt x="31" y="153"/>
                    </a:lnTo>
                    <a:lnTo>
                      <a:pt x="6" y="203"/>
                    </a:lnTo>
                    <a:lnTo>
                      <a:pt x="0" y="249"/>
                    </a:lnTo>
                    <a:lnTo>
                      <a:pt x="19" y="240"/>
                    </a:lnTo>
                    <a:lnTo>
                      <a:pt x="18" y="257"/>
                    </a:lnTo>
                    <a:lnTo>
                      <a:pt x="4" y="269"/>
                    </a:lnTo>
                    <a:lnTo>
                      <a:pt x="21" y="279"/>
                    </a:lnTo>
                    <a:lnTo>
                      <a:pt x="28" y="324"/>
                    </a:lnTo>
                    <a:lnTo>
                      <a:pt x="16" y="378"/>
                    </a:lnTo>
                    <a:lnTo>
                      <a:pt x="43" y="378"/>
                    </a:lnTo>
                    <a:lnTo>
                      <a:pt x="79" y="390"/>
                    </a:lnTo>
                    <a:lnTo>
                      <a:pt x="111" y="381"/>
                    </a:lnTo>
                    <a:lnTo>
                      <a:pt x="133" y="375"/>
                    </a:lnTo>
                    <a:lnTo>
                      <a:pt x="147" y="336"/>
                    </a:lnTo>
                    <a:lnTo>
                      <a:pt x="129" y="333"/>
                    </a:lnTo>
                    <a:lnTo>
                      <a:pt x="111" y="305"/>
                    </a:lnTo>
                    <a:lnTo>
                      <a:pt x="129" y="270"/>
                    </a:lnTo>
                    <a:lnTo>
                      <a:pt x="106" y="231"/>
                    </a:lnTo>
                    <a:lnTo>
                      <a:pt x="130" y="221"/>
                    </a:lnTo>
                    <a:lnTo>
                      <a:pt x="124" y="153"/>
                    </a:lnTo>
                    <a:lnTo>
                      <a:pt x="148" y="131"/>
                    </a:lnTo>
                    <a:lnTo>
                      <a:pt x="124" y="75"/>
                    </a:lnTo>
                    <a:lnTo>
                      <a:pt x="153" y="24"/>
                    </a:lnTo>
                    <a:lnTo>
                      <a:pt x="117" y="8"/>
                    </a:lnTo>
                    <a:lnTo>
                      <a:pt x="100" y="17"/>
                    </a:lnTo>
                    <a:lnTo>
                      <a:pt x="63" y="14"/>
                    </a:lnTo>
                    <a:lnTo>
                      <a:pt x="57" y="0"/>
                    </a:lnTo>
                    <a:lnTo>
                      <a:pt x="36" y="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grpSp>
            <p:nvGrpSpPr>
              <p:cNvPr id="517" name="Group 180"/>
              <p:cNvGrpSpPr>
                <a:grpSpLocks/>
              </p:cNvGrpSpPr>
              <p:nvPr/>
            </p:nvGrpSpPr>
            <p:grpSpPr bwMode="auto">
              <a:xfrm>
                <a:off x="1250" y="3068"/>
                <a:ext cx="831" cy="594"/>
                <a:chOff x="1250" y="3068"/>
                <a:chExt cx="831" cy="594"/>
              </a:xfrm>
              <a:grpFill/>
            </p:grpSpPr>
            <p:sp>
              <p:nvSpPr>
                <p:cNvPr id="568" name="Freeform 181"/>
                <p:cNvSpPr>
                  <a:spLocks/>
                </p:cNvSpPr>
                <p:nvPr/>
              </p:nvSpPr>
              <p:spPr bwMode="auto">
                <a:xfrm>
                  <a:off x="1250" y="3068"/>
                  <a:ext cx="714" cy="594"/>
                </a:xfrm>
                <a:custGeom>
                  <a:avLst/>
                  <a:gdLst>
                    <a:gd name="T0" fmla="*/ 385 w 714"/>
                    <a:gd name="T1" fmla="*/ 43 h 594"/>
                    <a:gd name="T2" fmla="*/ 298 w 714"/>
                    <a:gd name="T3" fmla="*/ 21 h 594"/>
                    <a:gd name="T4" fmla="*/ 246 w 714"/>
                    <a:gd name="T5" fmla="*/ 19 h 594"/>
                    <a:gd name="T6" fmla="*/ 187 w 714"/>
                    <a:gd name="T7" fmla="*/ 18 h 594"/>
                    <a:gd name="T8" fmla="*/ 121 w 714"/>
                    <a:gd name="T9" fmla="*/ 0 h 594"/>
                    <a:gd name="T10" fmla="*/ 67 w 714"/>
                    <a:gd name="T11" fmla="*/ 25 h 594"/>
                    <a:gd name="T12" fmla="*/ 33 w 714"/>
                    <a:gd name="T13" fmla="*/ 33 h 594"/>
                    <a:gd name="T14" fmla="*/ 24 w 714"/>
                    <a:gd name="T15" fmla="*/ 108 h 594"/>
                    <a:gd name="T16" fmla="*/ 21 w 714"/>
                    <a:gd name="T17" fmla="*/ 144 h 594"/>
                    <a:gd name="T18" fmla="*/ 52 w 714"/>
                    <a:gd name="T19" fmla="*/ 141 h 594"/>
                    <a:gd name="T20" fmla="*/ 93 w 714"/>
                    <a:gd name="T21" fmla="*/ 157 h 594"/>
                    <a:gd name="T22" fmla="*/ 147 w 714"/>
                    <a:gd name="T23" fmla="*/ 165 h 594"/>
                    <a:gd name="T24" fmla="*/ 118 w 714"/>
                    <a:gd name="T25" fmla="*/ 217 h 594"/>
                    <a:gd name="T26" fmla="*/ 118 w 714"/>
                    <a:gd name="T27" fmla="*/ 297 h 594"/>
                    <a:gd name="T28" fmla="*/ 124 w 714"/>
                    <a:gd name="T29" fmla="*/ 363 h 594"/>
                    <a:gd name="T30" fmla="*/ 123 w 714"/>
                    <a:gd name="T31" fmla="*/ 414 h 594"/>
                    <a:gd name="T32" fmla="*/ 123 w 714"/>
                    <a:gd name="T33" fmla="*/ 475 h 594"/>
                    <a:gd name="T34" fmla="*/ 127 w 714"/>
                    <a:gd name="T35" fmla="*/ 516 h 594"/>
                    <a:gd name="T36" fmla="*/ 172 w 714"/>
                    <a:gd name="T37" fmla="*/ 556 h 594"/>
                    <a:gd name="T38" fmla="*/ 217 w 714"/>
                    <a:gd name="T39" fmla="*/ 594 h 594"/>
                    <a:gd name="T40" fmla="*/ 273 w 714"/>
                    <a:gd name="T41" fmla="*/ 561 h 594"/>
                    <a:gd name="T42" fmla="*/ 301 w 714"/>
                    <a:gd name="T43" fmla="*/ 562 h 594"/>
                    <a:gd name="T44" fmla="*/ 336 w 714"/>
                    <a:gd name="T45" fmla="*/ 567 h 594"/>
                    <a:gd name="T46" fmla="*/ 390 w 714"/>
                    <a:gd name="T47" fmla="*/ 549 h 594"/>
                    <a:gd name="T48" fmla="*/ 439 w 714"/>
                    <a:gd name="T49" fmla="*/ 489 h 594"/>
                    <a:gd name="T50" fmla="*/ 489 w 714"/>
                    <a:gd name="T51" fmla="*/ 435 h 594"/>
                    <a:gd name="T52" fmla="*/ 547 w 714"/>
                    <a:gd name="T53" fmla="*/ 370 h 594"/>
                    <a:gd name="T54" fmla="*/ 511 w 714"/>
                    <a:gd name="T55" fmla="*/ 327 h 594"/>
                    <a:gd name="T56" fmla="*/ 561 w 714"/>
                    <a:gd name="T57" fmla="*/ 270 h 594"/>
                    <a:gd name="T58" fmla="*/ 624 w 714"/>
                    <a:gd name="T59" fmla="*/ 207 h 594"/>
                    <a:gd name="T60" fmla="*/ 714 w 714"/>
                    <a:gd name="T61" fmla="*/ 147 h 594"/>
                    <a:gd name="T62" fmla="*/ 708 w 714"/>
                    <a:gd name="T63" fmla="*/ 106 h 594"/>
                    <a:gd name="T64" fmla="*/ 627 w 714"/>
                    <a:gd name="T65" fmla="*/ 126 h 594"/>
                    <a:gd name="T66" fmla="*/ 543 w 714"/>
                    <a:gd name="T67" fmla="*/ 106 h 594"/>
                    <a:gd name="T68" fmla="*/ 448 w 714"/>
                    <a:gd name="T69" fmla="*/ 79 h 5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14" h="594">
                      <a:moveTo>
                        <a:pt x="432" y="46"/>
                      </a:moveTo>
                      <a:lnTo>
                        <a:pt x="385" y="43"/>
                      </a:lnTo>
                      <a:lnTo>
                        <a:pt x="373" y="28"/>
                      </a:lnTo>
                      <a:lnTo>
                        <a:pt x="298" y="21"/>
                      </a:lnTo>
                      <a:lnTo>
                        <a:pt x="273" y="28"/>
                      </a:lnTo>
                      <a:lnTo>
                        <a:pt x="246" y="19"/>
                      </a:lnTo>
                      <a:lnTo>
                        <a:pt x="207" y="12"/>
                      </a:lnTo>
                      <a:lnTo>
                        <a:pt x="187" y="18"/>
                      </a:lnTo>
                      <a:lnTo>
                        <a:pt x="147" y="19"/>
                      </a:lnTo>
                      <a:lnTo>
                        <a:pt x="121" y="0"/>
                      </a:lnTo>
                      <a:lnTo>
                        <a:pt x="82" y="12"/>
                      </a:lnTo>
                      <a:lnTo>
                        <a:pt x="67" y="25"/>
                      </a:lnTo>
                      <a:lnTo>
                        <a:pt x="66" y="36"/>
                      </a:lnTo>
                      <a:lnTo>
                        <a:pt x="33" y="33"/>
                      </a:lnTo>
                      <a:lnTo>
                        <a:pt x="0" y="60"/>
                      </a:lnTo>
                      <a:lnTo>
                        <a:pt x="24" y="108"/>
                      </a:lnTo>
                      <a:lnTo>
                        <a:pt x="37" y="115"/>
                      </a:lnTo>
                      <a:lnTo>
                        <a:pt x="21" y="144"/>
                      </a:lnTo>
                      <a:lnTo>
                        <a:pt x="34" y="153"/>
                      </a:lnTo>
                      <a:lnTo>
                        <a:pt x="52" y="141"/>
                      </a:lnTo>
                      <a:lnTo>
                        <a:pt x="60" y="156"/>
                      </a:lnTo>
                      <a:lnTo>
                        <a:pt x="93" y="157"/>
                      </a:lnTo>
                      <a:lnTo>
                        <a:pt x="111" y="151"/>
                      </a:lnTo>
                      <a:lnTo>
                        <a:pt x="147" y="165"/>
                      </a:lnTo>
                      <a:lnTo>
                        <a:pt x="127" y="202"/>
                      </a:lnTo>
                      <a:lnTo>
                        <a:pt x="118" y="217"/>
                      </a:lnTo>
                      <a:lnTo>
                        <a:pt x="142" y="271"/>
                      </a:lnTo>
                      <a:lnTo>
                        <a:pt x="118" y="297"/>
                      </a:lnTo>
                      <a:lnTo>
                        <a:pt x="121" y="328"/>
                      </a:lnTo>
                      <a:lnTo>
                        <a:pt x="124" y="363"/>
                      </a:lnTo>
                      <a:lnTo>
                        <a:pt x="103" y="373"/>
                      </a:lnTo>
                      <a:lnTo>
                        <a:pt x="123" y="414"/>
                      </a:lnTo>
                      <a:lnTo>
                        <a:pt x="105" y="447"/>
                      </a:lnTo>
                      <a:lnTo>
                        <a:pt x="123" y="475"/>
                      </a:lnTo>
                      <a:lnTo>
                        <a:pt x="142" y="478"/>
                      </a:lnTo>
                      <a:lnTo>
                        <a:pt x="127" y="516"/>
                      </a:lnTo>
                      <a:lnTo>
                        <a:pt x="145" y="522"/>
                      </a:lnTo>
                      <a:lnTo>
                        <a:pt x="172" y="556"/>
                      </a:lnTo>
                      <a:lnTo>
                        <a:pt x="187" y="591"/>
                      </a:lnTo>
                      <a:lnTo>
                        <a:pt x="217" y="594"/>
                      </a:lnTo>
                      <a:lnTo>
                        <a:pt x="255" y="570"/>
                      </a:lnTo>
                      <a:lnTo>
                        <a:pt x="273" y="561"/>
                      </a:lnTo>
                      <a:lnTo>
                        <a:pt x="291" y="549"/>
                      </a:lnTo>
                      <a:lnTo>
                        <a:pt x="301" y="562"/>
                      </a:lnTo>
                      <a:lnTo>
                        <a:pt x="322" y="556"/>
                      </a:lnTo>
                      <a:lnTo>
                        <a:pt x="336" y="567"/>
                      </a:lnTo>
                      <a:lnTo>
                        <a:pt x="363" y="555"/>
                      </a:lnTo>
                      <a:lnTo>
                        <a:pt x="390" y="549"/>
                      </a:lnTo>
                      <a:lnTo>
                        <a:pt x="406" y="522"/>
                      </a:lnTo>
                      <a:lnTo>
                        <a:pt x="439" y="489"/>
                      </a:lnTo>
                      <a:lnTo>
                        <a:pt x="480" y="472"/>
                      </a:lnTo>
                      <a:lnTo>
                        <a:pt x="489" y="435"/>
                      </a:lnTo>
                      <a:lnTo>
                        <a:pt x="520" y="394"/>
                      </a:lnTo>
                      <a:lnTo>
                        <a:pt x="547" y="370"/>
                      </a:lnTo>
                      <a:lnTo>
                        <a:pt x="519" y="346"/>
                      </a:lnTo>
                      <a:lnTo>
                        <a:pt x="511" y="327"/>
                      </a:lnTo>
                      <a:lnTo>
                        <a:pt x="540" y="307"/>
                      </a:lnTo>
                      <a:lnTo>
                        <a:pt x="561" y="270"/>
                      </a:lnTo>
                      <a:lnTo>
                        <a:pt x="586" y="238"/>
                      </a:lnTo>
                      <a:lnTo>
                        <a:pt x="624" y="207"/>
                      </a:lnTo>
                      <a:lnTo>
                        <a:pt x="672" y="181"/>
                      </a:lnTo>
                      <a:lnTo>
                        <a:pt x="714" y="147"/>
                      </a:lnTo>
                      <a:lnTo>
                        <a:pt x="705" y="139"/>
                      </a:lnTo>
                      <a:lnTo>
                        <a:pt x="708" y="106"/>
                      </a:lnTo>
                      <a:lnTo>
                        <a:pt x="673" y="120"/>
                      </a:lnTo>
                      <a:lnTo>
                        <a:pt x="627" y="126"/>
                      </a:lnTo>
                      <a:lnTo>
                        <a:pt x="558" y="97"/>
                      </a:lnTo>
                      <a:lnTo>
                        <a:pt x="543" y="106"/>
                      </a:lnTo>
                      <a:lnTo>
                        <a:pt x="477" y="79"/>
                      </a:lnTo>
                      <a:lnTo>
                        <a:pt x="448" y="79"/>
                      </a:lnTo>
                      <a:lnTo>
                        <a:pt x="432" y="46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9" name="Freeform 182"/>
                <p:cNvSpPr>
                  <a:spLocks/>
                </p:cNvSpPr>
                <p:nvPr/>
              </p:nvSpPr>
              <p:spPr bwMode="auto">
                <a:xfrm>
                  <a:off x="1844" y="3414"/>
                  <a:ext cx="28" cy="26"/>
                </a:xfrm>
                <a:custGeom>
                  <a:avLst/>
                  <a:gdLst>
                    <a:gd name="T0" fmla="*/ 28 w 28"/>
                    <a:gd name="T1" fmla="*/ 0 h 26"/>
                    <a:gd name="T2" fmla="*/ 0 w 28"/>
                    <a:gd name="T3" fmla="*/ 17 h 26"/>
                    <a:gd name="T4" fmla="*/ 16 w 28"/>
                    <a:gd name="T5" fmla="*/ 26 h 26"/>
                    <a:gd name="T6" fmla="*/ 28 w 28"/>
                    <a:gd name="T7" fmla="*/ 0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8" h="26">
                      <a:moveTo>
                        <a:pt x="28" y="0"/>
                      </a:moveTo>
                      <a:lnTo>
                        <a:pt x="0" y="17"/>
                      </a:lnTo>
                      <a:lnTo>
                        <a:pt x="16" y="26"/>
                      </a:lnTo>
                      <a:lnTo>
                        <a:pt x="28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0" name="Freeform 183"/>
                <p:cNvSpPr>
                  <a:spLocks/>
                </p:cNvSpPr>
                <p:nvPr/>
              </p:nvSpPr>
              <p:spPr bwMode="auto">
                <a:xfrm>
                  <a:off x="1950" y="3372"/>
                  <a:ext cx="44" cy="59"/>
                </a:xfrm>
                <a:custGeom>
                  <a:avLst/>
                  <a:gdLst>
                    <a:gd name="T0" fmla="*/ 27 w 44"/>
                    <a:gd name="T1" fmla="*/ 0 h 59"/>
                    <a:gd name="T2" fmla="*/ 0 w 44"/>
                    <a:gd name="T3" fmla="*/ 5 h 59"/>
                    <a:gd name="T4" fmla="*/ 11 w 44"/>
                    <a:gd name="T5" fmla="*/ 20 h 59"/>
                    <a:gd name="T6" fmla="*/ 3 w 44"/>
                    <a:gd name="T7" fmla="*/ 36 h 59"/>
                    <a:gd name="T8" fmla="*/ 12 w 44"/>
                    <a:gd name="T9" fmla="*/ 59 h 59"/>
                    <a:gd name="T10" fmla="*/ 44 w 44"/>
                    <a:gd name="T11" fmla="*/ 26 h 59"/>
                    <a:gd name="T12" fmla="*/ 27 w 44"/>
                    <a:gd name="T13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4" h="59">
                      <a:moveTo>
                        <a:pt x="27" y="0"/>
                      </a:moveTo>
                      <a:lnTo>
                        <a:pt x="0" y="5"/>
                      </a:lnTo>
                      <a:lnTo>
                        <a:pt x="11" y="20"/>
                      </a:lnTo>
                      <a:lnTo>
                        <a:pt x="3" y="36"/>
                      </a:lnTo>
                      <a:lnTo>
                        <a:pt x="12" y="59"/>
                      </a:lnTo>
                      <a:lnTo>
                        <a:pt x="44" y="26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71" name="Freeform 184"/>
                <p:cNvSpPr>
                  <a:spLocks/>
                </p:cNvSpPr>
                <p:nvPr/>
              </p:nvSpPr>
              <p:spPr bwMode="auto">
                <a:xfrm>
                  <a:off x="2048" y="3369"/>
                  <a:ext cx="33" cy="24"/>
                </a:xfrm>
                <a:custGeom>
                  <a:avLst/>
                  <a:gdLst>
                    <a:gd name="T0" fmla="*/ 24 w 33"/>
                    <a:gd name="T1" fmla="*/ 0 h 24"/>
                    <a:gd name="T2" fmla="*/ 0 w 33"/>
                    <a:gd name="T3" fmla="*/ 2 h 24"/>
                    <a:gd name="T4" fmla="*/ 13 w 33"/>
                    <a:gd name="T5" fmla="*/ 21 h 24"/>
                    <a:gd name="T6" fmla="*/ 33 w 33"/>
                    <a:gd name="T7" fmla="*/ 24 h 24"/>
                    <a:gd name="T8" fmla="*/ 24 w 33"/>
                    <a:gd name="T9" fmla="*/ 0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3" h="24">
                      <a:moveTo>
                        <a:pt x="24" y="0"/>
                      </a:moveTo>
                      <a:lnTo>
                        <a:pt x="0" y="2"/>
                      </a:lnTo>
                      <a:lnTo>
                        <a:pt x="13" y="21"/>
                      </a:lnTo>
                      <a:lnTo>
                        <a:pt x="33" y="24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grpSp>
            <p:nvGrpSpPr>
              <p:cNvPr id="518" name="Group 185"/>
              <p:cNvGrpSpPr>
                <a:grpSpLocks/>
              </p:cNvGrpSpPr>
              <p:nvPr/>
            </p:nvGrpSpPr>
            <p:grpSpPr bwMode="auto">
              <a:xfrm>
                <a:off x="1500" y="2454"/>
                <a:ext cx="821" cy="812"/>
                <a:chOff x="1500" y="2454"/>
                <a:chExt cx="821" cy="812"/>
              </a:xfrm>
              <a:grpFill/>
            </p:grpSpPr>
            <p:sp>
              <p:nvSpPr>
                <p:cNvPr id="566" name="Freeform 186"/>
                <p:cNvSpPr>
                  <a:spLocks/>
                </p:cNvSpPr>
                <p:nvPr/>
              </p:nvSpPr>
              <p:spPr bwMode="auto">
                <a:xfrm>
                  <a:off x="1500" y="2454"/>
                  <a:ext cx="737" cy="738"/>
                </a:xfrm>
                <a:custGeom>
                  <a:avLst/>
                  <a:gdLst>
                    <a:gd name="T0" fmla="*/ 356 w 737"/>
                    <a:gd name="T1" fmla="*/ 15 h 738"/>
                    <a:gd name="T2" fmla="*/ 356 w 737"/>
                    <a:gd name="T3" fmla="*/ 87 h 738"/>
                    <a:gd name="T4" fmla="*/ 284 w 737"/>
                    <a:gd name="T5" fmla="*/ 119 h 738"/>
                    <a:gd name="T6" fmla="*/ 257 w 737"/>
                    <a:gd name="T7" fmla="*/ 146 h 738"/>
                    <a:gd name="T8" fmla="*/ 203 w 737"/>
                    <a:gd name="T9" fmla="*/ 113 h 738"/>
                    <a:gd name="T10" fmla="*/ 191 w 737"/>
                    <a:gd name="T11" fmla="*/ 167 h 738"/>
                    <a:gd name="T12" fmla="*/ 200 w 737"/>
                    <a:gd name="T13" fmla="*/ 209 h 738"/>
                    <a:gd name="T14" fmla="*/ 156 w 737"/>
                    <a:gd name="T15" fmla="*/ 204 h 738"/>
                    <a:gd name="T16" fmla="*/ 108 w 737"/>
                    <a:gd name="T17" fmla="*/ 239 h 738"/>
                    <a:gd name="T18" fmla="*/ 0 w 737"/>
                    <a:gd name="T19" fmla="*/ 227 h 738"/>
                    <a:gd name="T20" fmla="*/ 12 w 737"/>
                    <a:gd name="T21" fmla="*/ 258 h 738"/>
                    <a:gd name="T22" fmla="*/ 41 w 737"/>
                    <a:gd name="T23" fmla="*/ 279 h 738"/>
                    <a:gd name="T24" fmla="*/ 90 w 737"/>
                    <a:gd name="T25" fmla="*/ 329 h 738"/>
                    <a:gd name="T26" fmla="*/ 125 w 737"/>
                    <a:gd name="T27" fmla="*/ 300 h 738"/>
                    <a:gd name="T28" fmla="*/ 125 w 737"/>
                    <a:gd name="T29" fmla="*/ 329 h 738"/>
                    <a:gd name="T30" fmla="*/ 155 w 737"/>
                    <a:gd name="T31" fmla="*/ 351 h 738"/>
                    <a:gd name="T32" fmla="*/ 153 w 737"/>
                    <a:gd name="T33" fmla="*/ 374 h 738"/>
                    <a:gd name="T34" fmla="*/ 191 w 737"/>
                    <a:gd name="T35" fmla="*/ 428 h 738"/>
                    <a:gd name="T36" fmla="*/ 225 w 737"/>
                    <a:gd name="T37" fmla="*/ 518 h 738"/>
                    <a:gd name="T38" fmla="*/ 209 w 737"/>
                    <a:gd name="T39" fmla="*/ 635 h 738"/>
                    <a:gd name="T40" fmla="*/ 198 w 737"/>
                    <a:gd name="T41" fmla="*/ 692 h 738"/>
                    <a:gd name="T42" fmla="*/ 293 w 737"/>
                    <a:gd name="T43" fmla="*/ 719 h 738"/>
                    <a:gd name="T44" fmla="*/ 377 w 737"/>
                    <a:gd name="T45" fmla="*/ 738 h 738"/>
                    <a:gd name="T46" fmla="*/ 458 w 737"/>
                    <a:gd name="T47" fmla="*/ 719 h 738"/>
                    <a:gd name="T48" fmla="*/ 473 w 737"/>
                    <a:gd name="T49" fmla="*/ 672 h 738"/>
                    <a:gd name="T50" fmla="*/ 546 w 737"/>
                    <a:gd name="T51" fmla="*/ 644 h 738"/>
                    <a:gd name="T52" fmla="*/ 596 w 737"/>
                    <a:gd name="T53" fmla="*/ 665 h 738"/>
                    <a:gd name="T54" fmla="*/ 653 w 737"/>
                    <a:gd name="T55" fmla="*/ 665 h 738"/>
                    <a:gd name="T56" fmla="*/ 669 w 737"/>
                    <a:gd name="T57" fmla="*/ 621 h 738"/>
                    <a:gd name="T58" fmla="*/ 662 w 737"/>
                    <a:gd name="T59" fmla="*/ 590 h 738"/>
                    <a:gd name="T60" fmla="*/ 648 w 737"/>
                    <a:gd name="T61" fmla="*/ 530 h 738"/>
                    <a:gd name="T62" fmla="*/ 693 w 737"/>
                    <a:gd name="T63" fmla="*/ 474 h 738"/>
                    <a:gd name="T64" fmla="*/ 644 w 737"/>
                    <a:gd name="T65" fmla="*/ 441 h 738"/>
                    <a:gd name="T66" fmla="*/ 612 w 737"/>
                    <a:gd name="T67" fmla="*/ 449 h 738"/>
                    <a:gd name="T68" fmla="*/ 645 w 737"/>
                    <a:gd name="T69" fmla="*/ 380 h 738"/>
                    <a:gd name="T70" fmla="*/ 704 w 737"/>
                    <a:gd name="T71" fmla="*/ 333 h 738"/>
                    <a:gd name="T72" fmla="*/ 729 w 737"/>
                    <a:gd name="T73" fmla="*/ 311 h 738"/>
                    <a:gd name="T74" fmla="*/ 728 w 737"/>
                    <a:gd name="T75" fmla="*/ 252 h 738"/>
                    <a:gd name="T76" fmla="*/ 737 w 737"/>
                    <a:gd name="T77" fmla="*/ 194 h 738"/>
                    <a:gd name="T78" fmla="*/ 690 w 737"/>
                    <a:gd name="T79" fmla="*/ 180 h 738"/>
                    <a:gd name="T80" fmla="*/ 632 w 737"/>
                    <a:gd name="T81" fmla="*/ 164 h 738"/>
                    <a:gd name="T82" fmla="*/ 603 w 737"/>
                    <a:gd name="T83" fmla="*/ 150 h 738"/>
                    <a:gd name="T84" fmla="*/ 567 w 737"/>
                    <a:gd name="T85" fmla="*/ 138 h 738"/>
                    <a:gd name="T86" fmla="*/ 545 w 737"/>
                    <a:gd name="T87" fmla="*/ 108 h 738"/>
                    <a:gd name="T88" fmla="*/ 491 w 737"/>
                    <a:gd name="T89" fmla="*/ 101 h 738"/>
                    <a:gd name="T90" fmla="*/ 464 w 737"/>
                    <a:gd name="T91" fmla="*/ 80 h 738"/>
                    <a:gd name="T92" fmla="*/ 423 w 737"/>
                    <a:gd name="T93" fmla="*/ 26 h 7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37" h="738">
                      <a:moveTo>
                        <a:pt x="399" y="0"/>
                      </a:moveTo>
                      <a:lnTo>
                        <a:pt x="356" y="15"/>
                      </a:lnTo>
                      <a:lnTo>
                        <a:pt x="362" y="57"/>
                      </a:lnTo>
                      <a:lnTo>
                        <a:pt x="356" y="87"/>
                      </a:lnTo>
                      <a:lnTo>
                        <a:pt x="339" y="83"/>
                      </a:lnTo>
                      <a:lnTo>
                        <a:pt x="284" y="119"/>
                      </a:lnTo>
                      <a:lnTo>
                        <a:pt x="291" y="132"/>
                      </a:lnTo>
                      <a:lnTo>
                        <a:pt x="257" y="146"/>
                      </a:lnTo>
                      <a:lnTo>
                        <a:pt x="207" y="146"/>
                      </a:lnTo>
                      <a:lnTo>
                        <a:pt x="203" y="113"/>
                      </a:lnTo>
                      <a:lnTo>
                        <a:pt x="167" y="123"/>
                      </a:lnTo>
                      <a:lnTo>
                        <a:pt x="191" y="167"/>
                      </a:lnTo>
                      <a:lnTo>
                        <a:pt x="186" y="197"/>
                      </a:lnTo>
                      <a:lnTo>
                        <a:pt x="200" y="209"/>
                      </a:lnTo>
                      <a:lnTo>
                        <a:pt x="159" y="215"/>
                      </a:lnTo>
                      <a:lnTo>
                        <a:pt x="156" y="204"/>
                      </a:lnTo>
                      <a:lnTo>
                        <a:pt x="113" y="221"/>
                      </a:lnTo>
                      <a:lnTo>
                        <a:pt x="108" y="239"/>
                      </a:lnTo>
                      <a:lnTo>
                        <a:pt x="87" y="204"/>
                      </a:lnTo>
                      <a:lnTo>
                        <a:pt x="0" y="227"/>
                      </a:lnTo>
                      <a:lnTo>
                        <a:pt x="27" y="248"/>
                      </a:lnTo>
                      <a:lnTo>
                        <a:pt x="12" y="258"/>
                      </a:lnTo>
                      <a:lnTo>
                        <a:pt x="3" y="281"/>
                      </a:lnTo>
                      <a:lnTo>
                        <a:pt x="41" y="279"/>
                      </a:lnTo>
                      <a:lnTo>
                        <a:pt x="75" y="302"/>
                      </a:lnTo>
                      <a:lnTo>
                        <a:pt x="90" y="329"/>
                      </a:lnTo>
                      <a:lnTo>
                        <a:pt x="98" y="306"/>
                      </a:lnTo>
                      <a:lnTo>
                        <a:pt x="125" y="300"/>
                      </a:lnTo>
                      <a:lnTo>
                        <a:pt x="101" y="327"/>
                      </a:lnTo>
                      <a:lnTo>
                        <a:pt x="125" y="329"/>
                      </a:lnTo>
                      <a:lnTo>
                        <a:pt x="119" y="347"/>
                      </a:lnTo>
                      <a:lnTo>
                        <a:pt x="155" y="351"/>
                      </a:lnTo>
                      <a:lnTo>
                        <a:pt x="138" y="369"/>
                      </a:lnTo>
                      <a:lnTo>
                        <a:pt x="153" y="374"/>
                      </a:lnTo>
                      <a:lnTo>
                        <a:pt x="153" y="395"/>
                      </a:lnTo>
                      <a:lnTo>
                        <a:pt x="191" y="428"/>
                      </a:lnTo>
                      <a:lnTo>
                        <a:pt x="221" y="446"/>
                      </a:lnTo>
                      <a:lnTo>
                        <a:pt x="225" y="518"/>
                      </a:lnTo>
                      <a:lnTo>
                        <a:pt x="225" y="585"/>
                      </a:lnTo>
                      <a:lnTo>
                        <a:pt x="209" y="635"/>
                      </a:lnTo>
                      <a:lnTo>
                        <a:pt x="185" y="662"/>
                      </a:lnTo>
                      <a:lnTo>
                        <a:pt x="198" y="692"/>
                      </a:lnTo>
                      <a:lnTo>
                        <a:pt x="231" y="696"/>
                      </a:lnTo>
                      <a:lnTo>
                        <a:pt x="293" y="719"/>
                      </a:lnTo>
                      <a:lnTo>
                        <a:pt x="308" y="711"/>
                      </a:lnTo>
                      <a:lnTo>
                        <a:pt x="377" y="738"/>
                      </a:lnTo>
                      <a:lnTo>
                        <a:pt x="425" y="732"/>
                      </a:lnTo>
                      <a:lnTo>
                        <a:pt x="458" y="719"/>
                      </a:lnTo>
                      <a:lnTo>
                        <a:pt x="459" y="675"/>
                      </a:lnTo>
                      <a:lnTo>
                        <a:pt x="473" y="672"/>
                      </a:lnTo>
                      <a:lnTo>
                        <a:pt x="503" y="644"/>
                      </a:lnTo>
                      <a:lnTo>
                        <a:pt x="546" y="644"/>
                      </a:lnTo>
                      <a:lnTo>
                        <a:pt x="570" y="647"/>
                      </a:lnTo>
                      <a:lnTo>
                        <a:pt x="596" y="665"/>
                      </a:lnTo>
                      <a:lnTo>
                        <a:pt x="606" y="680"/>
                      </a:lnTo>
                      <a:lnTo>
                        <a:pt x="653" y="665"/>
                      </a:lnTo>
                      <a:lnTo>
                        <a:pt x="668" y="639"/>
                      </a:lnTo>
                      <a:lnTo>
                        <a:pt x="669" y="621"/>
                      </a:lnTo>
                      <a:lnTo>
                        <a:pt x="693" y="597"/>
                      </a:lnTo>
                      <a:lnTo>
                        <a:pt x="662" y="590"/>
                      </a:lnTo>
                      <a:lnTo>
                        <a:pt x="662" y="549"/>
                      </a:lnTo>
                      <a:lnTo>
                        <a:pt x="648" y="530"/>
                      </a:lnTo>
                      <a:lnTo>
                        <a:pt x="671" y="506"/>
                      </a:lnTo>
                      <a:lnTo>
                        <a:pt x="693" y="474"/>
                      </a:lnTo>
                      <a:lnTo>
                        <a:pt x="645" y="455"/>
                      </a:lnTo>
                      <a:lnTo>
                        <a:pt x="644" y="441"/>
                      </a:lnTo>
                      <a:lnTo>
                        <a:pt x="630" y="438"/>
                      </a:lnTo>
                      <a:lnTo>
                        <a:pt x="612" y="449"/>
                      </a:lnTo>
                      <a:lnTo>
                        <a:pt x="615" y="428"/>
                      </a:lnTo>
                      <a:lnTo>
                        <a:pt x="645" y="380"/>
                      </a:lnTo>
                      <a:lnTo>
                        <a:pt x="669" y="351"/>
                      </a:lnTo>
                      <a:lnTo>
                        <a:pt x="704" y="333"/>
                      </a:lnTo>
                      <a:lnTo>
                        <a:pt x="704" y="317"/>
                      </a:lnTo>
                      <a:lnTo>
                        <a:pt x="729" y="311"/>
                      </a:lnTo>
                      <a:lnTo>
                        <a:pt x="725" y="279"/>
                      </a:lnTo>
                      <a:lnTo>
                        <a:pt x="728" y="252"/>
                      </a:lnTo>
                      <a:lnTo>
                        <a:pt x="725" y="231"/>
                      </a:lnTo>
                      <a:lnTo>
                        <a:pt x="737" y="194"/>
                      </a:lnTo>
                      <a:lnTo>
                        <a:pt x="716" y="180"/>
                      </a:lnTo>
                      <a:lnTo>
                        <a:pt x="690" y="180"/>
                      </a:lnTo>
                      <a:lnTo>
                        <a:pt x="671" y="167"/>
                      </a:lnTo>
                      <a:lnTo>
                        <a:pt x="632" y="164"/>
                      </a:lnTo>
                      <a:lnTo>
                        <a:pt x="611" y="162"/>
                      </a:lnTo>
                      <a:lnTo>
                        <a:pt x="603" y="150"/>
                      </a:lnTo>
                      <a:lnTo>
                        <a:pt x="599" y="138"/>
                      </a:lnTo>
                      <a:lnTo>
                        <a:pt x="567" y="138"/>
                      </a:lnTo>
                      <a:lnTo>
                        <a:pt x="549" y="129"/>
                      </a:lnTo>
                      <a:lnTo>
                        <a:pt x="545" y="108"/>
                      </a:lnTo>
                      <a:lnTo>
                        <a:pt x="516" y="113"/>
                      </a:lnTo>
                      <a:lnTo>
                        <a:pt x="491" y="101"/>
                      </a:lnTo>
                      <a:lnTo>
                        <a:pt x="482" y="75"/>
                      </a:lnTo>
                      <a:lnTo>
                        <a:pt x="464" y="80"/>
                      </a:lnTo>
                      <a:lnTo>
                        <a:pt x="426" y="54"/>
                      </a:lnTo>
                      <a:lnTo>
                        <a:pt x="423" y="26"/>
                      </a:lnTo>
                      <a:lnTo>
                        <a:pt x="399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7" name="Freeform 187"/>
                <p:cNvSpPr>
                  <a:spLocks/>
                </p:cNvSpPr>
                <p:nvPr/>
              </p:nvSpPr>
              <p:spPr bwMode="auto">
                <a:xfrm>
                  <a:off x="2255" y="3129"/>
                  <a:ext cx="66" cy="137"/>
                </a:xfrm>
                <a:custGeom>
                  <a:avLst/>
                  <a:gdLst>
                    <a:gd name="T0" fmla="*/ 42 w 66"/>
                    <a:gd name="T1" fmla="*/ 137 h 137"/>
                    <a:gd name="T2" fmla="*/ 3 w 66"/>
                    <a:gd name="T3" fmla="*/ 105 h 137"/>
                    <a:gd name="T4" fmla="*/ 6 w 66"/>
                    <a:gd name="T5" fmla="*/ 90 h 137"/>
                    <a:gd name="T6" fmla="*/ 0 w 66"/>
                    <a:gd name="T7" fmla="*/ 68 h 137"/>
                    <a:gd name="T8" fmla="*/ 3 w 66"/>
                    <a:gd name="T9" fmla="*/ 36 h 137"/>
                    <a:gd name="T10" fmla="*/ 24 w 66"/>
                    <a:gd name="T11" fmla="*/ 33 h 137"/>
                    <a:gd name="T12" fmla="*/ 43 w 66"/>
                    <a:gd name="T13" fmla="*/ 12 h 137"/>
                    <a:gd name="T14" fmla="*/ 54 w 66"/>
                    <a:gd name="T15" fmla="*/ 0 h 137"/>
                    <a:gd name="T16" fmla="*/ 60 w 66"/>
                    <a:gd name="T17" fmla="*/ 33 h 137"/>
                    <a:gd name="T18" fmla="*/ 66 w 66"/>
                    <a:gd name="T19" fmla="*/ 68 h 137"/>
                    <a:gd name="T20" fmla="*/ 57 w 66"/>
                    <a:gd name="T21" fmla="*/ 77 h 137"/>
                    <a:gd name="T22" fmla="*/ 58 w 66"/>
                    <a:gd name="T23" fmla="*/ 101 h 137"/>
                    <a:gd name="T24" fmla="*/ 42 w 66"/>
                    <a:gd name="T25" fmla="*/ 137 h 1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66" h="137">
                      <a:moveTo>
                        <a:pt x="42" y="137"/>
                      </a:moveTo>
                      <a:lnTo>
                        <a:pt x="3" y="105"/>
                      </a:lnTo>
                      <a:lnTo>
                        <a:pt x="6" y="90"/>
                      </a:lnTo>
                      <a:lnTo>
                        <a:pt x="0" y="68"/>
                      </a:lnTo>
                      <a:lnTo>
                        <a:pt x="3" y="36"/>
                      </a:lnTo>
                      <a:lnTo>
                        <a:pt x="24" y="33"/>
                      </a:lnTo>
                      <a:lnTo>
                        <a:pt x="43" y="12"/>
                      </a:lnTo>
                      <a:lnTo>
                        <a:pt x="54" y="0"/>
                      </a:lnTo>
                      <a:lnTo>
                        <a:pt x="60" y="33"/>
                      </a:lnTo>
                      <a:lnTo>
                        <a:pt x="66" y="68"/>
                      </a:lnTo>
                      <a:lnTo>
                        <a:pt x="57" y="77"/>
                      </a:lnTo>
                      <a:lnTo>
                        <a:pt x="58" y="101"/>
                      </a:lnTo>
                      <a:lnTo>
                        <a:pt x="42" y="137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grpSp>
            <p:nvGrpSpPr>
              <p:cNvPr id="519" name="Group 188"/>
              <p:cNvGrpSpPr>
                <a:grpSpLocks/>
              </p:cNvGrpSpPr>
              <p:nvPr/>
            </p:nvGrpSpPr>
            <p:grpSpPr bwMode="auto">
              <a:xfrm>
                <a:off x="2150" y="2814"/>
                <a:ext cx="651" cy="818"/>
                <a:chOff x="2150" y="2814"/>
                <a:chExt cx="651" cy="818"/>
              </a:xfrm>
              <a:grpFill/>
            </p:grpSpPr>
            <p:sp>
              <p:nvSpPr>
                <p:cNvPr id="563" name="Freeform 189"/>
                <p:cNvSpPr>
                  <a:spLocks/>
                </p:cNvSpPr>
                <p:nvPr/>
              </p:nvSpPr>
              <p:spPr bwMode="auto">
                <a:xfrm>
                  <a:off x="2237" y="3281"/>
                  <a:ext cx="100" cy="175"/>
                </a:xfrm>
                <a:custGeom>
                  <a:avLst/>
                  <a:gdLst>
                    <a:gd name="T0" fmla="*/ 61 w 100"/>
                    <a:gd name="T1" fmla="*/ 0 h 175"/>
                    <a:gd name="T2" fmla="*/ 13 w 100"/>
                    <a:gd name="T3" fmla="*/ 37 h 175"/>
                    <a:gd name="T4" fmla="*/ 0 w 100"/>
                    <a:gd name="T5" fmla="*/ 34 h 175"/>
                    <a:gd name="T6" fmla="*/ 9 w 100"/>
                    <a:gd name="T7" fmla="*/ 49 h 175"/>
                    <a:gd name="T8" fmla="*/ 0 w 100"/>
                    <a:gd name="T9" fmla="*/ 60 h 175"/>
                    <a:gd name="T10" fmla="*/ 13 w 100"/>
                    <a:gd name="T11" fmla="*/ 69 h 175"/>
                    <a:gd name="T12" fmla="*/ 19 w 100"/>
                    <a:gd name="T13" fmla="*/ 127 h 175"/>
                    <a:gd name="T14" fmla="*/ 33 w 100"/>
                    <a:gd name="T15" fmla="*/ 172 h 175"/>
                    <a:gd name="T16" fmla="*/ 57 w 100"/>
                    <a:gd name="T17" fmla="*/ 175 h 175"/>
                    <a:gd name="T18" fmla="*/ 82 w 100"/>
                    <a:gd name="T19" fmla="*/ 154 h 175"/>
                    <a:gd name="T20" fmla="*/ 90 w 100"/>
                    <a:gd name="T21" fmla="*/ 120 h 175"/>
                    <a:gd name="T22" fmla="*/ 90 w 100"/>
                    <a:gd name="T23" fmla="*/ 73 h 175"/>
                    <a:gd name="T24" fmla="*/ 100 w 100"/>
                    <a:gd name="T25" fmla="*/ 60 h 175"/>
                    <a:gd name="T26" fmla="*/ 91 w 100"/>
                    <a:gd name="T27" fmla="*/ 37 h 175"/>
                    <a:gd name="T28" fmla="*/ 81 w 100"/>
                    <a:gd name="T29" fmla="*/ 13 h 175"/>
                    <a:gd name="T30" fmla="*/ 61 w 100"/>
                    <a:gd name="T31" fmla="*/ 0 h 1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00" h="175">
                      <a:moveTo>
                        <a:pt x="61" y="0"/>
                      </a:moveTo>
                      <a:lnTo>
                        <a:pt x="13" y="37"/>
                      </a:lnTo>
                      <a:lnTo>
                        <a:pt x="0" y="34"/>
                      </a:lnTo>
                      <a:lnTo>
                        <a:pt x="9" y="49"/>
                      </a:lnTo>
                      <a:lnTo>
                        <a:pt x="0" y="60"/>
                      </a:lnTo>
                      <a:lnTo>
                        <a:pt x="13" y="69"/>
                      </a:lnTo>
                      <a:lnTo>
                        <a:pt x="19" y="127"/>
                      </a:lnTo>
                      <a:lnTo>
                        <a:pt x="33" y="172"/>
                      </a:lnTo>
                      <a:lnTo>
                        <a:pt x="57" y="175"/>
                      </a:lnTo>
                      <a:lnTo>
                        <a:pt x="82" y="154"/>
                      </a:lnTo>
                      <a:lnTo>
                        <a:pt x="90" y="120"/>
                      </a:lnTo>
                      <a:lnTo>
                        <a:pt x="90" y="73"/>
                      </a:lnTo>
                      <a:lnTo>
                        <a:pt x="100" y="60"/>
                      </a:lnTo>
                      <a:lnTo>
                        <a:pt x="91" y="37"/>
                      </a:lnTo>
                      <a:lnTo>
                        <a:pt x="81" y="13"/>
                      </a:lnTo>
                      <a:lnTo>
                        <a:pt x="61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4" name="Freeform 190"/>
                <p:cNvSpPr>
                  <a:spLocks/>
                </p:cNvSpPr>
                <p:nvPr/>
              </p:nvSpPr>
              <p:spPr bwMode="auto">
                <a:xfrm>
                  <a:off x="2483" y="3528"/>
                  <a:ext cx="154" cy="104"/>
                </a:xfrm>
                <a:custGeom>
                  <a:avLst/>
                  <a:gdLst>
                    <a:gd name="T0" fmla="*/ 154 w 154"/>
                    <a:gd name="T1" fmla="*/ 5 h 104"/>
                    <a:gd name="T2" fmla="*/ 142 w 154"/>
                    <a:gd name="T3" fmla="*/ 27 h 104"/>
                    <a:gd name="T4" fmla="*/ 150 w 154"/>
                    <a:gd name="T5" fmla="*/ 42 h 104"/>
                    <a:gd name="T6" fmla="*/ 144 w 154"/>
                    <a:gd name="T7" fmla="*/ 74 h 104"/>
                    <a:gd name="T8" fmla="*/ 133 w 154"/>
                    <a:gd name="T9" fmla="*/ 87 h 104"/>
                    <a:gd name="T10" fmla="*/ 138 w 154"/>
                    <a:gd name="T11" fmla="*/ 98 h 104"/>
                    <a:gd name="T12" fmla="*/ 115 w 154"/>
                    <a:gd name="T13" fmla="*/ 104 h 104"/>
                    <a:gd name="T14" fmla="*/ 81 w 154"/>
                    <a:gd name="T15" fmla="*/ 77 h 104"/>
                    <a:gd name="T16" fmla="*/ 57 w 154"/>
                    <a:gd name="T17" fmla="*/ 72 h 104"/>
                    <a:gd name="T18" fmla="*/ 36 w 154"/>
                    <a:gd name="T19" fmla="*/ 54 h 104"/>
                    <a:gd name="T20" fmla="*/ 0 w 154"/>
                    <a:gd name="T21" fmla="*/ 36 h 104"/>
                    <a:gd name="T22" fmla="*/ 0 w 154"/>
                    <a:gd name="T23" fmla="*/ 0 h 104"/>
                    <a:gd name="T24" fmla="*/ 16 w 154"/>
                    <a:gd name="T25" fmla="*/ 6 h 104"/>
                    <a:gd name="T26" fmla="*/ 45 w 154"/>
                    <a:gd name="T27" fmla="*/ 6 h 104"/>
                    <a:gd name="T28" fmla="*/ 58 w 154"/>
                    <a:gd name="T29" fmla="*/ 21 h 104"/>
                    <a:gd name="T30" fmla="*/ 118 w 154"/>
                    <a:gd name="T31" fmla="*/ 15 h 104"/>
                    <a:gd name="T32" fmla="*/ 154 w 154"/>
                    <a:gd name="T33" fmla="*/ 5 h 1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54" h="104">
                      <a:moveTo>
                        <a:pt x="154" y="5"/>
                      </a:moveTo>
                      <a:lnTo>
                        <a:pt x="142" y="27"/>
                      </a:lnTo>
                      <a:lnTo>
                        <a:pt x="150" y="42"/>
                      </a:lnTo>
                      <a:lnTo>
                        <a:pt x="144" y="74"/>
                      </a:lnTo>
                      <a:lnTo>
                        <a:pt x="133" y="87"/>
                      </a:lnTo>
                      <a:lnTo>
                        <a:pt x="138" y="98"/>
                      </a:lnTo>
                      <a:lnTo>
                        <a:pt x="115" y="104"/>
                      </a:lnTo>
                      <a:lnTo>
                        <a:pt x="81" y="77"/>
                      </a:lnTo>
                      <a:lnTo>
                        <a:pt x="57" y="72"/>
                      </a:lnTo>
                      <a:lnTo>
                        <a:pt x="36" y="54"/>
                      </a:lnTo>
                      <a:lnTo>
                        <a:pt x="0" y="36"/>
                      </a:lnTo>
                      <a:lnTo>
                        <a:pt x="0" y="0"/>
                      </a:lnTo>
                      <a:lnTo>
                        <a:pt x="16" y="6"/>
                      </a:lnTo>
                      <a:lnTo>
                        <a:pt x="45" y="6"/>
                      </a:lnTo>
                      <a:lnTo>
                        <a:pt x="58" y="21"/>
                      </a:lnTo>
                      <a:lnTo>
                        <a:pt x="118" y="15"/>
                      </a:lnTo>
                      <a:lnTo>
                        <a:pt x="154" y="5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5" name="Freeform 191"/>
                <p:cNvSpPr>
                  <a:spLocks/>
                </p:cNvSpPr>
                <p:nvPr/>
              </p:nvSpPr>
              <p:spPr bwMode="auto">
                <a:xfrm>
                  <a:off x="2150" y="2814"/>
                  <a:ext cx="651" cy="747"/>
                </a:xfrm>
                <a:custGeom>
                  <a:avLst/>
                  <a:gdLst>
                    <a:gd name="T0" fmla="*/ 519 w 651"/>
                    <a:gd name="T1" fmla="*/ 747 h 747"/>
                    <a:gd name="T2" fmla="*/ 553 w 651"/>
                    <a:gd name="T3" fmla="*/ 705 h 747"/>
                    <a:gd name="T4" fmla="*/ 577 w 651"/>
                    <a:gd name="T5" fmla="*/ 653 h 747"/>
                    <a:gd name="T6" fmla="*/ 553 w 651"/>
                    <a:gd name="T7" fmla="*/ 588 h 747"/>
                    <a:gd name="T8" fmla="*/ 553 w 651"/>
                    <a:gd name="T9" fmla="*/ 549 h 747"/>
                    <a:gd name="T10" fmla="*/ 589 w 651"/>
                    <a:gd name="T11" fmla="*/ 537 h 747"/>
                    <a:gd name="T12" fmla="*/ 627 w 651"/>
                    <a:gd name="T13" fmla="*/ 548 h 747"/>
                    <a:gd name="T14" fmla="*/ 643 w 651"/>
                    <a:gd name="T15" fmla="*/ 572 h 747"/>
                    <a:gd name="T16" fmla="*/ 634 w 651"/>
                    <a:gd name="T17" fmla="*/ 527 h 747"/>
                    <a:gd name="T18" fmla="*/ 541 w 651"/>
                    <a:gd name="T19" fmla="*/ 471 h 747"/>
                    <a:gd name="T20" fmla="*/ 528 w 651"/>
                    <a:gd name="T21" fmla="*/ 428 h 747"/>
                    <a:gd name="T22" fmla="*/ 436 w 651"/>
                    <a:gd name="T23" fmla="*/ 404 h 747"/>
                    <a:gd name="T24" fmla="*/ 385 w 651"/>
                    <a:gd name="T25" fmla="*/ 296 h 747"/>
                    <a:gd name="T26" fmla="*/ 315 w 651"/>
                    <a:gd name="T27" fmla="*/ 248 h 747"/>
                    <a:gd name="T28" fmla="*/ 316 w 651"/>
                    <a:gd name="T29" fmla="*/ 183 h 747"/>
                    <a:gd name="T30" fmla="*/ 309 w 651"/>
                    <a:gd name="T31" fmla="*/ 144 h 747"/>
                    <a:gd name="T32" fmla="*/ 328 w 651"/>
                    <a:gd name="T33" fmla="*/ 138 h 747"/>
                    <a:gd name="T34" fmla="*/ 366 w 651"/>
                    <a:gd name="T35" fmla="*/ 113 h 747"/>
                    <a:gd name="T36" fmla="*/ 384 w 651"/>
                    <a:gd name="T37" fmla="*/ 92 h 747"/>
                    <a:gd name="T38" fmla="*/ 364 w 651"/>
                    <a:gd name="T39" fmla="*/ 53 h 747"/>
                    <a:gd name="T40" fmla="*/ 378 w 651"/>
                    <a:gd name="T41" fmla="*/ 21 h 747"/>
                    <a:gd name="T42" fmla="*/ 313 w 651"/>
                    <a:gd name="T43" fmla="*/ 32 h 747"/>
                    <a:gd name="T44" fmla="*/ 265 w 651"/>
                    <a:gd name="T45" fmla="*/ 14 h 747"/>
                    <a:gd name="T46" fmla="*/ 243 w 651"/>
                    <a:gd name="T47" fmla="*/ 14 h 747"/>
                    <a:gd name="T48" fmla="*/ 201 w 651"/>
                    <a:gd name="T49" fmla="*/ 26 h 747"/>
                    <a:gd name="T50" fmla="*/ 205 w 651"/>
                    <a:gd name="T51" fmla="*/ 48 h 747"/>
                    <a:gd name="T52" fmla="*/ 165 w 651"/>
                    <a:gd name="T53" fmla="*/ 66 h 747"/>
                    <a:gd name="T54" fmla="*/ 147 w 651"/>
                    <a:gd name="T55" fmla="*/ 93 h 747"/>
                    <a:gd name="T56" fmla="*/ 103 w 651"/>
                    <a:gd name="T57" fmla="*/ 83 h 747"/>
                    <a:gd name="T58" fmla="*/ 85 w 651"/>
                    <a:gd name="T59" fmla="*/ 102 h 747"/>
                    <a:gd name="T60" fmla="*/ 18 w 651"/>
                    <a:gd name="T61" fmla="*/ 152 h 747"/>
                    <a:gd name="T62" fmla="*/ 13 w 651"/>
                    <a:gd name="T63" fmla="*/ 192 h 747"/>
                    <a:gd name="T64" fmla="*/ 40 w 651"/>
                    <a:gd name="T65" fmla="*/ 237 h 747"/>
                    <a:gd name="T66" fmla="*/ 18 w 651"/>
                    <a:gd name="T67" fmla="*/ 287 h 747"/>
                    <a:gd name="T68" fmla="*/ 75 w 651"/>
                    <a:gd name="T69" fmla="*/ 260 h 747"/>
                    <a:gd name="T70" fmla="*/ 99 w 651"/>
                    <a:gd name="T71" fmla="*/ 213 h 747"/>
                    <a:gd name="T72" fmla="*/ 159 w 651"/>
                    <a:gd name="T73" fmla="*/ 224 h 747"/>
                    <a:gd name="T74" fmla="*/ 213 w 651"/>
                    <a:gd name="T75" fmla="*/ 285 h 747"/>
                    <a:gd name="T76" fmla="*/ 231 w 651"/>
                    <a:gd name="T77" fmla="*/ 332 h 747"/>
                    <a:gd name="T78" fmla="*/ 270 w 651"/>
                    <a:gd name="T79" fmla="*/ 401 h 747"/>
                    <a:gd name="T80" fmla="*/ 304 w 651"/>
                    <a:gd name="T81" fmla="*/ 440 h 747"/>
                    <a:gd name="T82" fmla="*/ 373 w 651"/>
                    <a:gd name="T83" fmla="*/ 480 h 747"/>
                    <a:gd name="T84" fmla="*/ 421 w 651"/>
                    <a:gd name="T85" fmla="*/ 506 h 747"/>
                    <a:gd name="T86" fmla="*/ 450 w 651"/>
                    <a:gd name="T87" fmla="*/ 525 h 747"/>
                    <a:gd name="T88" fmla="*/ 499 w 651"/>
                    <a:gd name="T89" fmla="*/ 573 h 747"/>
                    <a:gd name="T90" fmla="*/ 520 w 651"/>
                    <a:gd name="T91" fmla="*/ 654 h 747"/>
                    <a:gd name="T92" fmla="*/ 513 w 651"/>
                    <a:gd name="T93" fmla="*/ 696 h 747"/>
                    <a:gd name="T94" fmla="*/ 502 w 651"/>
                    <a:gd name="T95" fmla="*/ 740 h 7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651" h="747">
                      <a:moveTo>
                        <a:pt x="502" y="740"/>
                      </a:moveTo>
                      <a:lnTo>
                        <a:pt x="519" y="747"/>
                      </a:lnTo>
                      <a:lnTo>
                        <a:pt x="540" y="711"/>
                      </a:lnTo>
                      <a:lnTo>
                        <a:pt x="553" y="705"/>
                      </a:lnTo>
                      <a:lnTo>
                        <a:pt x="555" y="683"/>
                      </a:lnTo>
                      <a:lnTo>
                        <a:pt x="577" y="653"/>
                      </a:lnTo>
                      <a:lnTo>
                        <a:pt x="576" y="629"/>
                      </a:lnTo>
                      <a:lnTo>
                        <a:pt x="553" y="588"/>
                      </a:lnTo>
                      <a:lnTo>
                        <a:pt x="540" y="578"/>
                      </a:lnTo>
                      <a:lnTo>
                        <a:pt x="553" y="549"/>
                      </a:lnTo>
                      <a:lnTo>
                        <a:pt x="573" y="525"/>
                      </a:lnTo>
                      <a:lnTo>
                        <a:pt x="589" y="537"/>
                      </a:lnTo>
                      <a:lnTo>
                        <a:pt x="613" y="552"/>
                      </a:lnTo>
                      <a:lnTo>
                        <a:pt x="627" y="548"/>
                      </a:lnTo>
                      <a:lnTo>
                        <a:pt x="622" y="576"/>
                      </a:lnTo>
                      <a:lnTo>
                        <a:pt x="643" y="572"/>
                      </a:lnTo>
                      <a:lnTo>
                        <a:pt x="651" y="548"/>
                      </a:lnTo>
                      <a:lnTo>
                        <a:pt x="634" y="527"/>
                      </a:lnTo>
                      <a:lnTo>
                        <a:pt x="580" y="485"/>
                      </a:lnTo>
                      <a:lnTo>
                        <a:pt x="541" y="471"/>
                      </a:lnTo>
                      <a:lnTo>
                        <a:pt x="523" y="453"/>
                      </a:lnTo>
                      <a:lnTo>
                        <a:pt x="528" y="428"/>
                      </a:lnTo>
                      <a:lnTo>
                        <a:pt x="480" y="422"/>
                      </a:lnTo>
                      <a:lnTo>
                        <a:pt x="436" y="404"/>
                      </a:lnTo>
                      <a:lnTo>
                        <a:pt x="411" y="369"/>
                      </a:lnTo>
                      <a:lnTo>
                        <a:pt x="385" y="296"/>
                      </a:lnTo>
                      <a:lnTo>
                        <a:pt x="355" y="269"/>
                      </a:lnTo>
                      <a:lnTo>
                        <a:pt x="315" y="248"/>
                      </a:lnTo>
                      <a:lnTo>
                        <a:pt x="301" y="225"/>
                      </a:lnTo>
                      <a:lnTo>
                        <a:pt x="316" y="183"/>
                      </a:lnTo>
                      <a:lnTo>
                        <a:pt x="324" y="165"/>
                      </a:lnTo>
                      <a:lnTo>
                        <a:pt x="309" y="144"/>
                      </a:lnTo>
                      <a:lnTo>
                        <a:pt x="315" y="126"/>
                      </a:lnTo>
                      <a:lnTo>
                        <a:pt x="328" y="138"/>
                      </a:lnTo>
                      <a:lnTo>
                        <a:pt x="342" y="126"/>
                      </a:lnTo>
                      <a:lnTo>
                        <a:pt x="366" y="113"/>
                      </a:lnTo>
                      <a:lnTo>
                        <a:pt x="382" y="113"/>
                      </a:lnTo>
                      <a:lnTo>
                        <a:pt x="384" y="92"/>
                      </a:lnTo>
                      <a:lnTo>
                        <a:pt x="382" y="68"/>
                      </a:lnTo>
                      <a:lnTo>
                        <a:pt x="364" y="53"/>
                      </a:lnTo>
                      <a:lnTo>
                        <a:pt x="364" y="38"/>
                      </a:lnTo>
                      <a:lnTo>
                        <a:pt x="378" y="21"/>
                      </a:lnTo>
                      <a:lnTo>
                        <a:pt x="324" y="24"/>
                      </a:lnTo>
                      <a:lnTo>
                        <a:pt x="313" y="32"/>
                      </a:lnTo>
                      <a:lnTo>
                        <a:pt x="283" y="12"/>
                      </a:lnTo>
                      <a:lnTo>
                        <a:pt x="265" y="14"/>
                      </a:lnTo>
                      <a:lnTo>
                        <a:pt x="247" y="0"/>
                      </a:lnTo>
                      <a:lnTo>
                        <a:pt x="243" y="14"/>
                      </a:lnTo>
                      <a:lnTo>
                        <a:pt x="220" y="8"/>
                      </a:lnTo>
                      <a:lnTo>
                        <a:pt x="201" y="26"/>
                      </a:lnTo>
                      <a:lnTo>
                        <a:pt x="214" y="39"/>
                      </a:lnTo>
                      <a:lnTo>
                        <a:pt x="205" y="48"/>
                      </a:lnTo>
                      <a:lnTo>
                        <a:pt x="175" y="44"/>
                      </a:lnTo>
                      <a:lnTo>
                        <a:pt x="165" y="66"/>
                      </a:lnTo>
                      <a:lnTo>
                        <a:pt x="150" y="66"/>
                      </a:lnTo>
                      <a:lnTo>
                        <a:pt x="147" y="93"/>
                      </a:lnTo>
                      <a:lnTo>
                        <a:pt x="129" y="93"/>
                      </a:lnTo>
                      <a:lnTo>
                        <a:pt x="103" y="83"/>
                      </a:lnTo>
                      <a:lnTo>
                        <a:pt x="87" y="71"/>
                      </a:lnTo>
                      <a:lnTo>
                        <a:pt x="85" y="102"/>
                      </a:lnTo>
                      <a:lnTo>
                        <a:pt x="40" y="116"/>
                      </a:lnTo>
                      <a:lnTo>
                        <a:pt x="18" y="152"/>
                      </a:lnTo>
                      <a:lnTo>
                        <a:pt x="0" y="170"/>
                      </a:lnTo>
                      <a:lnTo>
                        <a:pt x="13" y="192"/>
                      </a:lnTo>
                      <a:lnTo>
                        <a:pt x="12" y="231"/>
                      </a:lnTo>
                      <a:lnTo>
                        <a:pt x="40" y="237"/>
                      </a:lnTo>
                      <a:lnTo>
                        <a:pt x="18" y="263"/>
                      </a:lnTo>
                      <a:lnTo>
                        <a:pt x="18" y="287"/>
                      </a:lnTo>
                      <a:lnTo>
                        <a:pt x="51" y="261"/>
                      </a:lnTo>
                      <a:lnTo>
                        <a:pt x="75" y="260"/>
                      </a:lnTo>
                      <a:lnTo>
                        <a:pt x="97" y="233"/>
                      </a:lnTo>
                      <a:lnTo>
                        <a:pt x="99" y="213"/>
                      </a:lnTo>
                      <a:lnTo>
                        <a:pt x="121" y="209"/>
                      </a:lnTo>
                      <a:lnTo>
                        <a:pt x="159" y="224"/>
                      </a:lnTo>
                      <a:lnTo>
                        <a:pt x="196" y="251"/>
                      </a:lnTo>
                      <a:lnTo>
                        <a:pt x="213" y="285"/>
                      </a:lnTo>
                      <a:lnTo>
                        <a:pt x="234" y="318"/>
                      </a:lnTo>
                      <a:lnTo>
                        <a:pt x="231" y="332"/>
                      </a:lnTo>
                      <a:lnTo>
                        <a:pt x="243" y="356"/>
                      </a:lnTo>
                      <a:lnTo>
                        <a:pt x="270" y="401"/>
                      </a:lnTo>
                      <a:lnTo>
                        <a:pt x="301" y="419"/>
                      </a:lnTo>
                      <a:lnTo>
                        <a:pt x="304" y="440"/>
                      </a:lnTo>
                      <a:lnTo>
                        <a:pt x="342" y="464"/>
                      </a:lnTo>
                      <a:lnTo>
                        <a:pt x="373" y="480"/>
                      </a:lnTo>
                      <a:lnTo>
                        <a:pt x="391" y="477"/>
                      </a:lnTo>
                      <a:lnTo>
                        <a:pt x="421" y="506"/>
                      </a:lnTo>
                      <a:lnTo>
                        <a:pt x="427" y="522"/>
                      </a:lnTo>
                      <a:lnTo>
                        <a:pt x="450" y="525"/>
                      </a:lnTo>
                      <a:lnTo>
                        <a:pt x="459" y="552"/>
                      </a:lnTo>
                      <a:lnTo>
                        <a:pt x="499" y="573"/>
                      </a:lnTo>
                      <a:lnTo>
                        <a:pt x="514" y="621"/>
                      </a:lnTo>
                      <a:lnTo>
                        <a:pt x="520" y="654"/>
                      </a:lnTo>
                      <a:lnTo>
                        <a:pt x="513" y="678"/>
                      </a:lnTo>
                      <a:lnTo>
                        <a:pt x="513" y="696"/>
                      </a:lnTo>
                      <a:lnTo>
                        <a:pt x="498" y="722"/>
                      </a:lnTo>
                      <a:lnTo>
                        <a:pt x="502" y="74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520" name="Freeform 192"/>
              <p:cNvSpPr>
                <a:spLocks/>
              </p:cNvSpPr>
              <p:nvPr/>
            </p:nvSpPr>
            <p:spPr bwMode="auto">
              <a:xfrm>
                <a:off x="2112" y="2745"/>
                <a:ext cx="260" cy="185"/>
              </a:xfrm>
              <a:custGeom>
                <a:avLst/>
                <a:gdLst>
                  <a:gd name="T0" fmla="*/ 260 w 260"/>
                  <a:gd name="T1" fmla="*/ 77 h 185"/>
                  <a:gd name="T2" fmla="*/ 242 w 260"/>
                  <a:gd name="T3" fmla="*/ 63 h 185"/>
                  <a:gd name="T4" fmla="*/ 236 w 260"/>
                  <a:gd name="T5" fmla="*/ 42 h 185"/>
                  <a:gd name="T6" fmla="*/ 173 w 260"/>
                  <a:gd name="T7" fmla="*/ 0 h 185"/>
                  <a:gd name="T8" fmla="*/ 117 w 260"/>
                  <a:gd name="T9" fmla="*/ 18 h 185"/>
                  <a:gd name="T10" fmla="*/ 93 w 260"/>
                  <a:gd name="T11" fmla="*/ 24 h 185"/>
                  <a:gd name="T12" fmla="*/ 92 w 260"/>
                  <a:gd name="T13" fmla="*/ 42 h 185"/>
                  <a:gd name="T14" fmla="*/ 60 w 260"/>
                  <a:gd name="T15" fmla="*/ 57 h 185"/>
                  <a:gd name="T16" fmla="*/ 45 w 260"/>
                  <a:gd name="T17" fmla="*/ 74 h 185"/>
                  <a:gd name="T18" fmla="*/ 24 w 260"/>
                  <a:gd name="T19" fmla="*/ 104 h 185"/>
                  <a:gd name="T20" fmla="*/ 5 w 260"/>
                  <a:gd name="T21" fmla="*/ 140 h 185"/>
                  <a:gd name="T22" fmla="*/ 0 w 260"/>
                  <a:gd name="T23" fmla="*/ 158 h 185"/>
                  <a:gd name="T24" fmla="*/ 18 w 260"/>
                  <a:gd name="T25" fmla="*/ 147 h 185"/>
                  <a:gd name="T26" fmla="*/ 32 w 260"/>
                  <a:gd name="T27" fmla="*/ 153 h 185"/>
                  <a:gd name="T28" fmla="*/ 36 w 260"/>
                  <a:gd name="T29" fmla="*/ 165 h 185"/>
                  <a:gd name="T30" fmla="*/ 83 w 260"/>
                  <a:gd name="T31" fmla="*/ 185 h 185"/>
                  <a:gd name="T32" fmla="*/ 126 w 260"/>
                  <a:gd name="T33" fmla="*/ 171 h 185"/>
                  <a:gd name="T34" fmla="*/ 126 w 260"/>
                  <a:gd name="T35" fmla="*/ 140 h 185"/>
                  <a:gd name="T36" fmla="*/ 143 w 260"/>
                  <a:gd name="T37" fmla="*/ 153 h 185"/>
                  <a:gd name="T38" fmla="*/ 167 w 260"/>
                  <a:gd name="T39" fmla="*/ 162 h 185"/>
                  <a:gd name="T40" fmla="*/ 185 w 260"/>
                  <a:gd name="T41" fmla="*/ 162 h 185"/>
                  <a:gd name="T42" fmla="*/ 188 w 260"/>
                  <a:gd name="T43" fmla="*/ 135 h 185"/>
                  <a:gd name="T44" fmla="*/ 203 w 260"/>
                  <a:gd name="T45" fmla="*/ 135 h 185"/>
                  <a:gd name="T46" fmla="*/ 215 w 260"/>
                  <a:gd name="T47" fmla="*/ 113 h 185"/>
                  <a:gd name="T48" fmla="*/ 248 w 260"/>
                  <a:gd name="T49" fmla="*/ 117 h 185"/>
                  <a:gd name="T50" fmla="*/ 251 w 260"/>
                  <a:gd name="T51" fmla="*/ 107 h 185"/>
                  <a:gd name="T52" fmla="*/ 242 w 260"/>
                  <a:gd name="T53" fmla="*/ 95 h 185"/>
                  <a:gd name="T54" fmla="*/ 260 w 260"/>
                  <a:gd name="T55" fmla="*/ 77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60" h="185">
                    <a:moveTo>
                      <a:pt x="260" y="77"/>
                    </a:moveTo>
                    <a:lnTo>
                      <a:pt x="242" y="63"/>
                    </a:lnTo>
                    <a:lnTo>
                      <a:pt x="236" y="42"/>
                    </a:lnTo>
                    <a:lnTo>
                      <a:pt x="173" y="0"/>
                    </a:lnTo>
                    <a:lnTo>
                      <a:pt x="117" y="18"/>
                    </a:lnTo>
                    <a:lnTo>
                      <a:pt x="93" y="24"/>
                    </a:lnTo>
                    <a:lnTo>
                      <a:pt x="92" y="42"/>
                    </a:lnTo>
                    <a:lnTo>
                      <a:pt x="60" y="57"/>
                    </a:lnTo>
                    <a:lnTo>
                      <a:pt x="45" y="74"/>
                    </a:lnTo>
                    <a:lnTo>
                      <a:pt x="24" y="104"/>
                    </a:lnTo>
                    <a:lnTo>
                      <a:pt x="5" y="140"/>
                    </a:lnTo>
                    <a:lnTo>
                      <a:pt x="0" y="158"/>
                    </a:lnTo>
                    <a:lnTo>
                      <a:pt x="18" y="147"/>
                    </a:lnTo>
                    <a:lnTo>
                      <a:pt x="32" y="153"/>
                    </a:lnTo>
                    <a:lnTo>
                      <a:pt x="36" y="165"/>
                    </a:lnTo>
                    <a:lnTo>
                      <a:pt x="83" y="185"/>
                    </a:lnTo>
                    <a:lnTo>
                      <a:pt x="126" y="171"/>
                    </a:lnTo>
                    <a:lnTo>
                      <a:pt x="126" y="140"/>
                    </a:lnTo>
                    <a:lnTo>
                      <a:pt x="143" y="153"/>
                    </a:lnTo>
                    <a:lnTo>
                      <a:pt x="167" y="162"/>
                    </a:lnTo>
                    <a:lnTo>
                      <a:pt x="185" y="162"/>
                    </a:lnTo>
                    <a:lnTo>
                      <a:pt x="188" y="135"/>
                    </a:lnTo>
                    <a:lnTo>
                      <a:pt x="203" y="135"/>
                    </a:lnTo>
                    <a:lnTo>
                      <a:pt x="215" y="113"/>
                    </a:lnTo>
                    <a:lnTo>
                      <a:pt x="248" y="117"/>
                    </a:lnTo>
                    <a:lnTo>
                      <a:pt x="251" y="107"/>
                    </a:lnTo>
                    <a:lnTo>
                      <a:pt x="242" y="95"/>
                    </a:lnTo>
                    <a:lnTo>
                      <a:pt x="260" y="7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1" name="Freeform 193"/>
              <p:cNvSpPr>
                <a:spLocks/>
              </p:cNvSpPr>
              <p:nvPr/>
            </p:nvSpPr>
            <p:spPr bwMode="auto">
              <a:xfrm>
                <a:off x="2571" y="2153"/>
                <a:ext cx="611" cy="513"/>
              </a:xfrm>
              <a:custGeom>
                <a:avLst/>
                <a:gdLst>
                  <a:gd name="T0" fmla="*/ 11 w 611"/>
                  <a:gd name="T1" fmla="*/ 67 h 513"/>
                  <a:gd name="T2" fmla="*/ 65 w 611"/>
                  <a:gd name="T3" fmla="*/ 61 h 513"/>
                  <a:gd name="T4" fmla="*/ 114 w 611"/>
                  <a:gd name="T5" fmla="*/ 48 h 513"/>
                  <a:gd name="T6" fmla="*/ 126 w 611"/>
                  <a:gd name="T7" fmla="*/ 52 h 513"/>
                  <a:gd name="T8" fmla="*/ 150 w 611"/>
                  <a:gd name="T9" fmla="*/ 28 h 513"/>
                  <a:gd name="T10" fmla="*/ 170 w 611"/>
                  <a:gd name="T11" fmla="*/ 30 h 513"/>
                  <a:gd name="T12" fmla="*/ 195 w 611"/>
                  <a:gd name="T13" fmla="*/ 12 h 513"/>
                  <a:gd name="T14" fmla="*/ 245 w 611"/>
                  <a:gd name="T15" fmla="*/ 0 h 513"/>
                  <a:gd name="T16" fmla="*/ 263 w 611"/>
                  <a:gd name="T17" fmla="*/ 12 h 513"/>
                  <a:gd name="T18" fmla="*/ 248 w 611"/>
                  <a:gd name="T19" fmla="*/ 21 h 513"/>
                  <a:gd name="T20" fmla="*/ 251 w 611"/>
                  <a:gd name="T21" fmla="*/ 39 h 513"/>
                  <a:gd name="T22" fmla="*/ 300 w 611"/>
                  <a:gd name="T23" fmla="*/ 24 h 513"/>
                  <a:gd name="T24" fmla="*/ 303 w 611"/>
                  <a:gd name="T25" fmla="*/ 39 h 513"/>
                  <a:gd name="T26" fmla="*/ 354 w 611"/>
                  <a:gd name="T27" fmla="*/ 58 h 513"/>
                  <a:gd name="T28" fmla="*/ 417 w 611"/>
                  <a:gd name="T29" fmla="*/ 75 h 513"/>
                  <a:gd name="T30" fmla="*/ 488 w 611"/>
                  <a:gd name="T31" fmla="*/ 79 h 513"/>
                  <a:gd name="T32" fmla="*/ 512 w 611"/>
                  <a:gd name="T33" fmla="*/ 64 h 513"/>
                  <a:gd name="T34" fmla="*/ 576 w 611"/>
                  <a:gd name="T35" fmla="*/ 81 h 513"/>
                  <a:gd name="T36" fmla="*/ 596 w 611"/>
                  <a:gd name="T37" fmla="*/ 97 h 513"/>
                  <a:gd name="T38" fmla="*/ 600 w 611"/>
                  <a:gd name="T39" fmla="*/ 123 h 513"/>
                  <a:gd name="T40" fmla="*/ 611 w 611"/>
                  <a:gd name="T41" fmla="*/ 153 h 513"/>
                  <a:gd name="T42" fmla="*/ 596 w 611"/>
                  <a:gd name="T43" fmla="*/ 184 h 513"/>
                  <a:gd name="T44" fmla="*/ 596 w 611"/>
                  <a:gd name="T45" fmla="*/ 237 h 513"/>
                  <a:gd name="T46" fmla="*/ 587 w 611"/>
                  <a:gd name="T47" fmla="*/ 253 h 513"/>
                  <a:gd name="T48" fmla="*/ 600 w 611"/>
                  <a:gd name="T49" fmla="*/ 279 h 513"/>
                  <a:gd name="T50" fmla="*/ 591 w 611"/>
                  <a:gd name="T51" fmla="*/ 327 h 513"/>
                  <a:gd name="T52" fmla="*/ 582 w 611"/>
                  <a:gd name="T53" fmla="*/ 343 h 513"/>
                  <a:gd name="T54" fmla="*/ 609 w 611"/>
                  <a:gd name="T55" fmla="*/ 376 h 513"/>
                  <a:gd name="T56" fmla="*/ 572 w 611"/>
                  <a:gd name="T57" fmla="*/ 462 h 513"/>
                  <a:gd name="T58" fmla="*/ 579 w 611"/>
                  <a:gd name="T59" fmla="*/ 493 h 513"/>
                  <a:gd name="T60" fmla="*/ 551 w 611"/>
                  <a:gd name="T61" fmla="*/ 513 h 513"/>
                  <a:gd name="T62" fmla="*/ 525 w 611"/>
                  <a:gd name="T63" fmla="*/ 478 h 513"/>
                  <a:gd name="T64" fmla="*/ 492 w 611"/>
                  <a:gd name="T65" fmla="*/ 444 h 513"/>
                  <a:gd name="T66" fmla="*/ 453 w 611"/>
                  <a:gd name="T67" fmla="*/ 429 h 513"/>
                  <a:gd name="T68" fmla="*/ 438 w 611"/>
                  <a:gd name="T69" fmla="*/ 412 h 513"/>
                  <a:gd name="T70" fmla="*/ 389 w 611"/>
                  <a:gd name="T71" fmla="*/ 444 h 513"/>
                  <a:gd name="T72" fmla="*/ 371 w 611"/>
                  <a:gd name="T73" fmla="*/ 439 h 513"/>
                  <a:gd name="T74" fmla="*/ 342 w 611"/>
                  <a:gd name="T75" fmla="*/ 466 h 513"/>
                  <a:gd name="T76" fmla="*/ 272 w 611"/>
                  <a:gd name="T77" fmla="*/ 432 h 513"/>
                  <a:gd name="T78" fmla="*/ 249 w 611"/>
                  <a:gd name="T79" fmla="*/ 439 h 513"/>
                  <a:gd name="T80" fmla="*/ 227 w 611"/>
                  <a:gd name="T81" fmla="*/ 426 h 513"/>
                  <a:gd name="T82" fmla="*/ 198 w 611"/>
                  <a:gd name="T83" fmla="*/ 390 h 513"/>
                  <a:gd name="T84" fmla="*/ 182 w 611"/>
                  <a:gd name="T85" fmla="*/ 373 h 513"/>
                  <a:gd name="T86" fmla="*/ 137 w 611"/>
                  <a:gd name="T87" fmla="*/ 372 h 513"/>
                  <a:gd name="T88" fmla="*/ 110 w 611"/>
                  <a:gd name="T89" fmla="*/ 348 h 513"/>
                  <a:gd name="T90" fmla="*/ 89 w 611"/>
                  <a:gd name="T91" fmla="*/ 343 h 513"/>
                  <a:gd name="T92" fmla="*/ 56 w 611"/>
                  <a:gd name="T93" fmla="*/ 327 h 513"/>
                  <a:gd name="T94" fmla="*/ 26 w 611"/>
                  <a:gd name="T95" fmla="*/ 316 h 513"/>
                  <a:gd name="T96" fmla="*/ 23 w 611"/>
                  <a:gd name="T97" fmla="*/ 252 h 513"/>
                  <a:gd name="T98" fmla="*/ 15 w 611"/>
                  <a:gd name="T99" fmla="*/ 222 h 513"/>
                  <a:gd name="T100" fmla="*/ 11 w 611"/>
                  <a:gd name="T101" fmla="*/ 205 h 513"/>
                  <a:gd name="T102" fmla="*/ 15 w 611"/>
                  <a:gd name="T103" fmla="*/ 169 h 513"/>
                  <a:gd name="T104" fmla="*/ 0 w 611"/>
                  <a:gd name="T105" fmla="*/ 130 h 513"/>
                  <a:gd name="T106" fmla="*/ 11 w 611"/>
                  <a:gd name="T107" fmla="*/ 93 h 513"/>
                  <a:gd name="T108" fmla="*/ 11 w 611"/>
                  <a:gd name="T109" fmla="*/ 67 h 5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611" h="513">
                    <a:moveTo>
                      <a:pt x="11" y="67"/>
                    </a:moveTo>
                    <a:lnTo>
                      <a:pt x="65" y="61"/>
                    </a:lnTo>
                    <a:lnTo>
                      <a:pt x="114" y="48"/>
                    </a:lnTo>
                    <a:lnTo>
                      <a:pt x="126" y="52"/>
                    </a:lnTo>
                    <a:lnTo>
                      <a:pt x="150" y="28"/>
                    </a:lnTo>
                    <a:lnTo>
                      <a:pt x="170" y="30"/>
                    </a:lnTo>
                    <a:lnTo>
                      <a:pt x="195" y="12"/>
                    </a:lnTo>
                    <a:lnTo>
                      <a:pt x="245" y="0"/>
                    </a:lnTo>
                    <a:lnTo>
                      <a:pt x="263" y="12"/>
                    </a:lnTo>
                    <a:lnTo>
                      <a:pt x="248" y="21"/>
                    </a:lnTo>
                    <a:lnTo>
                      <a:pt x="251" y="39"/>
                    </a:lnTo>
                    <a:lnTo>
                      <a:pt x="300" y="24"/>
                    </a:lnTo>
                    <a:lnTo>
                      <a:pt x="303" y="39"/>
                    </a:lnTo>
                    <a:lnTo>
                      <a:pt x="354" y="58"/>
                    </a:lnTo>
                    <a:lnTo>
                      <a:pt x="417" y="75"/>
                    </a:lnTo>
                    <a:lnTo>
                      <a:pt x="488" y="79"/>
                    </a:lnTo>
                    <a:lnTo>
                      <a:pt x="512" y="64"/>
                    </a:lnTo>
                    <a:lnTo>
                      <a:pt x="576" y="81"/>
                    </a:lnTo>
                    <a:lnTo>
                      <a:pt x="596" y="97"/>
                    </a:lnTo>
                    <a:lnTo>
                      <a:pt x="600" y="123"/>
                    </a:lnTo>
                    <a:lnTo>
                      <a:pt x="611" y="153"/>
                    </a:lnTo>
                    <a:lnTo>
                      <a:pt x="596" y="184"/>
                    </a:lnTo>
                    <a:lnTo>
                      <a:pt x="596" y="237"/>
                    </a:lnTo>
                    <a:lnTo>
                      <a:pt x="587" y="253"/>
                    </a:lnTo>
                    <a:lnTo>
                      <a:pt x="600" y="279"/>
                    </a:lnTo>
                    <a:lnTo>
                      <a:pt x="591" y="327"/>
                    </a:lnTo>
                    <a:lnTo>
                      <a:pt x="582" y="343"/>
                    </a:lnTo>
                    <a:lnTo>
                      <a:pt x="609" y="376"/>
                    </a:lnTo>
                    <a:lnTo>
                      <a:pt x="572" y="462"/>
                    </a:lnTo>
                    <a:lnTo>
                      <a:pt x="579" y="493"/>
                    </a:lnTo>
                    <a:lnTo>
                      <a:pt x="551" y="513"/>
                    </a:lnTo>
                    <a:lnTo>
                      <a:pt x="525" y="478"/>
                    </a:lnTo>
                    <a:lnTo>
                      <a:pt x="492" y="444"/>
                    </a:lnTo>
                    <a:lnTo>
                      <a:pt x="453" y="429"/>
                    </a:lnTo>
                    <a:lnTo>
                      <a:pt x="438" y="412"/>
                    </a:lnTo>
                    <a:lnTo>
                      <a:pt x="389" y="444"/>
                    </a:lnTo>
                    <a:lnTo>
                      <a:pt x="371" y="439"/>
                    </a:lnTo>
                    <a:lnTo>
                      <a:pt x="342" y="466"/>
                    </a:lnTo>
                    <a:lnTo>
                      <a:pt x="272" y="432"/>
                    </a:lnTo>
                    <a:lnTo>
                      <a:pt x="249" y="439"/>
                    </a:lnTo>
                    <a:lnTo>
                      <a:pt x="227" y="426"/>
                    </a:lnTo>
                    <a:lnTo>
                      <a:pt x="198" y="390"/>
                    </a:lnTo>
                    <a:lnTo>
                      <a:pt x="182" y="373"/>
                    </a:lnTo>
                    <a:lnTo>
                      <a:pt x="137" y="372"/>
                    </a:lnTo>
                    <a:lnTo>
                      <a:pt x="110" y="348"/>
                    </a:lnTo>
                    <a:lnTo>
                      <a:pt x="89" y="343"/>
                    </a:lnTo>
                    <a:lnTo>
                      <a:pt x="56" y="327"/>
                    </a:lnTo>
                    <a:lnTo>
                      <a:pt x="26" y="316"/>
                    </a:lnTo>
                    <a:lnTo>
                      <a:pt x="23" y="252"/>
                    </a:lnTo>
                    <a:lnTo>
                      <a:pt x="15" y="222"/>
                    </a:lnTo>
                    <a:lnTo>
                      <a:pt x="11" y="205"/>
                    </a:lnTo>
                    <a:lnTo>
                      <a:pt x="15" y="169"/>
                    </a:lnTo>
                    <a:lnTo>
                      <a:pt x="0" y="130"/>
                    </a:lnTo>
                    <a:lnTo>
                      <a:pt x="11" y="93"/>
                    </a:lnTo>
                    <a:lnTo>
                      <a:pt x="11" y="6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2" name="Freeform 194"/>
              <p:cNvSpPr>
                <a:spLocks/>
              </p:cNvSpPr>
              <p:nvPr/>
            </p:nvSpPr>
            <p:spPr bwMode="auto">
              <a:xfrm>
                <a:off x="2874" y="2085"/>
                <a:ext cx="207" cy="147"/>
              </a:xfrm>
              <a:custGeom>
                <a:avLst/>
                <a:gdLst>
                  <a:gd name="T0" fmla="*/ 207 w 207"/>
                  <a:gd name="T1" fmla="*/ 132 h 147"/>
                  <a:gd name="T2" fmla="*/ 194 w 207"/>
                  <a:gd name="T3" fmla="*/ 83 h 147"/>
                  <a:gd name="T4" fmla="*/ 158 w 207"/>
                  <a:gd name="T5" fmla="*/ 80 h 147"/>
                  <a:gd name="T6" fmla="*/ 125 w 207"/>
                  <a:gd name="T7" fmla="*/ 71 h 147"/>
                  <a:gd name="T8" fmla="*/ 78 w 207"/>
                  <a:gd name="T9" fmla="*/ 23 h 147"/>
                  <a:gd name="T10" fmla="*/ 62 w 207"/>
                  <a:gd name="T11" fmla="*/ 35 h 147"/>
                  <a:gd name="T12" fmla="*/ 63 w 207"/>
                  <a:gd name="T13" fmla="*/ 0 h 147"/>
                  <a:gd name="T14" fmla="*/ 23 w 207"/>
                  <a:gd name="T15" fmla="*/ 42 h 147"/>
                  <a:gd name="T16" fmla="*/ 29 w 207"/>
                  <a:gd name="T17" fmla="*/ 57 h 147"/>
                  <a:gd name="T18" fmla="*/ 45 w 207"/>
                  <a:gd name="T19" fmla="*/ 59 h 147"/>
                  <a:gd name="T20" fmla="*/ 23 w 207"/>
                  <a:gd name="T21" fmla="*/ 68 h 147"/>
                  <a:gd name="T22" fmla="*/ 0 w 207"/>
                  <a:gd name="T23" fmla="*/ 107 h 147"/>
                  <a:gd name="T24" fmla="*/ 51 w 207"/>
                  <a:gd name="T25" fmla="*/ 126 h 147"/>
                  <a:gd name="T26" fmla="*/ 113 w 207"/>
                  <a:gd name="T27" fmla="*/ 143 h 147"/>
                  <a:gd name="T28" fmla="*/ 183 w 207"/>
                  <a:gd name="T29" fmla="*/ 147 h 147"/>
                  <a:gd name="T30" fmla="*/ 207 w 207"/>
                  <a:gd name="T31" fmla="*/ 132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07" h="147">
                    <a:moveTo>
                      <a:pt x="207" y="132"/>
                    </a:moveTo>
                    <a:lnTo>
                      <a:pt x="194" y="83"/>
                    </a:lnTo>
                    <a:lnTo>
                      <a:pt x="158" y="80"/>
                    </a:lnTo>
                    <a:lnTo>
                      <a:pt x="125" y="71"/>
                    </a:lnTo>
                    <a:lnTo>
                      <a:pt x="78" y="23"/>
                    </a:lnTo>
                    <a:lnTo>
                      <a:pt x="62" y="35"/>
                    </a:lnTo>
                    <a:lnTo>
                      <a:pt x="63" y="0"/>
                    </a:lnTo>
                    <a:lnTo>
                      <a:pt x="23" y="42"/>
                    </a:lnTo>
                    <a:lnTo>
                      <a:pt x="29" y="57"/>
                    </a:lnTo>
                    <a:lnTo>
                      <a:pt x="45" y="59"/>
                    </a:lnTo>
                    <a:lnTo>
                      <a:pt x="23" y="68"/>
                    </a:lnTo>
                    <a:lnTo>
                      <a:pt x="0" y="107"/>
                    </a:lnTo>
                    <a:lnTo>
                      <a:pt x="51" y="126"/>
                    </a:lnTo>
                    <a:lnTo>
                      <a:pt x="113" y="143"/>
                    </a:lnTo>
                    <a:lnTo>
                      <a:pt x="183" y="147"/>
                    </a:lnTo>
                    <a:lnTo>
                      <a:pt x="207" y="13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3" name="Freeform 195"/>
              <p:cNvSpPr>
                <a:spLocks/>
              </p:cNvSpPr>
              <p:nvPr/>
            </p:nvSpPr>
            <p:spPr bwMode="auto">
              <a:xfrm>
                <a:off x="2954" y="1998"/>
                <a:ext cx="331" cy="252"/>
              </a:xfrm>
              <a:custGeom>
                <a:avLst/>
                <a:gdLst>
                  <a:gd name="T0" fmla="*/ 0 w 331"/>
                  <a:gd name="T1" fmla="*/ 110 h 252"/>
                  <a:gd name="T2" fmla="*/ 15 w 331"/>
                  <a:gd name="T3" fmla="*/ 95 h 252"/>
                  <a:gd name="T4" fmla="*/ 4 w 331"/>
                  <a:gd name="T5" fmla="*/ 50 h 252"/>
                  <a:gd name="T6" fmla="*/ 7 w 331"/>
                  <a:gd name="T7" fmla="*/ 15 h 252"/>
                  <a:gd name="T8" fmla="*/ 64 w 331"/>
                  <a:gd name="T9" fmla="*/ 0 h 252"/>
                  <a:gd name="T10" fmla="*/ 202 w 331"/>
                  <a:gd name="T11" fmla="*/ 41 h 252"/>
                  <a:gd name="T12" fmla="*/ 229 w 331"/>
                  <a:gd name="T13" fmla="*/ 33 h 252"/>
                  <a:gd name="T14" fmla="*/ 241 w 331"/>
                  <a:gd name="T15" fmla="*/ 57 h 252"/>
                  <a:gd name="T16" fmla="*/ 283 w 331"/>
                  <a:gd name="T17" fmla="*/ 74 h 252"/>
                  <a:gd name="T18" fmla="*/ 328 w 331"/>
                  <a:gd name="T19" fmla="*/ 99 h 252"/>
                  <a:gd name="T20" fmla="*/ 331 w 331"/>
                  <a:gd name="T21" fmla="*/ 117 h 252"/>
                  <a:gd name="T22" fmla="*/ 301 w 331"/>
                  <a:gd name="T23" fmla="*/ 155 h 252"/>
                  <a:gd name="T24" fmla="*/ 301 w 331"/>
                  <a:gd name="T25" fmla="*/ 212 h 252"/>
                  <a:gd name="T26" fmla="*/ 276 w 331"/>
                  <a:gd name="T27" fmla="*/ 224 h 252"/>
                  <a:gd name="T28" fmla="*/ 265 w 331"/>
                  <a:gd name="T29" fmla="*/ 239 h 252"/>
                  <a:gd name="T30" fmla="*/ 225 w 331"/>
                  <a:gd name="T31" fmla="*/ 243 h 252"/>
                  <a:gd name="T32" fmla="*/ 211 w 331"/>
                  <a:gd name="T33" fmla="*/ 252 h 252"/>
                  <a:gd name="T34" fmla="*/ 193 w 331"/>
                  <a:gd name="T35" fmla="*/ 236 h 252"/>
                  <a:gd name="T36" fmla="*/ 126 w 331"/>
                  <a:gd name="T37" fmla="*/ 216 h 252"/>
                  <a:gd name="T38" fmla="*/ 112 w 331"/>
                  <a:gd name="T39" fmla="*/ 168 h 252"/>
                  <a:gd name="T40" fmla="*/ 76 w 331"/>
                  <a:gd name="T41" fmla="*/ 165 h 252"/>
                  <a:gd name="T42" fmla="*/ 43 w 331"/>
                  <a:gd name="T43" fmla="*/ 158 h 252"/>
                  <a:gd name="T44" fmla="*/ 0 w 331"/>
                  <a:gd name="T45" fmla="*/ 110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31" h="252">
                    <a:moveTo>
                      <a:pt x="0" y="110"/>
                    </a:moveTo>
                    <a:lnTo>
                      <a:pt x="15" y="95"/>
                    </a:lnTo>
                    <a:lnTo>
                      <a:pt x="4" y="50"/>
                    </a:lnTo>
                    <a:lnTo>
                      <a:pt x="7" y="15"/>
                    </a:lnTo>
                    <a:lnTo>
                      <a:pt x="64" y="0"/>
                    </a:lnTo>
                    <a:lnTo>
                      <a:pt x="202" y="41"/>
                    </a:lnTo>
                    <a:lnTo>
                      <a:pt x="229" y="33"/>
                    </a:lnTo>
                    <a:lnTo>
                      <a:pt x="241" y="57"/>
                    </a:lnTo>
                    <a:lnTo>
                      <a:pt x="283" y="74"/>
                    </a:lnTo>
                    <a:lnTo>
                      <a:pt x="328" y="99"/>
                    </a:lnTo>
                    <a:lnTo>
                      <a:pt x="331" y="117"/>
                    </a:lnTo>
                    <a:lnTo>
                      <a:pt x="301" y="155"/>
                    </a:lnTo>
                    <a:lnTo>
                      <a:pt x="301" y="212"/>
                    </a:lnTo>
                    <a:lnTo>
                      <a:pt x="276" y="224"/>
                    </a:lnTo>
                    <a:lnTo>
                      <a:pt x="265" y="239"/>
                    </a:lnTo>
                    <a:lnTo>
                      <a:pt x="225" y="243"/>
                    </a:lnTo>
                    <a:lnTo>
                      <a:pt x="211" y="252"/>
                    </a:lnTo>
                    <a:lnTo>
                      <a:pt x="193" y="236"/>
                    </a:lnTo>
                    <a:lnTo>
                      <a:pt x="126" y="216"/>
                    </a:lnTo>
                    <a:lnTo>
                      <a:pt x="112" y="168"/>
                    </a:lnTo>
                    <a:lnTo>
                      <a:pt x="76" y="165"/>
                    </a:lnTo>
                    <a:lnTo>
                      <a:pt x="43" y="158"/>
                    </a:lnTo>
                    <a:lnTo>
                      <a:pt x="0" y="11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4" name="Freeform 196"/>
              <p:cNvSpPr>
                <a:spLocks/>
              </p:cNvSpPr>
              <p:nvPr/>
            </p:nvSpPr>
            <p:spPr bwMode="auto">
              <a:xfrm>
                <a:off x="2960" y="1842"/>
                <a:ext cx="439" cy="255"/>
              </a:xfrm>
              <a:custGeom>
                <a:avLst/>
                <a:gdLst>
                  <a:gd name="T0" fmla="*/ 0 w 439"/>
                  <a:gd name="T1" fmla="*/ 170 h 255"/>
                  <a:gd name="T2" fmla="*/ 6 w 439"/>
                  <a:gd name="T3" fmla="*/ 129 h 255"/>
                  <a:gd name="T4" fmla="*/ 54 w 439"/>
                  <a:gd name="T5" fmla="*/ 41 h 255"/>
                  <a:gd name="T6" fmla="*/ 91 w 439"/>
                  <a:gd name="T7" fmla="*/ 29 h 255"/>
                  <a:gd name="T8" fmla="*/ 84 w 439"/>
                  <a:gd name="T9" fmla="*/ 53 h 255"/>
                  <a:gd name="T10" fmla="*/ 120 w 439"/>
                  <a:gd name="T11" fmla="*/ 92 h 255"/>
                  <a:gd name="T12" fmla="*/ 168 w 439"/>
                  <a:gd name="T13" fmla="*/ 92 h 255"/>
                  <a:gd name="T14" fmla="*/ 187 w 439"/>
                  <a:gd name="T15" fmla="*/ 74 h 255"/>
                  <a:gd name="T16" fmla="*/ 175 w 439"/>
                  <a:gd name="T17" fmla="*/ 29 h 255"/>
                  <a:gd name="T18" fmla="*/ 178 w 439"/>
                  <a:gd name="T19" fmla="*/ 11 h 255"/>
                  <a:gd name="T20" fmla="*/ 219 w 439"/>
                  <a:gd name="T21" fmla="*/ 11 h 255"/>
                  <a:gd name="T22" fmla="*/ 231 w 439"/>
                  <a:gd name="T23" fmla="*/ 0 h 255"/>
                  <a:gd name="T24" fmla="*/ 273 w 439"/>
                  <a:gd name="T25" fmla="*/ 8 h 255"/>
                  <a:gd name="T26" fmla="*/ 294 w 439"/>
                  <a:gd name="T27" fmla="*/ 29 h 255"/>
                  <a:gd name="T28" fmla="*/ 307 w 439"/>
                  <a:gd name="T29" fmla="*/ 27 h 255"/>
                  <a:gd name="T30" fmla="*/ 318 w 439"/>
                  <a:gd name="T31" fmla="*/ 57 h 255"/>
                  <a:gd name="T32" fmla="*/ 351 w 439"/>
                  <a:gd name="T33" fmla="*/ 48 h 255"/>
                  <a:gd name="T34" fmla="*/ 360 w 439"/>
                  <a:gd name="T35" fmla="*/ 71 h 255"/>
                  <a:gd name="T36" fmla="*/ 385 w 439"/>
                  <a:gd name="T37" fmla="*/ 71 h 255"/>
                  <a:gd name="T38" fmla="*/ 394 w 439"/>
                  <a:gd name="T39" fmla="*/ 116 h 255"/>
                  <a:gd name="T40" fmla="*/ 429 w 439"/>
                  <a:gd name="T41" fmla="*/ 138 h 255"/>
                  <a:gd name="T42" fmla="*/ 439 w 439"/>
                  <a:gd name="T43" fmla="*/ 179 h 255"/>
                  <a:gd name="T44" fmla="*/ 397 w 439"/>
                  <a:gd name="T45" fmla="*/ 177 h 255"/>
                  <a:gd name="T46" fmla="*/ 381 w 439"/>
                  <a:gd name="T47" fmla="*/ 237 h 255"/>
                  <a:gd name="T48" fmla="*/ 348 w 439"/>
                  <a:gd name="T49" fmla="*/ 228 h 255"/>
                  <a:gd name="T50" fmla="*/ 322 w 439"/>
                  <a:gd name="T51" fmla="*/ 255 h 255"/>
                  <a:gd name="T52" fmla="*/ 294 w 439"/>
                  <a:gd name="T53" fmla="*/ 240 h 255"/>
                  <a:gd name="T54" fmla="*/ 237 w 439"/>
                  <a:gd name="T55" fmla="*/ 213 h 255"/>
                  <a:gd name="T56" fmla="*/ 223 w 439"/>
                  <a:gd name="T57" fmla="*/ 189 h 255"/>
                  <a:gd name="T58" fmla="*/ 196 w 439"/>
                  <a:gd name="T59" fmla="*/ 197 h 255"/>
                  <a:gd name="T60" fmla="*/ 58 w 439"/>
                  <a:gd name="T61" fmla="*/ 158 h 255"/>
                  <a:gd name="T62" fmla="*/ 0 w 439"/>
                  <a:gd name="T63" fmla="*/ 170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39" h="255">
                    <a:moveTo>
                      <a:pt x="0" y="170"/>
                    </a:moveTo>
                    <a:lnTo>
                      <a:pt x="6" y="129"/>
                    </a:lnTo>
                    <a:lnTo>
                      <a:pt x="54" y="41"/>
                    </a:lnTo>
                    <a:lnTo>
                      <a:pt x="91" y="29"/>
                    </a:lnTo>
                    <a:lnTo>
                      <a:pt x="84" y="53"/>
                    </a:lnTo>
                    <a:lnTo>
                      <a:pt x="120" y="92"/>
                    </a:lnTo>
                    <a:lnTo>
                      <a:pt x="168" y="92"/>
                    </a:lnTo>
                    <a:lnTo>
                      <a:pt x="187" y="74"/>
                    </a:lnTo>
                    <a:lnTo>
                      <a:pt x="175" y="29"/>
                    </a:lnTo>
                    <a:lnTo>
                      <a:pt x="178" y="11"/>
                    </a:lnTo>
                    <a:lnTo>
                      <a:pt x="219" y="11"/>
                    </a:lnTo>
                    <a:lnTo>
                      <a:pt x="231" y="0"/>
                    </a:lnTo>
                    <a:lnTo>
                      <a:pt x="273" y="8"/>
                    </a:lnTo>
                    <a:lnTo>
                      <a:pt x="294" y="29"/>
                    </a:lnTo>
                    <a:lnTo>
                      <a:pt x="307" y="27"/>
                    </a:lnTo>
                    <a:lnTo>
                      <a:pt x="318" y="57"/>
                    </a:lnTo>
                    <a:lnTo>
                      <a:pt x="351" y="48"/>
                    </a:lnTo>
                    <a:lnTo>
                      <a:pt x="360" y="71"/>
                    </a:lnTo>
                    <a:lnTo>
                      <a:pt x="385" y="71"/>
                    </a:lnTo>
                    <a:lnTo>
                      <a:pt x="394" y="116"/>
                    </a:lnTo>
                    <a:lnTo>
                      <a:pt x="429" y="138"/>
                    </a:lnTo>
                    <a:lnTo>
                      <a:pt x="439" y="179"/>
                    </a:lnTo>
                    <a:lnTo>
                      <a:pt x="397" y="177"/>
                    </a:lnTo>
                    <a:lnTo>
                      <a:pt x="381" y="237"/>
                    </a:lnTo>
                    <a:lnTo>
                      <a:pt x="348" y="228"/>
                    </a:lnTo>
                    <a:lnTo>
                      <a:pt x="322" y="255"/>
                    </a:lnTo>
                    <a:lnTo>
                      <a:pt x="294" y="240"/>
                    </a:lnTo>
                    <a:lnTo>
                      <a:pt x="237" y="213"/>
                    </a:lnTo>
                    <a:lnTo>
                      <a:pt x="223" y="189"/>
                    </a:lnTo>
                    <a:lnTo>
                      <a:pt x="196" y="197"/>
                    </a:lnTo>
                    <a:lnTo>
                      <a:pt x="58" y="158"/>
                    </a:lnTo>
                    <a:lnTo>
                      <a:pt x="0" y="17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5" name="Freeform 197"/>
              <p:cNvSpPr>
                <a:spLocks/>
              </p:cNvSpPr>
              <p:nvPr/>
            </p:nvSpPr>
            <p:spPr bwMode="auto">
              <a:xfrm>
                <a:off x="2456" y="2457"/>
                <a:ext cx="343" cy="216"/>
              </a:xfrm>
              <a:custGeom>
                <a:avLst/>
                <a:gdLst>
                  <a:gd name="T0" fmla="*/ 139 w 343"/>
                  <a:gd name="T1" fmla="*/ 11 h 216"/>
                  <a:gd name="T2" fmla="*/ 117 w 343"/>
                  <a:gd name="T3" fmla="*/ 0 h 216"/>
                  <a:gd name="T4" fmla="*/ 58 w 343"/>
                  <a:gd name="T5" fmla="*/ 36 h 216"/>
                  <a:gd name="T6" fmla="*/ 39 w 343"/>
                  <a:gd name="T7" fmla="*/ 54 h 216"/>
                  <a:gd name="T8" fmla="*/ 0 w 343"/>
                  <a:gd name="T9" fmla="*/ 71 h 216"/>
                  <a:gd name="T10" fmla="*/ 43 w 343"/>
                  <a:gd name="T11" fmla="*/ 135 h 216"/>
                  <a:gd name="T12" fmla="*/ 40 w 343"/>
                  <a:gd name="T13" fmla="*/ 171 h 216"/>
                  <a:gd name="T14" fmla="*/ 70 w 343"/>
                  <a:gd name="T15" fmla="*/ 171 h 216"/>
                  <a:gd name="T16" fmla="*/ 88 w 343"/>
                  <a:gd name="T17" fmla="*/ 194 h 216"/>
                  <a:gd name="T18" fmla="*/ 124 w 343"/>
                  <a:gd name="T19" fmla="*/ 216 h 216"/>
                  <a:gd name="T20" fmla="*/ 156 w 343"/>
                  <a:gd name="T21" fmla="*/ 176 h 216"/>
                  <a:gd name="T22" fmla="*/ 184 w 343"/>
                  <a:gd name="T23" fmla="*/ 176 h 216"/>
                  <a:gd name="T24" fmla="*/ 210 w 343"/>
                  <a:gd name="T25" fmla="*/ 198 h 216"/>
                  <a:gd name="T26" fmla="*/ 271 w 343"/>
                  <a:gd name="T27" fmla="*/ 195 h 216"/>
                  <a:gd name="T28" fmla="*/ 309 w 343"/>
                  <a:gd name="T29" fmla="*/ 162 h 216"/>
                  <a:gd name="T30" fmla="*/ 309 w 343"/>
                  <a:gd name="T31" fmla="*/ 140 h 216"/>
                  <a:gd name="T32" fmla="*/ 343 w 343"/>
                  <a:gd name="T33" fmla="*/ 122 h 216"/>
                  <a:gd name="T34" fmla="*/ 313 w 343"/>
                  <a:gd name="T35" fmla="*/ 86 h 216"/>
                  <a:gd name="T36" fmla="*/ 297 w 343"/>
                  <a:gd name="T37" fmla="*/ 68 h 216"/>
                  <a:gd name="T38" fmla="*/ 253 w 343"/>
                  <a:gd name="T39" fmla="*/ 68 h 216"/>
                  <a:gd name="T40" fmla="*/ 222 w 343"/>
                  <a:gd name="T41" fmla="*/ 41 h 216"/>
                  <a:gd name="T42" fmla="*/ 202 w 343"/>
                  <a:gd name="T43" fmla="*/ 41 h 216"/>
                  <a:gd name="T44" fmla="*/ 169 w 343"/>
                  <a:gd name="T45" fmla="*/ 21 h 216"/>
                  <a:gd name="T46" fmla="*/ 139 w 343"/>
                  <a:gd name="T47" fmla="*/ 11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43" h="216">
                    <a:moveTo>
                      <a:pt x="139" y="11"/>
                    </a:moveTo>
                    <a:lnTo>
                      <a:pt x="117" y="0"/>
                    </a:lnTo>
                    <a:lnTo>
                      <a:pt x="58" y="36"/>
                    </a:lnTo>
                    <a:lnTo>
                      <a:pt x="39" y="54"/>
                    </a:lnTo>
                    <a:lnTo>
                      <a:pt x="0" y="71"/>
                    </a:lnTo>
                    <a:lnTo>
                      <a:pt x="43" y="135"/>
                    </a:lnTo>
                    <a:lnTo>
                      <a:pt x="40" y="171"/>
                    </a:lnTo>
                    <a:lnTo>
                      <a:pt x="70" y="171"/>
                    </a:lnTo>
                    <a:lnTo>
                      <a:pt x="88" y="194"/>
                    </a:lnTo>
                    <a:lnTo>
                      <a:pt x="124" y="216"/>
                    </a:lnTo>
                    <a:lnTo>
                      <a:pt x="156" y="176"/>
                    </a:lnTo>
                    <a:lnTo>
                      <a:pt x="184" y="176"/>
                    </a:lnTo>
                    <a:lnTo>
                      <a:pt x="210" y="198"/>
                    </a:lnTo>
                    <a:lnTo>
                      <a:pt x="271" y="195"/>
                    </a:lnTo>
                    <a:lnTo>
                      <a:pt x="309" y="162"/>
                    </a:lnTo>
                    <a:lnTo>
                      <a:pt x="309" y="140"/>
                    </a:lnTo>
                    <a:lnTo>
                      <a:pt x="343" y="122"/>
                    </a:lnTo>
                    <a:lnTo>
                      <a:pt x="313" y="86"/>
                    </a:lnTo>
                    <a:lnTo>
                      <a:pt x="297" y="68"/>
                    </a:lnTo>
                    <a:lnTo>
                      <a:pt x="253" y="68"/>
                    </a:lnTo>
                    <a:lnTo>
                      <a:pt x="222" y="41"/>
                    </a:lnTo>
                    <a:lnTo>
                      <a:pt x="202" y="41"/>
                    </a:lnTo>
                    <a:lnTo>
                      <a:pt x="169" y="21"/>
                    </a:lnTo>
                    <a:lnTo>
                      <a:pt x="139" y="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6" name="Freeform 198"/>
              <p:cNvSpPr>
                <a:spLocks/>
              </p:cNvSpPr>
              <p:nvPr/>
            </p:nvSpPr>
            <p:spPr bwMode="auto">
              <a:xfrm>
                <a:off x="2720" y="2564"/>
                <a:ext cx="402" cy="175"/>
              </a:xfrm>
              <a:custGeom>
                <a:avLst/>
                <a:gdLst>
                  <a:gd name="T0" fmla="*/ 7 w 402"/>
                  <a:gd name="T1" fmla="*/ 88 h 175"/>
                  <a:gd name="T2" fmla="*/ 0 w 402"/>
                  <a:gd name="T3" fmla="*/ 112 h 175"/>
                  <a:gd name="T4" fmla="*/ 28 w 402"/>
                  <a:gd name="T5" fmla="*/ 154 h 175"/>
                  <a:gd name="T6" fmla="*/ 55 w 402"/>
                  <a:gd name="T7" fmla="*/ 168 h 175"/>
                  <a:gd name="T8" fmla="*/ 145 w 402"/>
                  <a:gd name="T9" fmla="*/ 175 h 175"/>
                  <a:gd name="T10" fmla="*/ 135 w 402"/>
                  <a:gd name="T11" fmla="*/ 147 h 175"/>
                  <a:gd name="T12" fmla="*/ 201 w 402"/>
                  <a:gd name="T13" fmla="*/ 136 h 175"/>
                  <a:gd name="T14" fmla="*/ 222 w 402"/>
                  <a:gd name="T15" fmla="*/ 153 h 175"/>
                  <a:gd name="T16" fmla="*/ 243 w 402"/>
                  <a:gd name="T17" fmla="*/ 141 h 175"/>
                  <a:gd name="T18" fmla="*/ 309 w 402"/>
                  <a:gd name="T19" fmla="*/ 124 h 175"/>
                  <a:gd name="T20" fmla="*/ 373 w 402"/>
                  <a:gd name="T21" fmla="*/ 139 h 175"/>
                  <a:gd name="T22" fmla="*/ 381 w 402"/>
                  <a:gd name="T23" fmla="*/ 114 h 175"/>
                  <a:gd name="T24" fmla="*/ 402 w 402"/>
                  <a:gd name="T25" fmla="*/ 100 h 175"/>
                  <a:gd name="T26" fmla="*/ 375 w 402"/>
                  <a:gd name="T27" fmla="*/ 69 h 175"/>
                  <a:gd name="T28" fmla="*/ 342 w 402"/>
                  <a:gd name="T29" fmla="*/ 33 h 175"/>
                  <a:gd name="T30" fmla="*/ 303 w 402"/>
                  <a:gd name="T31" fmla="*/ 18 h 175"/>
                  <a:gd name="T32" fmla="*/ 288 w 402"/>
                  <a:gd name="T33" fmla="*/ 0 h 175"/>
                  <a:gd name="T34" fmla="*/ 238 w 402"/>
                  <a:gd name="T35" fmla="*/ 33 h 175"/>
                  <a:gd name="T36" fmla="*/ 219 w 402"/>
                  <a:gd name="T37" fmla="*/ 27 h 175"/>
                  <a:gd name="T38" fmla="*/ 193 w 402"/>
                  <a:gd name="T39" fmla="*/ 55 h 175"/>
                  <a:gd name="T40" fmla="*/ 121 w 402"/>
                  <a:gd name="T41" fmla="*/ 19 h 175"/>
                  <a:gd name="T42" fmla="*/ 97 w 402"/>
                  <a:gd name="T43" fmla="*/ 28 h 175"/>
                  <a:gd name="T44" fmla="*/ 78 w 402"/>
                  <a:gd name="T45" fmla="*/ 15 h 175"/>
                  <a:gd name="T46" fmla="*/ 45 w 402"/>
                  <a:gd name="T47" fmla="*/ 33 h 175"/>
                  <a:gd name="T48" fmla="*/ 45 w 402"/>
                  <a:gd name="T49" fmla="*/ 57 h 175"/>
                  <a:gd name="T50" fmla="*/ 7 w 402"/>
                  <a:gd name="T51" fmla="*/ 88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2" h="175">
                    <a:moveTo>
                      <a:pt x="7" y="88"/>
                    </a:moveTo>
                    <a:lnTo>
                      <a:pt x="0" y="112"/>
                    </a:lnTo>
                    <a:lnTo>
                      <a:pt x="28" y="154"/>
                    </a:lnTo>
                    <a:lnTo>
                      <a:pt x="55" y="168"/>
                    </a:lnTo>
                    <a:lnTo>
                      <a:pt x="145" y="175"/>
                    </a:lnTo>
                    <a:lnTo>
                      <a:pt x="135" y="147"/>
                    </a:lnTo>
                    <a:lnTo>
                      <a:pt x="201" y="136"/>
                    </a:lnTo>
                    <a:lnTo>
                      <a:pt x="222" y="153"/>
                    </a:lnTo>
                    <a:lnTo>
                      <a:pt x="243" y="141"/>
                    </a:lnTo>
                    <a:lnTo>
                      <a:pt x="309" y="124"/>
                    </a:lnTo>
                    <a:lnTo>
                      <a:pt x="373" y="139"/>
                    </a:lnTo>
                    <a:lnTo>
                      <a:pt x="381" y="114"/>
                    </a:lnTo>
                    <a:lnTo>
                      <a:pt x="402" y="100"/>
                    </a:lnTo>
                    <a:lnTo>
                      <a:pt x="375" y="69"/>
                    </a:lnTo>
                    <a:lnTo>
                      <a:pt x="342" y="33"/>
                    </a:lnTo>
                    <a:lnTo>
                      <a:pt x="303" y="18"/>
                    </a:lnTo>
                    <a:lnTo>
                      <a:pt x="288" y="0"/>
                    </a:lnTo>
                    <a:lnTo>
                      <a:pt x="238" y="33"/>
                    </a:lnTo>
                    <a:lnTo>
                      <a:pt x="219" y="27"/>
                    </a:lnTo>
                    <a:lnTo>
                      <a:pt x="193" y="55"/>
                    </a:lnTo>
                    <a:lnTo>
                      <a:pt x="121" y="19"/>
                    </a:lnTo>
                    <a:lnTo>
                      <a:pt x="97" y="28"/>
                    </a:lnTo>
                    <a:lnTo>
                      <a:pt x="78" y="15"/>
                    </a:lnTo>
                    <a:lnTo>
                      <a:pt x="45" y="33"/>
                    </a:lnTo>
                    <a:lnTo>
                      <a:pt x="45" y="57"/>
                    </a:lnTo>
                    <a:lnTo>
                      <a:pt x="7" y="8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7" name="Freeform 199"/>
              <p:cNvSpPr>
                <a:spLocks/>
              </p:cNvSpPr>
              <p:nvPr/>
            </p:nvSpPr>
            <p:spPr bwMode="auto">
              <a:xfrm>
                <a:off x="2694" y="2687"/>
                <a:ext cx="399" cy="268"/>
              </a:xfrm>
              <a:custGeom>
                <a:avLst/>
                <a:gdLst>
                  <a:gd name="T0" fmla="*/ 44 w 399"/>
                  <a:gd name="T1" fmla="*/ 16 h 268"/>
                  <a:gd name="T2" fmla="*/ 32 w 399"/>
                  <a:gd name="T3" fmla="*/ 33 h 268"/>
                  <a:gd name="T4" fmla="*/ 35 w 399"/>
                  <a:gd name="T5" fmla="*/ 84 h 268"/>
                  <a:gd name="T6" fmla="*/ 9 w 399"/>
                  <a:gd name="T7" fmla="*/ 84 h 268"/>
                  <a:gd name="T8" fmla="*/ 0 w 399"/>
                  <a:gd name="T9" fmla="*/ 102 h 268"/>
                  <a:gd name="T10" fmla="*/ 15 w 399"/>
                  <a:gd name="T11" fmla="*/ 117 h 268"/>
                  <a:gd name="T12" fmla="*/ 12 w 399"/>
                  <a:gd name="T13" fmla="*/ 147 h 268"/>
                  <a:gd name="T14" fmla="*/ 39 w 399"/>
                  <a:gd name="T15" fmla="*/ 166 h 268"/>
                  <a:gd name="T16" fmla="*/ 65 w 399"/>
                  <a:gd name="T17" fmla="*/ 213 h 268"/>
                  <a:gd name="T18" fmla="*/ 120 w 399"/>
                  <a:gd name="T19" fmla="*/ 256 h 268"/>
                  <a:gd name="T20" fmla="*/ 167 w 399"/>
                  <a:gd name="T21" fmla="*/ 268 h 268"/>
                  <a:gd name="T22" fmla="*/ 210 w 399"/>
                  <a:gd name="T23" fmla="*/ 250 h 268"/>
                  <a:gd name="T24" fmla="*/ 221 w 399"/>
                  <a:gd name="T25" fmla="*/ 234 h 268"/>
                  <a:gd name="T26" fmla="*/ 257 w 399"/>
                  <a:gd name="T27" fmla="*/ 226 h 268"/>
                  <a:gd name="T28" fmla="*/ 309 w 399"/>
                  <a:gd name="T29" fmla="*/ 234 h 268"/>
                  <a:gd name="T30" fmla="*/ 336 w 399"/>
                  <a:gd name="T31" fmla="*/ 190 h 268"/>
                  <a:gd name="T32" fmla="*/ 350 w 399"/>
                  <a:gd name="T33" fmla="*/ 144 h 268"/>
                  <a:gd name="T34" fmla="*/ 351 w 399"/>
                  <a:gd name="T35" fmla="*/ 114 h 268"/>
                  <a:gd name="T36" fmla="*/ 396 w 399"/>
                  <a:gd name="T37" fmla="*/ 72 h 268"/>
                  <a:gd name="T38" fmla="*/ 399 w 399"/>
                  <a:gd name="T39" fmla="*/ 16 h 268"/>
                  <a:gd name="T40" fmla="*/ 332 w 399"/>
                  <a:gd name="T41" fmla="*/ 0 h 268"/>
                  <a:gd name="T42" fmla="*/ 269 w 399"/>
                  <a:gd name="T43" fmla="*/ 19 h 268"/>
                  <a:gd name="T44" fmla="*/ 246 w 399"/>
                  <a:gd name="T45" fmla="*/ 30 h 268"/>
                  <a:gd name="T46" fmla="*/ 225 w 399"/>
                  <a:gd name="T47" fmla="*/ 13 h 268"/>
                  <a:gd name="T48" fmla="*/ 161 w 399"/>
                  <a:gd name="T49" fmla="*/ 22 h 268"/>
                  <a:gd name="T50" fmla="*/ 171 w 399"/>
                  <a:gd name="T51" fmla="*/ 52 h 268"/>
                  <a:gd name="T52" fmla="*/ 80 w 399"/>
                  <a:gd name="T53" fmla="*/ 45 h 268"/>
                  <a:gd name="T54" fmla="*/ 53 w 399"/>
                  <a:gd name="T55" fmla="*/ 30 h 268"/>
                  <a:gd name="T56" fmla="*/ 44 w 399"/>
                  <a:gd name="T57" fmla="*/ 16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99" h="268">
                    <a:moveTo>
                      <a:pt x="44" y="16"/>
                    </a:moveTo>
                    <a:lnTo>
                      <a:pt x="32" y="33"/>
                    </a:lnTo>
                    <a:lnTo>
                      <a:pt x="35" y="84"/>
                    </a:lnTo>
                    <a:lnTo>
                      <a:pt x="9" y="84"/>
                    </a:lnTo>
                    <a:lnTo>
                      <a:pt x="0" y="102"/>
                    </a:lnTo>
                    <a:lnTo>
                      <a:pt x="15" y="117"/>
                    </a:lnTo>
                    <a:lnTo>
                      <a:pt x="12" y="147"/>
                    </a:lnTo>
                    <a:lnTo>
                      <a:pt x="39" y="166"/>
                    </a:lnTo>
                    <a:lnTo>
                      <a:pt x="65" y="213"/>
                    </a:lnTo>
                    <a:lnTo>
                      <a:pt x="120" y="256"/>
                    </a:lnTo>
                    <a:lnTo>
                      <a:pt x="167" y="268"/>
                    </a:lnTo>
                    <a:lnTo>
                      <a:pt x="210" y="250"/>
                    </a:lnTo>
                    <a:lnTo>
                      <a:pt x="221" y="234"/>
                    </a:lnTo>
                    <a:lnTo>
                      <a:pt x="257" y="226"/>
                    </a:lnTo>
                    <a:lnTo>
                      <a:pt x="309" y="234"/>
                    </a:lnTo>
                    <a:lnTo>
                      <a:pt x="336" y="190"/>
                    </a:lnTo>
                    <a:lnTo>
                      <a:pt x="350" y="144"/>
                    </a:lnTo>
                    <a:lnTo>
                      <a:pt x="351" y="114"/>
                    </a:lnTo>
                    <a:lnTo>
                      <a:pt x="396" y="72"/>
                    </a:lnTo>
                    <a:lnTo>
                      <a:pt x="399" y="16"/>
                    </a:lnTo>
                    <a:lnTo>
                      <a:pt x="332" y="0"/>
                    </a:lnTo>
                    <a:lnTo>
                      <a:pt x="269" y="19"/>
                    </a:lnTo>
                    <a:lnTo>
                      <a:pt x="246" y="30"/>
                    </a:lnTo>
                    <a:lnTo>
                      <a:pt x="225" y="13"/>
                    </a:lnTo>
                    <a:lnTo>
                      <a:pt x="161" y="22"/>
                    </a:lnTo>
                    <a:lnTo>
                      <a:pt x="171" y="52"/>
                    </a:lnTo>
                    <a:lnTo>
                      <a:pt x="80" y="45"/>
                    </a:lnTo>
                    <a:lnTo>
                      <a:pt x="53" y="30"/>
                    </a:lnTo>
                    <a:lnTo>
                      <a:pt x="44" y="1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8" name="Freeform 200"/>
              <p:cNvSpPr>
                <a:spLocks/>
              </p:cNvSpPr>
              <p:nvPr/>
            </p:nvSpPr>
            <p:spPr bwMode="auto">
              <a:xfrm>
                <a:off x="2348" y="2631"/>
                <a:ext cx="391" cy="216"/>
              </a:xfrm>
              <a:custGeom>
                <a:avLst/>
                <a:gdLst>
                  <a:gd name="T0" fmla="*/ 348 w 391"/>
                  <a:gd name="T1" fmla="*/ 158 h 216"/>
                  <a:gd name="T2" fmla="*/ 330 w 391"/>
                  <a:gd name="T3" fmla="*/ 171 h 216"/>
                  <a:gd name="T4" fmla="*/ 273 w 391"/>
                  <a:gd name="T5" fmla="*/ 167 h 216"/>
                  <a:gd name="T6" fmla="*/ 247 w 391"/>
                  <a:gd name="T7" fmla="*/ 192 h 216"/>
                  <a:gd name="T8" fmla="*/ 199 w 391"/>
                  <a:gd name="T9" fmla="*/ 189 h 216"/>
                  <a:gd name="T10" fmla="*/ 192 w 391"/>
                  <a:gd name="T11" fmla="*/ 209 h 216"/>
                  <a:gd name="T12" fmla="*/ 178 w 391"/>
                  <a:gd name="T13" fmla="*/ 204 h 216"/>
                  <a:gd name="T14" fmla="*/ 126 w 391"/>
                  <a:gd name="T15" fmla="*/ 206 h 216"/>
                  <a:gd name="T16" fmla="*/ 117 w 391"/>
                  <a:gd name="T17" fmla="*/ 216 h 216"/>
                  <a:gd name="T18" fmla="*/ 85 w 391"/>
                  <a:gd name="T19" fmla="*/ 195 h 216"/>
                  <a:gd name="T20" fmla="*/ 67 w 391"/>
                  <a:gd name="T21" fmla="*/ 200 h 216"/>
                  <a:gd name="T22" fmla="*/ 51 w 391"/>
                  <a:gd name="T23" fmla="*/ 182 h 216"/>
                  <a:gd name="T24" fmla="*/ 45 w 391"/>
                  <a:gd name="T25" fmla="*/ 194 h 216"/>
                  <a:gd name="T26" fmla="*/ 25 w 391"/>
                  <a:gd name="T27" fmla="*/ 194 h 216"/>
                  <a:gd name="T28" fmla="*/ 7 w 391"/>
                  <a:gd name="T29" fmla="*/ 180 h 216"/>
                  <a:gd name="T30" fmla="*/ 0 w 391"/>
                  <a:gd name="T31" fmla="*/ 155 h 216"/>
                  <a:gd name="T32" fmla="*/ 9 w 391"/>
                  <a:gd name="T33" fmla="*/ 137 h 216"/>
                  <a:gd name="T34" fmla="*/ 54 w 391"/>
                  <a:gd name="T35" fmla="*/ 125 h 216"/>
                  <a:gd name="T36" fmla="*/ 79 w 391"/>
                  <a:gd name="T37" fmla="*/ 108 h 216"/>
                  <a:gd name="T38" fmla="*/ 126 w 391"/>
                  <a:gd name="T39" fmla="*/ 114 h 216"/>
                  <a:gd name="T40" fmla="*/ 156 w 391"/>
                  <a:gd name="T41" fmla="*/ 126 h 216"/>
                  <a:gd name="T42" fmla="*/ 156 w 391"/>
                  <a:gd name="T43" fmla="*/ 110 h 216"/>
                  <a:gd name="T44" fmla="*/ 139 w 391"/>
                  <a:gd name="T45" fmla="*/ 86 h 216"/>
                  <a:gd name="T46" fmla="*/ 156 w 391"/>
                  <a:gd name="T47" fmla="*/ 72 h 216"/>
                  <a:gd name="T48" fmla="*/ 175 w 391"/>
                  <a:gd name="T49" fmla="*/ 68 h 216"/>
                  <a:gd name="T50" fmla="*/ 175 w 391"/>
                  <a:gd name="T51" fmla="*/ 32 h 216"/>
                  <a:gd name="T52" fmla="*/ 195 w 391"/>
                  <a:gd name="T53" fmla="*/ 18 h 216"/>
                  <a:gd name="T54" fmla="*/ 207 w 391"/>
                  <a:gd name="T55" fmla="*/ 29 h 216"/>
                  <a:gd name="T56" fmla="*/ 234 w 391"/>
                  <a:gd name="T57" fmla="*/ 44 h 216"/>
                  <a:gd name="T58" fmla="*/ 265 w 391"/>
                  <a:gd name="T59" fmla="*/ 0 h 216"/>
                  <a:gd name="T60" fmla="*/ 294 w 391"/>
                  <a:gd name="T61" fmla="*/ 3 h 216"/>
                  <a:gd name="T62" fmla="*/ 315 w 391"/>
                  <a:gd name="T63" fmla="*/ 23 h 216"/>
                  <a:gd name="T64" fmla="*/ 375 w 391"/>
                  <a:gd name="T65" fmla="*/ 24 h 216"/>
                  <a:gd name="T66" fmla="*/ 373 w 391"/>
                  <a:gd name="T67" fmla="*/ 44 h 216"/>
                  <a:gd name="T68" fmla="*/ 391 w 391"/>
                  <a:gd name="T69" fmla="*/ 74 h 216"/>
                  <a:gd name="T70" fmla="*/ 379 w 391"/>
                  <a:gd name="T71" fmla="*/ 89 h 216"/>
                  <a:gd name="T72" fmla="*/ 382 w 391"/>
                  <a:gd name="T73" fmla="*/ 140 h 216"/>
                  <a:gd name="T74" fmla="*/ 355 w 391"/>
                  <a:gd name="T75" fmla="*/ 138 h 216"/>
                  <a:gd name="T76" fmla="*/ 348 w 391"/>
                  <a:gd name="T77" fmla="*/ 158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91" h="216">
                    <a:moveTo>
                      <a:pt x="348" y="158"/>
                    </a:moveTo>
                    <a:lnTo>
                      <a:pt x="330" y="171"/>
                    </a:lnTo>
                    <a:lnTo>
                      <a:pt x="273" y="167"/>
                    </a:lnTo>
                    <a:lnTo>
                      <a:pt x="247" y="192"/>
                    </a:lnTo>
                    <a:lnTo>
                      <a:pt x="199" y="189"/>
                    </a:lnTo>
                    <a:lnTo>
                      <a:pt x="192" y="209"/>
                    </a:lnTo>
                    <a:lnTo>
                      <a:pt x="178" y="204"/>
                    </a:lnTo>
                    <a:lnTo>
                      <a:pt x="126" y="206"/>
                    </a:lnTo>
                    <a:lnTo>
                      <a:pt x="117" y="216"/>
                    </a:lnTo>
                    <a:lnTo>
                      <a:pt x="85" y="195"/>
                    </a:lnTo>
                    <a:lnTo>
                      <a:pt x="67" y="200"/>
                    </a:lnTo>
                    <a:lnTo>
                      <a:pt x="51" y="182"/>
                    </a:lnTo>
                    <a:lnTo>
                      <a:pt x="45" y="194"/>
                    </a:lnTo>
                    <a:lnTo>
                      <a:pt x="25" y="194"/>
                    </a:lnTo>
                    <a:lnTo>
                      <a:pt x="7" y="180"/>
                    </a:lnTo>
                    <a:lnTo>
                      <a:pt x="0" y="155"/>
                    </a:lnTo>
                    <a:lnTo>
                      <a:pt x="9" y="137"/>
                    </a:lnTo>
                    <a:lnTo>
                      <a:pt x="54" y="125"/>
                    </a:lnTo>
                    <a:lnTo>
                      <a:pt x="79" y="108"/>
                    </a:lnTo>
                    <a:lnTo>
                      <a:pt x="126" y="114"/>
                    </a:lnTo>
                    <a:lnTo>
                      <a:pt x="156" y="126"/>
                    </a:lnTo>
                    <a:lnTo>
                      <a:pt x="156" y="110"/>
                    </a:lnTo>
                    <a:lnTo>
                      <a:pt x="139" y="86"/>
                    </a:lnTo>
                    <a:lnTo>
                      <a:pt x="156" y="72"/>
                    </a:lnTo>
                    <a:lnTo>
                      <a:pt x="175" y="68"/>
                    </a:lnTo>
                    <a:lnTo>
                      <a:pt x="175" y="32"/>
                    </a:lnTo>
                    <a:lnTo>
                      <a:pt x="195" y="18"/>
                    </a:lnTo>
                    <a:lnTo>
                      <a:pt x="207" y="29"/>
                    </a:lnTo>
                    <a:lnTo>
                      <a:pt x="234" y="44"/>
                    </a:lnTo>
                    <a:lnTo>
                      <a:pt x="265" y="0"/>
                    </a:lnTo>
                    <a:lnTo>
                      <a:pt x="294" y="3"/>
                    </a:lnTo>
                    <a:lnTo>
                      <a:pt x="315" y="23"/>
                    </a:lnTo>
                    <a:lnTo>
                      <a:pt x="375" y="24"/>
                    </a:lnTo>
                    <a:lnTo>
                      <a:pt x="373" y="44"/>
                    </a:lnTo>
                    <a:lnTo>
                      <a:pt x="391" y="74"/>
                    </a:lnTo>
                    <a:lnTo>
                      <a:pt x="379" y="89"/>
                    </a:lnTo>
                    <a:lnTo>
                      <a:pt x="382" y="140"/>
                    </a:lnTo>
                    <a:lnTo>
                      <a:pt x="355" y="138"/>
                    </a:lnTo>
                    <a:lnTo>
                      <a:pt x="348" y="15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9" name="Freeform 201"/>
              <p:cNvSpPr>
                <a:spLocks/>
              </p:cNvSpPr>
              <p:nvPr/>
            </p:nvSpPr>
            <p:spPr bwMode="auto">
              <a:xfrm>
                <a:off x="2514" y="2789"/>
                <a:ext cx="195" cy="177"/>
              </a:xfrm>
              <a:custGeom>
                <a:avLst/>
                <a:gdLst>
                  <a:gd name="T0" fmla="*/ 195 w 195"/>
                  <a:gd name="T1" fmla="*/ 48 h 177"/>
                  <a:gd name="T2" fmla="*/ 171 w 195"/>
                  <a:gd name="T3" fmla="*/ 64 h 177"/>
                  <a:gd name="T4" fmla="*/ 138 w 195"/>
                  <a:gd name="T5" fmla="*/ 66 h 177"/>
                  <a:gd name="T6" fmla="*/ 132 w 195"/>
                  <a:gd name="T7" fmla="*/ 118 h 177"/>
                  <a:gd name="T8" fmla="*/ 110 w 195"/>
                  <a:gd name="T9" fmla="*/ 136 h 177"/>
                  <a:gd name="T10" fmla="*/ 90 w 195"/>
                  <a:gd name="T11" fmla="*/ 121 h 177"/>
                  <a:gd name="T12" fmla="*/ 84 w 195"/>
                  <a:gd name="T13" fmla="*/ 157 h 177"/>
                  <a:gd name="T14" fmla="*/ 51 w 195"/>
                  <a:gd name="T15" fmla="*/ 174 h 177"/>
                  <a:gd name="T16" fmla="*/ 9 w 195"/>
                  <a:gd name="T17" fmla="*/ 177 h 177"/>
                  <a:gd name="T18" fmla="*/ 11 w 195"/>
                  <a:gd name="T19" fmla="*/ 159 h 177"/>
                  <a:gd name="T20" fmla="*/ 30 w 195"/>
                  <a:gd name="T21" fmla="*/ 145 h 177"/>
                  <a:gd name="T22" fmla="*/ 15 w 195"/>
                  <a:gd name="T23" fmla="*/ 136 h 177"/>
                  <a:gd name="T24" fmla="*/ 20 w 195"/>
                  <a:gd name="T25" fmla="*/ 121 h 177"/>
                  <a:gd name="T26" fmla="*/ 20 w 195"/>
                  <a:gd name="T27" fmla="*/ 94 h 177"/>
                  <a:gd name="T28" fmla="*/ 3 w 195"/>
                  <a:gd name="T29" fmla="*/ 81 h 177"/>
                  <a:gd name="T30" fmla="*/ 0 w 195"/>
                  <a:gd name="T31" fmla="*/ 63 h 177"/>
                  <a:gd name="T32" fmla="*/ 15 w 195"/>
                  <a:gd name="T33" fmla="*/ 48 h 177"/>
                  <a:gd name="T34" fmla="*/ 24 w 195"/>
                  <a:gd name="T35" fmla="*/ 54 h 177"/>
                  <a:gd name="T36" fmla="*/ 35 w 195"/>
                  <a:gd name="T37" fmla="*/ 33 h 177"/>
                  <a:gd name="T38" fmla="*/ 83 w 195"/>
                  <a:gd name="T39" fmla="*/ 33 h 177"/>
                  <a:gd name="T40" fmla="*/ 105 w 195"/>
                  <a:gd name="T41" fmla="*/ 9 h 177"/>
                  <a:gd name="T42" fmla="*/ 164 w 195"/>
                  <a:gd name="T43" fmla="*/ 12 h 177"/>
                  <a:gd name="T44" fmla="*/ 182 w 195"/>
                  <a:gd name="T45" fmla="*/ 0 h 177"/>
                  <a:gd name="T46" fmla="*/ 195 w 195"/>
                  <a:gd name="T47" fmla="*/ 16 h 177"/>
                  <a:gd name="T48" fmla="*/ 195 w 195"/>
                  <a:gd name="T49" fmla="*/ 48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95" h="177">
                    <a:moveTo>
                      <a:pt x="195" y="48"/>
                    </a:moveTo>
                    <a:lnTo>
                      <a:pt x="171" y="64"/>
                    </a:lnTo>
                    <a:lnTo>
                      <a:pt x="138" y="66"/>
                    </a:lnTo>
                    <a:lnTo>
                      <a:pt x="132" y="118"/>
                    </a:lnTo>
                    <a:lnTo>
                      <a:pt x="110" y="136"/>
                    </a:lnTo>
                    <a:lnTo>
                      <a:pt x="90" y="121"/>
                    </a:lnTo>
                    <a:lnTo>
                      <a:pt x="84" y="157"/>
                    </a:lnTo>
                    <a:lnTo>
                      <a:pt x="51" y="174"/>
                    </a:lnTo>
                    <a:lnTo>
                      <a:pt x="9" y="177"/>
                    </a:lnTo>
                    <a:lnTo>
                      <a:pt x="11" y="159"/>
                    </a:lnTo>
                    <a:lnTo>
                      <a:pt x="30" y="145"/>
                    </a:lnTo>
                    <a:lnTo>
                      <a:pt x="15" y="136"/>
                    </a:lnTo>
                    <a:lnTo>
                      <a:pt x="20" y="121"/>
                    </a:lnTo>
                    <a:lnTo>
                      <a:pt x="20" y="94"/>
                    </a:lnTo>
                    <a:lnTo>
                      <a:pt x="3" y="81"/>
                    </a:lnTo>
                    <a:lnTo>
                      <a:pt x="0" y="63"/>
                    </a:lnTo>
                    <a:lnTo>
                      <a:pt x="15" y="48"/>
                    </a:lnTo>
                    <a:lnTo>
                      <a:pt x="24" y="54"/>
                    </a:lnTo>
                    <a:lnTo>
                      <a:pt x="35" y="33"/>
                    </a:lnTo>
                    <a:lnTo>
                      <a:pt x="83" y="33"/>
                    </a:lnTo>
                    <a:lnTo>
                      <a:pt x="105" y="9"/>
                    </a:lnTo>
                    <a:lnTo>
                      <a:pt x="164" y="12"/>
                    </a:lnTo>
                    <a:lnTo>
                      <a:pt x="182" y="0"/>
                    </a:lnTo>
                    <a:lnTo>
                      <a:pt x="195" y="16"/>
                    </a:lnTo>
                    <a:lnTo>
                      <a:pt x="195" y="4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0" name="Freeform 202"/>
              <p:cNvSpPr>
                <a:spLocks/>
              </p:cNvSpPr>
              <p:nvPr/>
            </p:nvSpPr>
            <p:spPr bwMode="auto">
              <a:xfrm>
                <a:off x="2525" y="2837"/>
                <a:ext cx="358" cy="363"/>
              </a:xfrm>
              <a:custGeom>
                <a:avLst/>
                <a:gdLst>
                  <a:gd name="T0" fmla="*/ 340 w 358"/>
                  <a:gd name="T1" fmla="*/ 120 h 363"/>
                  <a:gd name="T2" fmla="*/ 342 w 358"/>
                  <a:gd name="T3" fmla="*/ 136 h 363"/>
                  <a:gd name="T4" fmla="*/ 358 w 358"/>
                  <a:gd name="T5" fmla="*/ 156 h 363"/>
                  <a:gd name="T6" fmla="*/ 337 w 358"/>
                  <a:gd name="T7" fmla="*/ 178 h 363"/>
                  <a:gd name="T8" fmla="*/ 303 w 358"/>
                  <a:gd name="T9" fmla="*/ 178 h 363"/>
                  <a:gd name="T10" fmla="*/ 280 w 358"/>
                  <a:gd name="T11" fmla="*/ 157 h 363"/>
                  <a:gd name="T12" fmla="*/ 241 w 358"/>
                  <a:gd name="T13" fmla="*/ 150 h 363"/>
                  <a:gd name="T14" fmla="*/ 208 w 358"/>
                  <a:gd name="T15" fmla="*/ 160 h 363"/>
                  <a:gd name="T16" fmla="*/ 186 w 358"/>
                  <a:gd name="T17" fmla="*/ 141 h 363"/>
                  <a:gd name="T18" fmla="*/ 174 w 358"/>
                  <a:gd name="T19" fmla="*/ 154 h 363"/>
                  <a:gd name="T20" fmla="*/ 150 w 358"/>
                  <a:gd name="T21" fmla="*/ 130 h 363"/>
                  <a:gd name="T22" fmla="*/ 139 w 358"/>
                  <a:gd name="T23" fmla="*/ 145 h 363"/>
                  <a:gd name="T24" fmla="*/ 168 w 358"/>
                  <a:gd name="T25" fmla="*/ 201 h 363"/>
                  <a:gd name="T26" fmla="*/ 171 w 358"/>
                  <a:gd name="T27" fmla="*/ 231 h 363"/>
                  <a:gd name="T28" fmla="*/ 262 w 358"/>
                  <a:gd name="T29" fmla="*/ 325 h 363"/>
                  <a:gd name="T30" fmla="*/ 288 w 358"/>
                  <a:gd name="T31" fmla="*/ 342 h 363"/>
                  <a:gd name="T32" fmla="*/ 292 w 358"/>
                  <a:gd name="T33" fmla="*/ 363 h 363"/>
                  <a:gd name="T34" fmla="*/ 255 w 358"/>
                  <a:gd name="T35" fmla="*/ 328 h 363"/>
                  <a:gd name="T36" fmla="*/ 243 w 358"/>
                  <a:gd name="T37" fmla="*/ 333 h 363"/>
                  <a:gd name="T38" fmla="*/ 178 w 358"/>
                  <a:gd name="T39" fmla="*/ 270 h 363"/>
                  <a:gd name="T40" fmla="*/ 163 w 358"/>
                  <a:gd name="T41" fmla="*/ 276 h 363"/>
                  <a:gd name="T42" fmla="*/ 94 w 358"/>
                  <a:gd name="T43" fmla="*/ 235 h 363"/>
                  <a:gd name="T44" fmla="*/ 117 w 358"/>
                  <a:gd name="T45" fmla="*/ 220 h 363"/>
                  <a:gd name="T46" fmla="*/ 72 w 358"/>
                  <a:gd name="T47" fmla="*/ 177 h 363"/>
                  <a:gd name="T48" fmla="*/ 84 w 358"/>
                  <a:gd name="T49" fmla="*/ 148 h 363"/>
                  <a:gd name="T50" fmla="*/ 66 w 358"/>
                  <a:gd name="T51" fmla="*/ 121 h 363"/>
                  <a:gd name="T52" fmla="*/ 49 w 358"/>
                  <a:gd name="T53" fmla="*/ 132 h 363"/>
                  <a:gd name="T54" fmla="*/ 48 w 358"/>
                  <a:gd name="T55" fmla="*/ 162 h 363"/>
                  <a:gd name="T56" fmla="*/ 28 w 358"/>
                  <a:gd name="T57" fmla="*/ 154 h 363"/>
                  <a:gd name="T58" fmla="*/ 27 w 358"/>
                  <a:gd name="T59" fmla="*/ 178 h 363"/>
                  <a:gd name="T60" fmla="*/ 13 w 358"/>
                  <a:gd name="T61" fmla="*/ 178 h 363"/>
                  <a:gd name="T62" fmla="*/ 0 w 358"/>
                  <a:gd name="T63" fmla="*/ 127 h 363"/>
                  <a:gd name="T64" fmla="*/ 13 w 358"/>
                  <a:gd name="T65" fmla="*/ 126 h 363"/>
                  <a:gd name="T66" fmla="*/ 39 w 358"/>
                  <a:gd name="T67" fmla="*/ 127 h 363"/>
                  <a:gd name="T68" fmla="*/ 73 w 358"/>
                  <a:gd name="T69" fmla="*/ 111 h 363"/>
                  <a:gd name="T70" fmla="*/ 79 w 358"/>
                  <a:gd name="T71" fmla="*/ 73 h 363"/>
                  <a:gd name="T72" fmla="*/ 102 w 358"/>
                  <a:gd name="T73" fmla="*/ 91 h 363"/>
                  <a:gd name="T74" fmla="*/ 121 w 358"/>
                  <a:gd name="T75" fmla="*/ 72 h 363"/>
                  <a:gd name="T76" fmla="*/ 127 w 358"/>
                  <a:gd name="T77" fmla="*/ 16 h 363"/>
                  <a:gd name="T78" fmla="*/ 162 w 358"/>
                  <a:gd name="T79" fmla="*/ 19 h 363"/>
                  <a:gd name="T80" fmla="*/ 184 w 358"/>
                  <a:gd name="T81" fmla="*/ 0 h 363"/>
                  <a:gd name="T82" fmla="*/ 207 w 358"/>
                  <a:gd name="T83" fmla="*/ 13 h 363"/>
                  <a:gd name="T84" fmla="*/ 234 w 358"/>
                  <a:gd name="T85" fmla="*/ 60 h 363"/>
                  <a:gd name="T86" fmla="*/ 289 w 358"/>
                  <a:gd name="T87" fmla="*/ 108 h 363"/>
                  <a:gd name="T88" fmla="*/ 340 w 358"/>
                  <a:gd name="T89" fmla="*/ 120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58" h="363">
                    <a:moveTo>
                      <a:pt x="340" y="120"/>
                    </a:moveTo>
                    <a:lnTo>
                      <a:pt x="342" y="136"/>
                    </a:lnTo>
                    <a:lnTo>
                      <a:pt x="358" y="156"/>
                    </a:lnTo>
                    <a:lnTo>
                      <a:pt x="337" y="178"/>
                    </a:lnTo>
                    <a:lnTo>
                      <a:pt x="303" y="178"/>
                    </a:lnTo>
                    <a:lnTo>
                      <a:pt x="280" y="157"/>
                    </a:lnTo>
                    <a:lnTo>
                      <a:pt x="241" y="150"/>
                    </a:lnTo>
                    <a:lnTo>
                      <a:pt x="208" y="160"/>
                    </a:lnTo>
                    <a:lnTo>
                      <a:pt x="186" y="141"/>
                    </a:lnTo>
                    <a:lnTo>
                      <a:pt x="174" y="154"/>
                    </a:lnTo>
                    <a:lnTo>
                      <a:pt x="150" y="130"/>
                    </a:lnTo>
                    <a:lnTo>
                      <a:pt x="139" y="145"/>
                    </a:lnTo>
                    <a:lnTo>
                      <a:pt x="168" y="201"/>
                    </a:lnTo>
                    <a:lnTo>
                      <a:pt x="171" y="231"/>
                    </a:lnTo>
                    <a:lnTo>
                      <a:pt x="262" y="325"/>
                    </a:lnTo>
                    <a:lnTo>
                      <a:pt x="288" y="342"/>
                    </a:lnTo>
                    <a:lnTo>
                      <a:pt x="292" y="363"/>
                    </a:lnTo>
                    <a:lnTo>
                      <a:pt x="255" y="328"/>
                    </a:lnTo>
                    <a:lnTo>
                      <a:pt x="243" y="333"/>
                    </a:lnTo>
                    <a:lnTo>
                      <a:pt x="178" y="270"/>
                    </a:lnTo>
                    <a:lnTo>
                      <a:pt x="163" y="276"/>
                    </a:lnTo>
                    <a:lnTo>
                      <a:pt x="94" y="235"/>
                    </a:lnTo>
                    <a:lnTo>
                      <a:pt x="117" y="220"/>
                    </a:lnTo>
                    <a:lnTo>
                      <a:pt x="72" y="177"/>
                    </a:lnTo>
                    <a:lnTo>
                      <a:pt x="84" y="148"/>
                    </a:lnTo>
                    <a:lnTo>
                      <a:pt x="66" y="121"/>
                    </a:lnTo>
                    <a:lnTo>
                      <a:pt x="49" y="132"/>
                    </a:lnTo>
                    <a:lnTo>
                      <a:pt x="48" y="162"/>
                    </a:lnTo>
                    <a:lnTo>
                      <a:pt x="28" y="154"/>
                    </a:lnTo>
                    <a:lnTo>
                      <a:pt x="27" y="178"/>
                    </a:lnTo>
                    <a:lnTo>
                      <a:pt x="13" y="178"/>
                    </a:lnTo>
                    <a:lnTo>
                      <a:pt x="0" y="127"/>
                    </a:lnTo>
                    <a:lnTo>
                      <a:pt x="13" y="126"/>
                    </a:lnTo>
                    <a:lnTo>
                      <a:pt x="39" y="127"/>
                    </a:lnTo>
                    <a:lnTo>
                      <a:pt x="73" y="111"/>
                    </a:lnTo>
                    <a:lnTo>
                      <a:pt x="79" y="73"/>
                    </a:lnTo>
                    <a:lnTo>
                      <a:pt x="102" y="91"/>
                    </a:lnTo>
                    <a:lnTo>
                      <a:pt x="121" y="72"/>
                    </a:lnTo>
                    <a:lnTo>
                      <a:pt x="127" y="16"/>
                    </a:lnTo>
                    <a:lnTo>
                      <a:pt x="162" y="19"/>
                    </a:lnTo>
                    <a:lnTo>
                      <a:pt x="184" y="0"/>
                    </a:lnTo>
                    <a:lnTo>
                      <a:pt x="207" y="13"/>
                    </a:lnTo>
                    <a:lnTo>
                      <a:pt x="234" y="60"/>
                    </a:lnTo>
                    <a:lnTo>
                      <a:pt x="289" y="108"/>
                    </a:lnTo>
                    <a:lnTo>
                      <a:pt x="340" y="12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1" name="Freeform 203"/>
              <p:cNvSpPr>
                <a:spLocks/>
              </p:cNvSpPr>
              <p:nvPr/>
            </p:nvSpPr>
            <p:spPr bwMode="auto">
              <a:xfrm>
                <a:off x="2664" y="2969"/>
                <a:ext cx="225" cy="211"/>
              </a:xfrm>
              <a:custGeom>
                <a:avLst/>
                <a:gdLst>
                  <a:gd name="T0" fmla="*/ 201 w 225"/>
                  <a:gd name="T1" fmla="*/ 45 h 211"/>
                  <a:gd name="T2" fmla="*/ 204 w 225"/>
                  <a:gd name="T3" fmla="*/ 63 h 211"/>
                  <a:gd name="T4" fmla="*/ 225 w 225"/>
                  <a:gd name="T5" fmla="*/ 85 h 211"/>
                  <a:gd name="T6" fmla="*/ 195 w 225"/>
                  <a:gd name="T7" fmla="*/ 94 h 211"/>
                  <a:gd name="T8" fmla="*/ 221 w 225"/>
                  <a:gd name="T9" fmla="*/ 112 h 211"/>
                  <a:gd name="T10" fmla="*/ 225 w 225"/>
                  <a:gd name="T11" fmla="*/ 126 h 211"/>
                  <a:gd name="T12" fmla="*/ 191 w 225"/>
                  <a:gd name="T13" fmla="*/ 135 h 211"/>
                  <a:gd name="T14" fmla="*/ 185 w 225"/>
                  <a:gd name="T15" fmla="*/ 156 h 211"/>
                  <a:gd name="T16" fmla="*/ 162 w 225"/>
                  <a:gd name="T17" fmla="*/ 165 h 211"/>
                  <a:gd name="T18" fmla="*/ 149 w 225"/>
                  <a:gd name="T19" fmla="*/ 189 h 211"/>
                  <a:gd name="T20" fmla="*/ 149 w 225"/>
                  <a:gd name="T21" fmla="*/ 211 h 211"/>
                  <a:gd name="T22" fmla="*/ 116 w 225"/>
                  <a:gd name="T23" fmla="*/ 187 h 211"/>
                  <a:gd name="T24" fmla="*/ 32 w 225"/>
                  <a:gd name="T25" fmla="*/ 99 h 211"/>
                  <a:gd name="T26" fmla="*/ 29 w 225"/>
                  <a:gd name="T27" fmla="*/ 73 h 211"/>
                  <a:gd name="T28" fmla="*/ 15 w 225"/>
                  <a:gd name="T29" fmla="*/ 40 h 211"/>
                  <a:gd name="T30" fmla="*/ 0 w 225"/>
                  <a:gd name="T31" fmla="*/ 12 h 211"/>
                  <a:gd name="T32" fmla="*/ 11 w 225"/>
                  <a:gd name="T33" fmla="*/ 0 h 211"/>
                  <a:gd name="T34" fmla="*/ 35 w 225"/>
                  <a:gd name="T35" fmla="*/ 25 h 211"/>
                  <a:gd name="T36" fmla="*/ 48 w 225"/>
                  <a:gd name="T37" fmla="*/ 9 h 211"/>
                  <a:gd name="T38" fmla="*/ 65 w 225"/>
                  <a:gd name="T39" fmla="*/ 28 h 211"/>
                  <a:gd name="T40" fmla="*/ 102 w 225"/>
                  <a:gd name="T41" fmla="*/ 18 h 211"/>
                  <a:gd name="T42" fmla="*/ 143 w 225"/>
                  <a:gd name="T43" fmla="*/ 27 h 211"/>
                  <a:gd name="T44" fmla="*/ 162 w 225"/>
                  <a:gd name="T45" fmla="*/ 45 h 211"/>
                  <a:gd name="T46" fmla="*/ 201 w 225"/>
                  <a:gd name="T47" fmla="*/ 45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25" h="211">
                    <a:moveTo>
                      <a:pt x="201" y="45"/>
                    </a:moveTo>
                    <a:lnTo>
                      <a:pt x="204" y="63"/>
                    </a:lnTo>
                    <a:lnTo>
                      <a:pt x="225" y="85"/>
                    </a:lnTo>
                    <a:lnTo>
                      <a:pt x="195" y="94"/>
                    </a:lnTo>
                    <a:lnTo>
                      <a:pt x="221" y="112"/>
                    </a:lnTo>
                    <a:lnTo>
                      <a:pt x="225" y="126"/>
                    </a:lnTo>
                    <a:lnTo>
                      <a:pt x="191" y="135"/>
                    </a:lnTo>
                    <a:lnTo>
                      <a:pt x="185" y="156"/>
                    </a:lnTo>
                    <a:lnTo>
                      <a:pt x="162" y="165"/>
                    </a:lnTo>
                    <a:lnTo>
                      <a:pt x="149" y="189"/>
                    </a:lnTo>
                    <a:lnTo>
                      <a:pt x="149" y="211"/>
                    </a:lnTo>
                    <a:lnTo>
                      <a:pt x="116" y="187"/>
                    </a:lnTo>
                    <a:lnTo>
                      <a:pt x="32" y="99"/>
                    </a:lnTo>
                    <a:lnTo>
                      <a:pt x="29" y="73"/>
                    </a:lnTo>
                    <a:lnTo>
                      <a:pt x="15" y="40"/>
                    </a:lnTo>
                    <a:lnTo>
                      <a:pt x="0" y="12"/>
                    </a:lnTo>
                    <a:lnTo>
                      <a:pt x="11" y="0"/>
                    </a:lnTo>
                    <a:lnTo>
                      <a:pt x="35" y="25"/>
                    </a:lnTo>
                    <a:lnTo>
                      <a:pt x="48" y="9"/>
                    </a:lnTo>
                    <a:lnTo>
                      <a:pt x="65" y="28"/>
                    </a:lnTo>
                    <a:lnTo>
                      <a:pt x="102" y="18"/>
                    </a:lnTo>
                    <a:lnTo>
                      <a:pt x="143" y="27"/>
                    </a:lnTo>
                    <a:lnTo>
                      <a:pt x="162" y="45"/>
                    </a:lnTo>
                    <a:lnTo>
                      <a:pt x="201" y="4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2" name="Freeform 204"/>
              <p:cNvSpPr>
                <a:spLocks/>
              </p:cNvSpPr>
              <p:nvPr/>
            </p:nvSpPr>
            <p:spPr bwMode="auto">
              <a:xfrm>
                <a:off x="2813" y="2915"/>
                <a:ext cx="294" cy="319"/>
              </a:xfrm>
              <a:custGeom>
                <a:avLst/>
                <a:gdLst>
                  <a:gd name="T0" fmla="*/ 166 w 294"/>
                  <a:gd name="T1" fmla="*/ 1 h 319"/>
                  <a:gd name="T2" fmla="*/ 189 w 294"/>
                  <a:gd name="T3" fmla="*/ 37 h 319"/>
                  <a:gd name="T4" fmla="*/ 187 w 294"/>
                  <a:gd name="T5" fmla="*/ 64 h 319"/>
                  <a:gd name="T6" fmla="*/ 208 w 294"/>
                  <a:gd name="T7" fmla="*/ 67 h 319"/>
                  <a:gd name="T8" fmla="*/ 225 w 294"/>
                  <a:gd name="T9" fmla="*/ 85 h 319"/>
                  <a:gd name="T10" fmla="*/ 240 w 294"/>
                  <a:gd name="T11" fmla="*/ 70 h 319"/>
                  <a:gd name="T12" fmla="*/ 268 w 294"/>
                  <a:gd name="T13" fmla="*/ 76 h 319"/>
                  <a:gd name="T14" fmla="*/ 280 w 294"/>
                  <a:gd name="T15" fmla="*/ 91 h 319"/>
                  <a:gd name="T16" fmla="*/ 256 w 294"/>
                  <a:gd name="T17" fmla="*/ 99 h 319"/>
                  <a:gd name="T18" fmla="*/ 271 w 294"/>
                  <a:gd name="T19" fmla="*/ 117 h 319"/>
                  <a:gd name="T20" fmla="*/ 294 w 294"/>
                  <a:gd name="T21" fmla="*/ 126 h 319"/>
                  <a:gd name="T22" fmla="*/ 246 w 294"/>
                  <a:gd name="T23" fmla="*/ 189 h 319"/>
                  <a:gd name="T24" fmla="*/ 256 w 294"/>
                  <a:gd name="T25" fmla="*/ 210 h 319"/>
                  <a:gd name="T26" fmla="*/ 291 w 294"/>
                  <a:gd name="T27" fmla="*/ 225 h 319"/>
                  <a:gd name="T28" fmla="*/ 264 w 294"/>
                  <a:gd name="T29" fmla="*/ 274 h 319"/>
                  <a:gd name="T30" fmla="*/ 196 w 294"/>
                  <a:gd name="T31" fmla="*/ 292 h 319"/>
                  <a:gd name="T32" fmla="*/ 184 w 294"/>
                  <a:gd name="T33" fmla="*/ 315 h 319"/>
                  <a:gd name="T34" fmla="*/ 172 w 294"/>
                  <a:gd name="T35" fmla="*/ 298 h 319"/>
                  <a:gd name="T36" fmla="*/ 142 w 294"/>
                  <a:gd name="T37" fmla="*/ 319 h 319"/>
                  <a:gd name="T38" fmla="*/ 109 w 294"/>
                  <a:gd name="T39" fmla="*/ 276 h 319"/>
                  <a:gd name="T40" fmla="*/ 93 w 294"/>
                  <a:gd name="T41" fmla="*/ 288 h 319"/>
                  <a:gd name="T42" fmla="*/ 82 w 294"/>
                  <a:gd name="T43" fmla="*/ 268 h 319"/>
                  <a:gd name="T44" fmla="*/ 49 w 294"/>
                  <a:gd name="T45" fmla="*/ 288 h 319"/>
                  <a:gd name="T46" fmla="*/ 45 w 294"/>
                  <a:gd name="T47" fmla="*/ 307 h 319"/>
                  <a:gd name="T48" fmla="*/ 25 w 294"/>
                  <a:gd name="T49" fmla="*/ 282 h 319"/>
                  <a:gd name="T50" fmla="*/ 3 w 294"/>
                  <a:gd name="T51" fmla="*/ 283 h 319"/>
                  <a:gd name="T52" fmla="*/ 0 w 294"/>
                  <a:gd name="T53" fmla="*/ 250 h 319"/>
                  <a:gd name="T54" fmla="*/ 13 w 294"/>
                  <a:gd name="T55" fmla="*/ 217 h 319"/>
                  <a:gd name="T56" fmla="*/ 37 w 294"/>
                  <a:gd name="T57" fmla="*/ 210 h 319"/>
                  <a:gd name="T58" fmla="*/ 42 w 294"/>
                  <a:gd name="T59" fmla="*/ 187 h 319"/>
                  <a:gd name="T60" fmla="*/ 76 w 294"/>
                  <a:gd name="T61" fmla="*/ 183 h 319"/>
                  <a:gd name="T62" fmla="*/ 72 w 294"/>
                  <a:gd name="T63" fmla="*/ 166 h 319"/>
                  <a:gd name="T64" fmla="*/ 45 w 294"/>
                  <a:gd name="T65" fmla="*/ 148 h 319"/>
                  <a:gd name="T66" fmla="*/ 73 w 294"/>
                  <a:gd name="T67" fmla="*/ 139 h 319"/>
                  <a:gd name="T68" fmla="*/ 54 w 294"/>
                  <a:gd name="T69" fmla="*/ 118 h 319"/>
                  <a:gd name="T70" fmla="*/ 51 w 294"/>
                  <a:gd name="T71" fmla="*/ 97 h 319"/>
                  <a:gd name="T72" fmla="*/ 69 w 294"/>
                  <a:gd name="T73" fmla="*/ 79 h 319"/>
                  <a:gd name="T74" fmla="*/ 54 w 294"/>
                  <a:gd name="T75" fmla="*/ 58 h 319"/>
                  <a:gd name="T76" fmla="*/ 54 w 294"/>
                  <a:gd name="T77" fmla="*/ 40 h 319"/>
                  <a:gd name="T78" fmla="*/ 94 w 294"/>
                  <a:gd name="T79" fmla="*/ 22 h 319"/>
                  <a:gd name="T80" fmla="*/ 100 w 294"/>
                  <a:gd name="T81" fmla="*/ 6 h 319"/>
                  <a:gd name="T82" fmla="*/ 138 w 294"/>
                  <a:gd name="T83" fmla="*/ 0 h 319"/>
                  <a:gd name="T84" fmla="*/ 166 w 294"/>
                  <a:gd name="T85" fmla="*/ 1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94" h="319">
                    <a:moveTo>
                      <a:pt x="166" y="1"/>
                    </a:moveTo>
                    <a:lnTo>
                      <a:pt x="189" y="37"/>
                    </a:lnTo>
                    <a:lnTo>
                      <a:pt x="187" y="64"/>
                    </a:lnTo>
                    <a:lnTo>
                      <a:pt x="208" y="67"/>
                    </a:lnTo>
                    <a:lnTo>
                      <a:pt x="225" y="85"/>
                    </a:lnTo>
                    <a:lnTo>
                      <a:pt x="240" y="70"/>
                    </a:lnTo>
                    <a:lnTo>
                      <a:pt x="268" y="76"/>
                    </a:lnTo>
                    <a:lnTo>
                      <a:pt x="280" y="91"/>
                    </a:lnTo>
                    <a:lnTo>
                      <a:pt x="256" y="99"/>
                    </a:lnTo>
                    <a:lnTo>
                      <a:pt x="271" y="117"/>
                    </a:lnTo>
                    <a:lnTo>
                      <a:pt x="294" y="126"/>
                    </a:lnTo>
                    <a:lnTo>
                      <a:pt x="246" y="189"/>
                    </a:lnTo>
                    <a:lnTo>
                      <a:pt x="256" y="210"/>
                    </a:lnTo>
                    <a:lnTo>
                      <a:pt x="291" y="225"/>
                    </a:lnTo>
                    <a:lnTo>
                      <a:pt x="264" y="274"/>
                    </a:lnTo>
                    <a:lnTo>
                      <a:pt x="196" y="292"/>
                    </a:lnTo>
                    <a:lnTo>
                      <a:pt x="184" y="315"/>
                    </a:lnTo>
                    <a:lnTo>
                      <a:pt x="172" y="298"/>
                    </a:lnTo>
                    <a:lnTo>
                      <a:pt x="142" y="319"/>
                    </a:lnTo>
                    <a:lnTo>
                      <a:pt x="109" y="276"/>
                    </a:lnTo>
                    <a:lnTo>
                      <a:pt x="93" y="288"/>
                    </a:lnTo>
                    <a:lnTo>
                      <a:pt x="82" y="268"/>
                    </a:lnTo>
                    <a:lnTo>
                      <a:pt x="49" y="288"/>
                    </a:lnTo>
                    <a:lnTo>
                      <a:pt x="45" y="307"/>
                    </a:lnTo>
                    <a:lnTo>
                      <a:pt x="25" y="282"/>
                    </a:lnTo>
                    <a:lnTo>
                      <a:pt x="3" y="283"/>
                    </a:lnTo>
                    <a:lnTo>
                      <a:pt x="0" y="250"/>
                    </a:lnTo>
                    <a:lnTo>
                      <a:pt x="13" y="217"/>
                    </a:lnTo>
                    <a:lnTo>
                      <a:pt x="37" y="210"/>
                    </a:lnTo>
                    <a:lnTo>
                      <a:pt x="42" y="187"/>
                    </a:lnTo>
                    <a:lnTo>
                      <a:pt x="76" y="183"/>
                    </a:lnTo>
                    <a:lnTo>
                      <a:pt x="72" y="166"/>
                    </a:lnTo>
                    <a:lnTo>
                      <a:pt x="45" y="148"/>
                    </a:lnTo>
                    <a:lnTo>
                      <a:pt x="73" y="139"/>
                    </a:lnTo>
                    <a:lnTo>
                      <a:pt x="54" y="118"/>
                    </a:lnTo>
                    <a:lnTo>
                      <a:pt x="51" y="97"/>
                    </a:lnTo>
                    <a:lnTo>
                      <a:pt x="69" y="79"/>
                    </a:lnTo>
                    <a:lnTo>
                      <a:pt x="54" y="58"/>
                    </a:lnTo>
                    <a:lnTo>
                      <a:pt x="54" y="40"/>
                    </a:lnTo>
                    <a:lnTo>
                      <a:pt x="94" y="22"/>
                    </a:lnTo>
                    <a:lnTo>
                      <a:pt x="100" y="6"/>
                    </a:lnTo>
                    <a:lnTo>
                      <a:pt x="138" y="0"/>
                    </a:lnTo>
                    <a:lnTo>
                      <a:pt x="166" y="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3" name="Freeform 205"/>
              <p:cNvSpPr>
                <a:spLocks/>
              </p:cNvSpPr>
              <p:nvPr/>
            </p:nvSpPr>
            <p:spPr bwMode="auto">
              <a:xfrm>
                <a:off x="2858" y="3185"/>
                <a:ext cx="112" cy="216"/>
              </a:xfrm>
              <a:custGeom>
                <a:avLst/>
                <a:gdLst>
                  <a:gd name="T0" fmla="*/ 0 w 112"/>
                  <a:gd name="T1" fmla="*/ 36 h 216"/>
                  <a:gd name="T2" fmla="*/ 6 w 112"/>
                  <a:gd name="T3" fmla="*/ 15 h 216"/>
                  <a:gd name="T4" fmla="*/ 40 w 112"/>
                  <a:gd name="T5" fmla="*/ 0 h 216"/>
                  <a:gd name="T6" fmla="*/ 49 w 112"/>
                  <a:gd name="T7" fmla="*/ 18 h 216"/>
                  <a:gd name="T8" fmla="*/ 63 w 112"/>
                  <a:gd name="T9" fmla="*/ 7 h 216"/>
                  <a:gd name="T10" fmla="*/ 99 w 112"/>
                  <a:gd name="T11" fmla="*/ 48 h 216"/>
                  <a:gd name="T12" fmla="*/ 90 w 112"/>
                  <a:gd name="T13" fmla="*/ 111 h 216"/>
                  <a:gd name="T14" fmla="*/ 106 w 112"/>
                  <a:gd name="T15" fmla="*/ 150 h 216"/>
                  <a:gd name="T16" fmla="*/ 112 w 112"/>
                  <a:gd name="T17" fmla="*/ 180 h 216"/>
                  <a:gd name="T18" fmla="*/ 94 w 112"/>
                  <a:gd name="T19" fmla="*/ 204 h 216"/>
                  <a:gd name="T20" fmla="*/ 81 w 112"/>
                  <a:gd name="T21" fmla="*/ 204 h 216"/>
                  <a:gd name="T22" fmla="*/ 82 w 112"/>
                  <a:gd name="T23" fmla="*/ 216 h 216"/>
                  <a:gd name="T24" fmla="*/ 61 w 112"/>
                  <a:gd name="T25" fmla="*/ 216 h 216"/>
                  <a:gd name="T26" fmla="*/ 45 w 112"/>
                  <a:gd name="T27" fmla="*/ 184 h 216"/>
                  <a:gd name="T28" fmla="*/ 28 w 112"/>
                  <a:gd name="T29" fmla="*/ 180 h 216"/>
                  <a:gd name="T30" fmla="*/ 12 w 112"/>
                  <a:gd name="T31" fmla="*/ 129 h 216"/>
                  <a:gd name="T32" fmla="*/ 21 w 112"/>
                  <a:gd name="T33" fmla="*/ 115 h 216"/>
                  <a:gd name="T34" fmla="*/ 22 w 112"/>
                  <a:gd name="T35" fmla="*/ 88 h 216"/>
                  <a:gd name="T36" fmla="*/ 19 w 112"/>
                  <a:gd name="T37" fmla="*/ 78 h 216"/>
                  <a:gd name="T38" fmla="*/ 28 w 112"/>
                  <a:gd name="T39" fmla="*/ 67 h 216"/>
                  <a:gd name="T40" fmla="*/ 27 w 112"/>
                  <a:gd name="T41" fmla="*/ 49 h 216"/>
                  <a:gd name="T42" fmla="*/ 16 w 112"/>
                  <a:gd name="T43" fmla="*/ 39 h 216"/>
                  <a:gd name="T44" fmla="*/ 0 w 112"/>
                  <a:gd name="T45" fmla="*/ 36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2" h="216">
                    <a:moveTo>
                      <a:pt x="0" y="36"/>
                    </a:moveTo>
                    <a:lnTo>
                      <a:pt x="6" y="15"/>
                    </a:lnTo>
                    <a:lnTo>
                      <a:pt x="40" y="0"/>
                    </a:lnTo>
                    <a:lnTo>
                      <a:pt x="49" y="18"/>
                    </a:lnTo>
                    <a:lnTo>
                      <a:pt x="63" y="7"/>
                    </a:lnTo>
                    <a:lnTo>
                      <a:pt x="99" y="48"/>
                    </a:lnTo>
                    <a:lnTo>
                      <a:pt x="90" y="111"/>
                    </a:lnTo>
                    <a:lnTo>
                      <a:pt x="106" y="150"/>
                    </a:lnTo>
                    <a:lnTo>
                      <a:pt x="112" y="180"/>
                    </a:lnTo>
                    <a:lnTo>
                      <a:pt x="94" y="204"/>
                    </a:lnTo>
                    <a:lnTo>
                      <a:pt x="81" y="204"/>
                    </a:lnTo>
                    <a:lnTo>
                      <a:pt x="82" y="216"/>
                    </a:lnTo>
                    <a:lnTo>
                      <a:pt x="61" y="216"/>
                    </a:lnTo>
                    <a:lnTo>
                      <a:pt x="45" y="184"/>
                    </a:lnTo>
                    <a:lnTo>
                      <a:pt x="28" y="180"/>
                    </a:lnTo>
                    <a:lnTo>
                      <a:pt x="12" y="129"/>
                    </a:lnTo>
                    <a:lnTo>
                      <a:pt x="21" y="115"/>
                    </a:lnTo>
                    <a:lnTo>
                      <a:pt x="22" y="88"/>
                    </a:lnTo>
                    <a:lnTo>
                      <a:pt x="19" y="78"/>
                    </a:lnTo>
                    <a:lnTo>
                      <a:pt x="28" y="67"/>
                    </a:lnTo>
                    <a:lnTo>
                      <a:pt x="27" y="49"/>
                    </a:lnTo>
                    <a:lnTo>
                      <a:pt x="16" y="39"/>
                    </a:lnTo>
                    <a:lnTo>
                      <a:pt x="0" y="3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4" name="Freeform 206"/>
              <p:cNvSpPr>
                <a:spLocks/>
              </p:cNvSpPr>
              <p:nvPr/>
            </p:nvSpPr>
            <p:spPr bwMode="auto">
              <a:xfrm>
                <a:off x="2948" y="3189"/>
                <a:ext cx="157" cy="149"/>
              </a:xfrm>
              <a:custGeom>
                <a:avLst/>
                <a:gdLst>
                  <a:gd name="T0" fmla="*/ 130 w 157"/>
                  <a:gd name="T1" fmla="*/ 0 h 149"/>
                  <a:gd name="T2" fmla="*/ 151 w 157"/>
                  <a:gd name="T3" fmla="*/ 20 h 149"/>
                  <a:gd name="T4" fmla="*/ 141 w 157"/>
                  <a:gd name="T5" fmla="*/ 32 h 149"/>
                  <a:gd name="T6" fmla="*/ 157 w 157"/>
                  <a:gd name="T7" fmla="*/ 50 h 149"/>
                  <a:gd name="T8" fmla="*/ 157 w 157"/>
                  <a:gd name="T9" fmla="*/ 81 h 149"/>
                  <a:gd name="T10" fmla="*/ 150 w 157"/>
                  <a:gd name="T11" fmla="*/ 104 h 149"/>
                  <a:gd name="T12" fmla="*/ 112 w 157"/>
                  <a:gd name="T13" fmla="*/ 117 h 149"/>
                  <a:gd name="T14" fmla="*/ 67 w 157"/>
                  <a:gd name="T15" fmla="*/ 149 h 149"/>
                  <a:gd name="T16" fmla="*/ 42 w 157"/>
                  <a:gd name="T17" fmla="*/ 141 h 149"/>
                  <a:gd name="T18" fmla="*/ 16 w 157"/>
                  <a:gd name="T19" fmla="*/ 143 h 149"/>
                  <a:gd name="T20" fmla="*/ 0 w 157"/>
                  <a:gd name="T21" fmla="*/ 108 h 149"/>
                  <a:gd name="T22" fmla="*/ 9 w 157"/>
                  <a:gd name="T23" fmla="*/ 45 h 149"/>
                  <a:gd name="T24" fmla="*/ 36 w 157"/>
                  <a:gd name="T25" fmla="*/ 26 h 149"/>
                  <a:gd name="T26" fmla="*/ 49 w 157"/>
                  <a:gd name="T27" fmla="*/ 41 h 149"/>
                  <a:gd name="T28" fmla="*/ 63 w 157"/>
                  <a:gd name="T29" fmla="*/ 18 h 149"/>
                  <a:gd name="T30" fmla="*/ 130 w 157"/>
                  <a:gd name="T31" fmla="*/ 0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7" h="149">
                    <a:moveTo>
                      <a:pt x="130" y="0"/>
                    </a:moveTo>
                    <a:lnTo>
                      <a:pt x="151" y="20"/>
                    </a:lnTo>
                    <a:lnTo>
                      <a:pt x="141" y="32"/>
                    </a:lnTo>
                    <a:lnTo>
                      <a:pt x="157" y="50"/>
                    </a:lnTo>
                    <a:lnTo>
                      <a:pt x="157" y="81"/>
                    </a:lnTo>
                    <a:lnTo>
                      <a:pt x="150" y="104"/>
                    </a:lnTo>
                    <a:lnTo>
                      <a:pt x="112" y="117"/>
                    </a:lnTo>
                    <a:lnTo>
                      <a:pt x="67" y="149"/>
                    </a:lnTo>
                    <a:lnTo>
                      <a:pt x="42" y="141"/>
                    </a:lnTo>
                    <a:lnTo>
                      <a:pt x="16" y="143"/>
                    </a:lnTo>
                    <a:lnTo>
                      <a:pt x="0" y="108"/>
                    </a:lnTo>
                    <a:lnTo>
                      <a:pt x="9" y="45"/>
                    </a:lnTo>
                    <a:lnTo>
                      <a:pt x="36" y="26"/>
                    </a:lnTo>
                    <a:lnTo>
                      <a:pt x="49" y="41"/>
                    </a:lnTo>
                    <a:lnTo>
                      <a:pt x="63" y="18"/>
                    </a:lnTo>
                    <a:lnTo>
                      <a:pt x="13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5" name="Freeform 207"/>
              <p:cNvSpPr>
                <a:spLocks/>
              </p:cNvSpPr>
              <p:nvPr/>
            </p:nvSpPr>
            <p:spPr bwMode="auto">
              <a:xfrm>
                <a:off x="3060" y="3033"/>
                <a:ext cx="341" cy="246"/>
              </a:xfrm>
              <a:custGeom>
                <a:avLst/>
                <a:gdLst>
                  <a:gd name="T0" fmla="*/ 237 w 341"/>
                  <a:gd name="T1" fmla="*/ 215 h 246"/>
                  <a:gd name="T2" fmla="*/ 248 w 341"/>
                  <a:gd name="T3" fmla="*/ 198 h 246"/>
                  <a:gd name="T4" fmla="*/ 267 w 341"/>
                  <a:gd name="T5" fmla="*/ 207 h 246"/>
                  <a:gd name="T6" fmla="*/ 302 w 341"/>
                  <a:gd name="T7" fmla="*/ 206 h 246"/>
                  <a:gd name="T8" fmla="*/ 293 w 341"/>
                  <a:gd name="T9" fmla="*/ 180 h 246"/>
                  <a:gd name="T10" fmla="*/ 276 w 341"/>
                  <a:gd name="T11" fmla="*/ 165 h 246"/>
                  <a:gd name="T12" fmla="*/ 293 w 341"/>
                  <a:gd name="T13" fmla="*/ 152 h 246"/>
                  <a:gd name="T14" fmla="*/ 297 w 341"/>
                  <a:gd name="T15" fmla="*/ 123 h 246"/>
                  <a:gd name="T16" fmla="*/ 338 w 341"/>
                  <a:gd name="T17" fmla="*/ 84 h 246"/>
                  <a:gd name="T18" fmla="*/ 341 w 341"/>
                  <a:gd name="T19" fmla="*/ 26 h 246"/>
                  <a:gd name="T20" fmla="*/ 321 w 341"/>
                  <a:gd name="T21" fmla="*/ 9 h 246"/>
                  <a:gd name="T22" fmla="*/ 296 w 341"/>
                  <a:gd name="T23" fmla="*/ 3 h 246"/>
                  <a:gd name="T24" fmla="*/ 267 w 341"/>
                  <a:gd name="T25" fmla="*/ 18 h 246"/>
                  <a:gd name="T26" fmla="*/ 233 w 341"/>
                  <a:gd name="T27" fmla="*/ 0 h 246"/>
                  <a:gd name="T28" fmla="*/ 200 w 341"/>
                  <a:gd name="T29" fmla="*/ 21 h 246"/>
                  <a:gd name="T30" fmla="*/ 186 w 341"/>
                  <a:gd name="T31" fmla="*/ 33 h 246"/>
                  <a:gd name="T32" fmla="*/ 159 w 341"/>
                  <a:gd name="T33" fmla="*/ 39 h 246"/>
                  <a:gd name="T34" fmla="*/ 125 w 341"/>
                  <a:gd name="T35" fmla="*/ 35 h 246"/>
                  <a:gd name="T36" fmla="*/ 95 w 341"/>
                  <a:gd name="T37" fmla="*/ 36 h 246"/>
                  <a:gd name="T38" fmla="*/ 80 w 341"/>
                  <a:gd name="T39" fmla="*/ 42 h 246"/>
                  <a:gd name="T40" fmla="*/ 68 w 341"/>
                  <a:gd name="T41" fmla="*/ 32 h 246"/>
                  <a:gd name="T42" fmla="*/ 74 w 341"/>
                  <a:gd name="T43" fmla="*/ 15 h 246"/>
                  <a:gd name="T44" fmla="*/ 47 w 341"/>
                  <a:gd name="T45" fmla="*/ 8 h 246"/>
                  <a:gd name="T46" fmla="*/ 0 w 341"/>
                  <a:gd name="T47" fmla="*/ 71 h 246"/>
                  <a:gd name="T48" fmla="*/ 11 w 341"/>
                  <a:gd name="T49" fmla="*/ 95 h 246"/>
                  <a:gd name="T50" fmla="*/ 44 w 341"/>
                  <a:gd name="T51" fmla="*/ 107 h 246"/>
                  <a:gd name="T52" fmla="*/ 18 w 341"/>
                  <a:gd name="T53" fmla="*/ 156 h 246"/>
                  <a:gd name="T54" fmla="*/ 41 w 341"/>
                  <a:gd name="T55" fmla="*/ 174 h 246"/>
                  <a:gd name="T56" fmla="*/ 30 w 341"/>
                  <a:gd name="T57" fmla="*/ 188 h 246"/>
                  <a:gd name="T58" fmla="*/ 45 w 341"/>
                  <a:gd name="T59" fmla="*/ 207 h 246"/>
                  <a:gd name="T60" fmla="*/ 47 w 341"/>
                  <a:gd name="T61" fmla="*/ 234 h 246"/>
                  <a:gd name="T62" fmla="*/ 74 w 341"/>
                  <a:gd name="T63" fmla="*/ 246 h 246"/>
                  <a:gd name="T64" fmla="*/ 108 w 341"/>
                  <a:gd name="T65" fmla="*/ 246 h 246"/>
                  <a:gd name="T66" fmla="*/ 134 w 341"/>
                  <a:gd name="T67" fmla="*/ 209 h 246"/>
                  <a:gd name="T68" fmla="*/ 140 w 341"/>
                  <a:gd name="T69" fmla="*/ 222 h 246"/>
                  <a:gd name="T70" fmla="*/ 162 w 341"/>
                  <a:gd name="T71" fmla="*/ 222 h 246"/>
                  <a:gd name="T72" fmla="*/ 168 w 341"/>
                  <a:gd name="T73" fmla="*/ 242 h 246"/>
                  <a:gd name="T74" fmla="*/ 216 w 341"/>
                  <a:gd name="T75" fmla="*/ 242 h 246"/>
                  <a:gd name="T76" fmla="*/ 216 w 341"/>
                  <a:gd name="T77" fmla="*/ 215 h 246"/>
                  <a:gd name="T78" fmla="*/ 237 w 341"/>
                  <a:gd name="T79" fmla="*/ 215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41" h="246">
                    <a:moveTo>
                      <a:pt x="237" y="215"/>
                    </a:moveTo>
                    <a:lnTo>
                      <a:pt x="248" y="198"/>
                    </a:lnTo>
                    <a:lnTo>
                      <a:pt x="267" y="207"/>
                    </a:lnTo>
                    <a:lnTo>
                      <a:pt x="302" y="206"/>
                    </a:lnTo>
                    <a:lnTo>
                      <a:pt x="293" y="180"/>
                    </a:lnTo>
                    <a:lnTo>
                      <a:pt x="276" y="165"/>
                    </a:lnTo>
                    <a:lnTo>
                      <a:pt x="293" y="152"/>
                    </a:lnTo>
                    <a:lnTo>
                      <a:pt x="297" y="123"/>
                    </a:lnTo>
                    <a:lnTo>
                      <a:pt x="338" y="84"/>
                    </a:lnTo>
                    <a:lnTo>
                      <a:pt x="341" y="26"/>
                    </a:lnTo>
                    <a:lnTo>
                      <a:pt x="321" y="9"/>
                    </a:lnTo>
                    <a:lnTo>
                      <a:pt x="296" y="3"/>
                    </a:lnTo>
                    <a:lnTo>
                      <a:pt x="267" y="18"/>
                    </a:lnTo>
                    <a:lnTo>
                      <a:pt x="233" y="0"/>
                    </a:lnTo>
                    <a:lnTo>
                      <a:pt x="200" y="21"/>
                    </a:lnTo>
                    <a:lnTo>
                      <a:pt x="186" y="33"/>
                    </a:lnTo>
                    <a:lnTo>
                      <a:pt x="159" y="39"/>
                    </a:lnTo>
                    <a:lnTo>
                      <a:pt x="125" y="35"/>
                    </a:lnTo>
                    <a:lnTo>
                      <a:pt x="95" y="36"/>
                    </a:lnTo>
                    <a:lnTo>
                      <a:pt x="80" y="42"/>
                    </a:lnTo>
                    <a:lnTo>
                      <a:pt x="68" y="32"/>
                    </a:lnTo>
                    <a:lnTo>
                      <a:pt x="74" y="15"/>
                    </a:lnTo>
                    <a:lnTo>
                      <a:pt x="47" y="8"/>
                    </a:lnTo>
                    <a:lnTo>
                      <a:pt x="0" y="71"/>
                    </a:lnTo>
                    <a:lnTo>
                      <a:pt x="11" y="95"/>
                    </a:lnTo>
                    <a:lnTo>
                      <a:pt x="44" y="107"/>
                    </a:lnTo>
                    <a:lnTo>
                      <a:pt x="18" y="156"/>
                    </a:lnTo>
                    <a:lnTo>
                      <a:pt x="41" y="174"/>
                    </a:lnTo>
                    <a:lnTo>
                      <a:pt x="30" y="188"/>
                    </a:lnTo>
                    <a:lnTo>
                      <a:pt x="45" y="207"/>
                    </a:lnTo>
                    <a:lnTo>
                      <a:pt x="47" y="234"/>
                    </a:lnTo>
                    <a:lnTo>
                      <a:pt x="74" y="246"/>
                    </a:lnTo>
                    <a:lnTo>
                      <a:pt x="108" y="246"/>
                    </a:lnTo>
                    <a:lnTo>
                      <a:pt x="134" y="209"/>
                    </a:lnTo>
                    <a:lnTo>
                      <a:pt x="140" y="222"/>
                    </a:lnTo>
                    <a:lnTo>
                      <a:pt x="162" y="222"/>
                    </a:lnTo>
                    <a:lnTo>
                      <a:pt x="168" y="242"/>
                    </a:lnTo>
                    <a:lnTo>
                      <a:pt x="216" y="242"/>
                    </a:lnTo>
                    <a:lnTo>
                      <a:pt x="216" y="215"/>
                    </a:lnTo>
                    <a:lnTo>
                      <a:pt x="237" y="215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6" name="Freeform 208"/>
              <p:cNvSpPr>
                <a:spLocks/>
              </p:cNvSpPr>
              <p:nvPr/>
            </p:nvSpPr>
            <p:spPr bwMode="auto">
              <a:xfrm>
                <a:off x="2982" y="2691"/>
                <a:ext cx="468" cy="387"/>
              </a:xfrm>
              <a:custGeom>
                <a:avLst/>
                <a:gdLst>
                  <a:gd name="T0" fmla="*/ 419 w 468"/>
                  <a:gd name="T1" fmla="*/ 368 h 387"/>
                  <a:gd name="T2" fmla="*/ 438 w 468"/>
                  <a:gd name="T3" fmla="*/ 348 h 387"/>
                  <a:gd name="T4" fmla="*/ 432 w 468"/>
                  <a:gd name="T5" fmla="*/ 330 h 387"/>
                  <a:gd name="T6" fmla="*/ 446 w 468"/>
                  <a:gd name="T7" fmla="*/ 318 h 387"/>
                  <a:gd name="T8" fmla="*/ 455 w 468"/>
                  <a:gd name="T9" fmla="*/ 330 h 387"/>
                  <a:gd name="T10" fmla="*/ 462 w 468"/>
                  <a:gd name="T11" fmla="*/ 314 h 387"/>
                  <a:gd name="T12" fmla="*/ 462 w 468"/>
                  <a:gd name="T13" fmla="*/ 300 h 387"/>
                  <a:gd name="T14" fmla="*/ 468 w 468"/>
                  <a:gd name="T15" fmla="*/ 257 h 387"/>
                  <a:gd name="T16" fmla="*/ 431 w 468"/>
                  <a:gd name="T17" fmla="*/ 255 h 387"/>
                  <a:gd name="T18" fmla="*/ 398 w 468"/>
                  <a:gd name="T19" fmla="*/ 239 h 387"/>
                  <a:gd name="T20" fmla="*/ 393 w 468"/>
                  <a:gd name="T21" fmla="*/ 117 h 387"/>
                  <a:gd name="T22" fmla="*/ 348 w 468"/>
                  <a:gd name="T23" fmla="*/ 54 h 387"/>
                  <a:gd name="T24" fmla="*/ 345 w 468"/>
                  <a:gd name="T25" fmla="*/ 36 h 387"/>
                  <a:gd name="T26" fmla="*/ 306 w 468"/>
                  <a:gd name="T27" fmla="*/ 0 h 387"/>
                  <a:gd name="T28" fmla="*/ 284 w 468"/>
                  <a:gd name="T29" fmla="*/ 21 h 387"/>
                  <a:gd name="T30" fmla="*/ 248 w 468"/>
                  <a:gd name="T31" fmla="*/ 38 h 387"/>
                  <a:gd name="T32" fmla="*/ 225 w 468"/>
                  <a:gd name="T33" fmla="*/ 60 h 387"/>
                  <a:gd name="T34" fmla="*/ 191 w 468"/>
                  <a:gd name="T35" fmla="*/ 35 h 387"/>
                  <a:gd name="T36" fmla="*/ 141 w 468"/>
                  <a:gd name="T37" fmla="*/ 30 h 387"/>
                  <a:gd name="T38" fmla="*/ 113 w 468"/>
                  <a:gd name="T39" fmla="*/ 6 h 387"/>
                  <a:gd name="T40" fmla="*/ 108 w 468"/>
                  <a:gd name="T41" fmla="*/ 71 h 387"/>
                  <a:gd name="T42" fmla="*/ 63 w 468"/>
                  <a:gd name="T43" fmla="*/ 111 h 387"/>
                  <a:gd name="T44" fmla="*/ 60 w 468"/>
                  <a:gd name="T45" fmla="*/ 147 h 387"/>
                  <a:gd name="T46" fmla="*/ 47 w 468"/>
                  <a:gd name="T47" fmla="*/ 192 h 387"/>
                  <a:gd name="T48" fmla="*/ 21 w 468"/>
                  <a:gd name="T49" fmla="*/ 231 h 387"/>
                  <a:gd name="T50" fmla="*/ 0 w 468"/>
                  <a:gd name="T51" fmla="*/ 228 h 387"/>
                  <a:gd name="T52" fmla="*/ 18 w 468"/>
                  <a:gd name="T53" fmla="*/ 260 h 387"/>
                  <a:gd name="T54" fmla="*/ 18 w 468"/>
                  <a:gd name="T55" fmla="*/ 291 h 387"/>
                  <a:gd name="T56" fmla="*/ 39 w 468"/>
                  <a:gd name="T57" fmla="*/ 293 h 387"/>
                  <a:gd name="T58" fmla="*/ 57 w 468"/>
                  <a:gd name="T59" fmla="*/ 309 h 387"/>
                  <a:gd name="T60" fmla="*/ 72 w 468"/>
                  <a:gd name="T61" fmla="*/ 296 h 387"/>
                  <a:gd name="T62" fmla="*/ 104 w 468"/>
                  <a:gd name="T63" fmla="*/ 303 h 387"/>
                  <a:gd name="T64" fmla="*/ 111 w 468"/>
                  <a:gd name="T65" fmla="*/ 314 h 387"/>
                  <a:gd name="T66" fmla="*/ 84 w 468"/>
                  <a:gd name="T67" fmla="*/ 326 h 387"/>
                  <a:gd name="T68" fmla="*/ 102 w 468"/>
                  <a:gd name="T69" fmla="*/ 345 h 387"/>
                  <a:gd name="T70" fmla="*/ 122 w 468"/>
                  <a:gd name="T71" fmla="*/ 350 h 387"/>
                  <a:gd name="T72" fmla="*/ 149 w 468"/>
                  <a:gd name="T73" fmla="*/ 357 h 387"/>
                  <a:gd name="T74" fmla="*/ 144 w 468"/>
                  <a:gd name="T75" fmla="*/ 371 h 387"/>
                  <a:gd name="T76" fmla="*/ 159 w 468"/>
                  <a:gd name="T77" fmla="*/ 387 h 387"/>
                  <a:gd name="T78" fmla="*/ 180 w 468"/>
                  <a:gd name="T79" fmla="*/ 377 h 387"/>
                  <a:gd name="T80" fmla="*/ 239 w 468"/>
                  <a:gd name="T81" fmla="*/ 381 h 387"/>
                  <a:gd name="T82" fmla="*/ 270 w 468"/>
                  <a:gd name="T83" fmla="*/ 374 h 387"/>
                  <a:gd name="T84" fmla="*/ 314 w 468"/>
                  <a:gd name="T85" fmla="*/ 342 h 387"/>
                  <a:gd name="T86" fmla="*/ 347 w 468"/>
                  <a:gd name="T87" fmla="*/ 360 h 387"/>
                  <a:gd name="T88" fmla="*/ 375 w 468"/>
                  <a:gd name="T89" fmla="*/ 344 h 387"/>
                  <a:gd name="T90" fmla="*/ 404 w 468"/>
                  <a:gd name="T91" fmla="*/ 354 h 387"/>
                  <a:gd name="T92" fmla="*/ 419 w 468"/>
                  <a:gd name="T93" fmla="*/ 368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468" h="387">
                    <a:moveTo>
                      <a:pt x="419" y="368"/>
                    </a:moveTo>
                    <a:lnTo>
                      <a:pt x="438" y="348"/>
                    </a:lnTo>
                    <a:lnTo>
                      <a:pt x="432" y="330"/>
                    </a:lnTo>
                    <a:lnTo>
                      <a:pt x="446" y="318"/>
                    </a:lnTo>
                    <a:lnTo>
                      <a:pt x="455" y="330"/>
                    </a:lnTo>
                    <a:lnTo>
                      <a:pt x="462" y="314"/>
                    </a:lnTo>
                    <a:lnTo>
                      <a:pt x="462" y="300"/>
                    </a:lnTo>
                    <a:lnTo>
                      <a:pt x="468" y="257"/>
                    </a:lnTo>
                    <a:lnTo>
                      <a:pt x="431" y="255"/>
                    </a:lnTo>
                    <a:lnTo>
                      <a:pt x="398" y="239"/>
                    </a:lnTo>
                    <a:lnTo>
                      <a:pt x="393" y="117"/>
                    </a:lnTo>
                    <a:lnTo>
                      <a:pt x="348" y="54"/>
                    </a:lnTo>
                    <a:lnTo>
                      <a:pt x="345" y="36"/>
                    </a:lnTo>
                    <a:lnTo>
                      <a:pt x="306" y="0"/>
                    </a:lnTo>
                    <a:lnTo>
                      <a:pt x="284" y="21"/>
                    </a:lnTo>
                    <a:lnTo>
                      <a:pt x="248" y="38"/>
                    </a:lnTo>
                    <a:lnTo>
                      <a:pt x="225" y="60"/>
                    </a:lnTo>
                    <a:lnTo>
                      <a:pt x="191" y="35"/>
                    </a:lnTo>
                    <a:lnTo>
                      <a:pt x="141" y="30"/>
                    </a:lnTo>
                    <a:lnTo>
                      <a:pt x="113" y="6"/>
                    </a:lnTo>
                    <a:lnTo>
                      <a:pt x="108" y="71"/>
                    </a:lnTo>
                    <a:lnTo>
                      <a:pt x="63" y="111"/>
                    </a:lnTo>
                    <a:lnTo>
                      <a:pt x="60" y="147"/>
                    </a:lnTo>
                    <a:lnTo>
                      <a:pt x="47" y="192"/>
                    </a:lnTo>
                    <a:lnTo>
                      <a:pt x="21" y="231"/>
                    </a:lnTo>
                    <a:lnTo>
                      <a:pt x="0" y="228"/>
                    </a:lnTo>
                    <a:lnTo>
                      <a:pt x="18" y="260"/>
                    </a:lnTo>
                    <a:lnTo>
                      <a:pt x="18" y="291"/>
                    </a:lnTo>
                    <a:lnTo>
                      <a:pt x="39" y="293"/>
                    </a:lnTo>
                    <a:lnTo>
                      <a:pt x="57" y="309"/>
                    </a:lnTo>
                    <a:lnTo>
                      <a:pt x="72" y="296"/>
                    </a:lnTo>
                    <a:lnTo>
                      <a:pt x="104" y="303"/>
                    </a:lnTo>
                    <a:lnTo>
                      <a:pt x="111" y="314"/>
                    </a:lnTo>
                    <a:lnTo>
                      <a:pt x="84" y="326"/>
                    </a:lnTo>
                    <a:lnTo>
                      <a:pt x="102" y="345"/>
                    </a:lnTo>
                    <a:lnTo>
                      <a:pt x="122" y="350"/>
                    </a:lnTo>
                    <a:lnTo>
                      <a:pt x="149" y="357"/>
                    </a:lnTo>
                    <a:lnTo>
                      <a:pt x="144" y="371"/>
                    </a:lnTo>
                    <a:lnTo>
                      <a:pt x="159" y="387"/>
                    </a:lnTo>
                    <a:lnTo>
                      <a:pt x="180" y="377"/>
                    </a:lnTo>
                    <a:lnTo>
                      <a:pt x="239" y="381"/>
                    </a:lnTo>
                    <a:lnTo>
                      <a:pt x="270" y="374"/>
                    </a:lnTo>
                    <a:lnTo>
                      <a:pt x="314" y="342"/>
                    </a:lnTo>
                    <a:lnTo>
                      <a:pt x="347" y="360"/>
                    </a:lnTo>
                    <a:lnTo>
                      <a:pt x="375" y="344"/>
                    </a:lnTo>
                    <a:lnTo>
                      <a:pt x="404" y="354"/>
                    </a:lnTo>
                    <a:lnTo>
                      <a:pt x="419" y="36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7" name="Freeform 209"/>
              <p:cNvSpPr>
                <a:spLocks/>
              </p:cNvSpPr>
              <p:nvPr/>
            </p:nvSpPr>
            <p:spPr bwMode="auto">
              <a:xfrm>
                <a:off x="2644" y="774"/>
                <a:ext cx="90" cy="86"/>
              </a:xfrm>
              <a:custGeom>
                <a:avLst/>
                <a:gdLst>
                  <a:gd name="T0" fmla="*/ 40 w 90"/>
                  <a:gd name="T1" fmla="*/ 0 h 86"/>
                  <a:gd name="T2" fmla="*/ 48 w 90"/>
                  <a:gd name="T3" fmla="*/ 22 h 86"/>
                  <a:gd name="T4" fmla="*/ 86 w 90"/>
                  <a:gd name="T5" fmla="*/ 10 h 86"/>
                  <a:gd name="T6" fmla="*/ 90 w 90"/>
                  <a:gd name="T7" fmla="*/ 30 h 86"/>
                  <a:gd name="T8" fmla="*/ 18 w 90"/>
                  <a:gd name="T9" fmla="*/ 86 h 86"/>
                  <a:gd name="T10" fmla="*/ 0 w 90"/>
                  <a:gd name="T11" fmla="*/ 56 h 86"/>
                  <a:gd name="T12" fmla="*/ 40 w 90"/>
                  <a:gd name="T13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0" h="86">
                    <a:moveTo>
                      <a:pt x="40" y="0"/>
                    </a:moveTo>
                    <a:lnTo>
                      <a:pt x="48" y="22"/>
                    </a:lnTo>
                    <a:lnTo>
                      <a:pt x="86" y="10"/>
                    </a:lnTo>
                    <a:lnTo>
                      <a:pt x="90" y="30"/>
                    </a:lnTo>
                    <a:lnTo>
                      <a:pt x="18" y="86"/>
                    </a:lnTo>
                    <a:lnTo>
                      <a:pt x="0" y="56"/>
                    </a:lnTo>
                    <a:lnTo>
                      <a:pt x="4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grpSp>
            <p:nvGrpSpPr>
              <p:cNvPr id="538" name="Group 210"/>
              <p:cNvGrpSpPr>
                <a:grpSpLocks/>
              </p:cNvGrpSpPr>
              <p:nvPr/>
            </p:nvGrpSpPr>
            <p:grpSpPr bwMode="auto">
              <a:xfrm>
                <a:off x="2060" y="508"/>
                <a:ext cx="1478" cy="1346"/>
                <a:chOff x="2060" y="508"/>
                <a:chExt cx="1478" cy="1346"/>
              </a:xfrm>
              <a:grpFill/>
            </p:grpSpPr>
            <p:sp>
              <p:nvSpPr>
                <p:cNvPr id="556" name="Freeform 211"/>
                <p:cNvSpPr>
                  <a:spLocks/>
                </p:cNvSpPr>
                <p:nvPr/>
              </p:nvSpPr>
              <p:spPr bwMode="auto">
                <a:xfrm>
                  <a:off x="2060" y="508"/>
                  <a:ext cx="1478" cy="1346"/>
                </a:xfrm>
                <a:custGeom>
                  <a:avLst/>
                  <a:gdLst>
                    <a:gd name="T0" fmla="*/ 288 w 1478"/>
                    <a:gd name="T1" fmla="*/ 1284 h 1346"/>
                    <a:gd name="T2" fmla="*/ 162 w 1478"/>
                    <a:gd name="T3" fmla="*/ 1346 h 1346"/>
                    <a:gd name="T4" fmla="*/ 96 w 1478"/>
                    <a:gd name="T5" fmla="*/ 1338 h 1346"/>
                    <a:gd name="T6" fmla="*/ 80 w 1478"/>
                    <a:gd name="T7" fmla="*/ 1212 h 1346"/>
                    <a:gd name="T8" fmla="*/ 70 w 1478"/>
                    <a:gd name="T9" fmla="*/ 1182 h 1346"/>
                    <a:gd name="T10" fmla="*/ 76 w 1478"/>
                    <a:gd name="T11" fmla="*/ 1122 h 1346"/>
                    <a:gd name="T12" fmla="*/ 24 w 1478"/>
                    <a:gd name="T13" fmla="*/ 1134 h 1346"/>
                    <a:gd name="T14" fmla="*/ 32 w 1478"/>
                    <a:gd name="T15" fmla="*/ 1086 h 1346"/>
                    <a:gd name="T16" fmla="*/ 42 w 1478"/>
                    <a:gd name="T17" fmla="*/ 1052 h 1346"/>
                    <a:gd name="T18" fmla="*/ 80 w 1478"/>
                    <a:gd name="T19" fmla="*/ 1032 h 1346"/>
                    <a:gd name="T20" fmla="*/ 12 w 1478"/>
                    <a:gd name="T21" fmla="*/ 1044 h 1346"/>
                    <a:gd name="T22" fmla="*/ 28 w 1478"/>
                    <a:gd name="T23" fmla="*/ 974 h 1346"/>
                    <a:gd name="T24" fmla="*/ 92 w 1478"/>
                    <a:gd name="T25" fmla="*/ 950 h 1346"/>
                    <a:gd name="T26" fmla="*/ 138 w 1478"/>
                    <a:gd name="T27" fmla="*/ 912 h 1346"/>
                    <a:gd name="T28" fmla="*/ 212 w 1478"/>
                    <a:gd name="T29" fmla="*/ 854 h 1346"/>
                    <a:gd name="T30" fmla="*/ 280 w 1478"/>
                    <a:gd name="T31" fmla="*/ 788 h 1346"/>
                    <a:gd name="T32" fmla="*/ 382 w 1478"/>
                    <a:gd name="T33" fmla="*/ 760 h 1346"/>
                    <a:gd name="T34" fmla="*/ 370 w 1478"/>
                    <a:gd name="T35" fmla="*/ 710 h 1346"/>
                    <a:gd name="T36" fmla="*/ 438 w 1478"/>
                    <a:gd name="T37" fmla="*/ 638 h 1346"/>
                    <a:gd name="T38" fmla="*/ 526 w 1478"/>
                    <a:gd name="T39" fmla="*/ 536 h 1346"/>
                    <a:gd name="T40" fmla="*/ 628 w 1478"/>
                    <a:gd name="T41" fmla="*/ 444 h 1346"/>
                    <a:gd name="T42" fmla="*/ 688 w 1478"/>
                    <a:gd name="T43" fmla="*/ 400 h 1346"/>
                    <a:gd name="T44" fmla="*/ 722 w 1478"/>
                    <a:gd name="T45" fmla="*/ 340 h 1346"/>
                    <a:gd name="T46" fmla="*/ 678 w 1478"/>
                    <a:gd name="T47" fmla="*/ 324 h 1346"/>
                    <a:gd name="T48" fmla="*/ 760 w 1478"/>
                    <a:gd name="T49" fmla="*/ 252 h 1346"/>
                    <a:gd name="T50" fmla="*/ 782 w 1478"/>
                    <a:gd name="T51" fmla="*/ 200 h 1346"/>
                    <a:gd name="T52" fmla="*/ 824 w 1478"/>
                    <a:gd name="T53" fmla="*/ 156 h 1346"/>
                    <a:gd name="T54" fmla="*/ 882 w 1478"/>
                    <a:gd name="T55" fmla="*/ 174 h 1346"/>
                    <a:gd name="T56" fmla="*/ 936 w 1478"/>
                    <a:gd name="T57" fmla="*/ 152 h 1346"/>
                    <a:gd name="T58" fmla="*/ 952 w 1478"/>
                    <a:gd name="T59" fmla="*/ 116 h 1346"/>
                    <a:gd name="T60" fmla="*/ 1020 w 1478"/>
                    <a:gd name="T61" fmla="*/ 132 h 1346"/>
                    <a:gd name="T62" fmla="*/ 1130 w 1478"/>
                    <a:gd name="T63" fmla="*/ 50 h 1346"/>
                    <a:gd name="T64" fmla="*/ 1156 w 1478"/>
                    <a:gd name="T65" fmla="*/ 166 h 1346"/>
                    <a:gd name="T66" fmla="*/ 1242 w 1478"/>
                    <a:gd name="T67" fmla="*/ 102 h 1346"/>
                    <a:gd name="T68" fmla="*/ 1316 w 1478"/>
                    <a:gd name="T69" fmla="*/ 0 h 1346"/>
                    <a:gd name="T70" fmla="*/ 1344 w 1478"/>
                    <a:gd name="T71" fmla="*/ 66 h 1346"/>
                    <a:gd name="T72" fmla="*/ 1368 w 1478"/>
                    <a:gd name="T73" fmla="*/ 94 h 1346"/>
                    <a:gd name="T74" fmla="*/ 1406 w 1478"/>
                    <a:gd name="T75" fmla="*/ 54 h 1346"/>
                    <a:gd name="T76" fmla="*/ 1438 w 1478"/>
                    <a:gd name="T77" fmla="*/ 78 h 1346"/>
                    <a:gd name="T78" fmla="*/ 1426 w 1478"/>
                    <a:gd name="T79" fmla="*/ 120 h 1346"/>
                    <a:gd name="T80" fmla="*/ 1402 w 1478"/>
                    <a:gd name="T81" fmla="*/ 166 h 1346"/>
                    <a:gd name="T82" fmla="*/ 1420 w 1478"/>
                    <a:gd name="T83" fmla="*/ 186 h 1346"/>
                    <a:gd name="T84" fmla="*/ 1408 w 1478"/>
                    <a:gd name="T85" fmla="*/ 234 h 1346"/>
                    <a:gd name="T86" fmla="*/ 1314 w 1478"/>
                    <a:gd name="T87" fmla="*/ 156 h 1346"/>
                    <a:gd name="T88" fmla="*/ 1196 w 1478"/>
                    <a:gd name="T89" fmla="*/ 210 h 1346"/>
                    <a:gd name="T90" fmla="*/ 1106 w 1478"/>
                    <a:gd name="T91" fmla="*/ 300 h 1346"/>
                    <a:gd name="T92" fmla="*/ 922 w 1478"/>
                    <a:gd name="T93" fmla="*/ 242 h 1346"/>
                    <a:gd name="T94" fmla="*/ 878 w 1478"/>
                    <a:gd name="T95" fmla="*/ 296 h 1346"/>
                    <a:gd name="T96" fmla="*/ 786 w 1478"/>
                    <a:gd name="T97" fmla="*/ 396 h 1346"/>
                    <a:gd name="T98" fmla="*/ 708 w 1478"/>
                    <a:gd name="T99" fmla="*/ 444 h 1346"/>
                    <a:gd name="T100" fmla="*/ 642 w 1478"/>
                    <a:gd name="T101" fmla="*/ 492 h 1346"/>
                    <a:gd name="T102" fmla="*/ 560 w 1478"/>
                    <a:gd name="T103" fmla="*/ 632 h 1346"/>
                    <a:gd name="T104" fmla="*/ 516 w 1478"/>
                    <a:gd name="T105" fmla="*/ 700 h 1346"/>
                    <a:gd name="T106" fmla="*/ 408 w 1478"/>
                    <a:gd name="T107" fmla="*/ 980 h 1346"/>
                    <a:gd name="T108" fmla="*/ 402 w 1478"/>
                    <a:gd name="T109" fmla="*/ 1066 h 1346"/>
                    <a:gd name="T110" fmla="*/ 376 w 1478"/>
                    <a:gd name="T111" fmla="*/ 1194 h 1346"/>
                    <a:gd name="T112" fmla="*/ 362 w 1478"/>
                    <a:gd name="T113" fmla="*/ 1270 h 13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478" h="1346">
                      <a:moveTo>
                        <a:pt x="362" y="1270"/>
                      </a:moveTo>
                      <a:lnTo>
                        <a:pt x="366" y="1238"/>
                      </a:lnTo>
                      <a:lnTo>
                        <a:pt x="288" y="1284"/>
                      </a:lnTo>
                      <a:lnTo>
                        <a:pt x="268" y="1278"/>
                      </a:lnTo>
                      <a:lnTo>
                        <a:pt x="230" y="1308"/>
                      </a:lnTo>
                      <a:lnTo>
                        <a:pt x="162" y="1346"/>
                      </a:lnTo>
                      <a:lnTo>
                        <a:pt x="114" y="1346"/>
                      </a:lnTo>
                      <a:lnTo>
                        <a:pt x="122" y="1326"/>
                      </a:lnTo>
                      <a:lnTo>
                        <a:pt x="96" y="1338"/>
                      </a:lnTo>
                      <a:lnTo>
                        <a:pt x="48" y="1296"/>
                      </a:lnTo>
                      <a:lnTo>
                        <a:pt x="82" y="1262"/>
                      </a:lnTo>
                      <a:lnTo>
                        <a:pt x="80" y="1212"/>
                      </a:lnTo>
                      <a:lnTo>
                        <a:pt x="36" y="1230"/>
                      </a:lnTo>
                      <a:lnTo>
                        <a:pt x="20" y="1210"/>
                      </a:lnTo>
                      <a:lnTo>
                        <a:pt x="70" y="1182"/>
                      </a:lnTo>
                      <a:lnTo>
                        <a:pt x="100" y="1128"/>
                      </a:lnTo>
                      <a:lnTo>
                        <a:pt x="126" y="1108"/>
                      </a:lnTo>
                      <a:lnTo>
                        <a:pt x="76" y="1122"/>
                      </a:lnTo>
                      <a:lnTo>
                        <a:pt x="60" y="1152"/>
                      </a:lnTo>
                      <a:lnTo>
                        <a:pt x="54" y="1134"/>
                      </a:lnTo>
                      <a:lnTo>
                        <a:pt x="24" y="1134"/>
                      </a:lnTo>
                      <a:lnTo>
                        <a:pt x="50" y="1114"/>
                      </a:lnTo>
                      <a:lnTo>
                        <a:pt x="6" y="1104"/>
                      </a:lnTo>
                      <a:lnTo>
                        <a:pt x="32" y="1086"/>
                      </a:lnTo>
                      <a:lnTo>
                        <a:pt x="28" y="1072"/>
                      </a:lnTo>
                      <a:lnTo>
                        <a:pt x="0" y="1056"/>
                      </a:lnTo>
                      <a:lnTo>
                        <a:pt x="42" y="1052"/>
                      </a:lnTo>
                      <a:lnTo>
                        <a:pt x="108" y="1066"/>
                      </a:lnTo>
                      <a:lnTo>
                        <a:pt x="128" y="1034"/>
                      </a:lnTo>
                      <a:lnTo>
                        <a:pt x="80" y="1032"/>
                      </a:lnTo>
                      <a:lnTo>
                        <a:pt x="74" y="1050"/>
                      </a:lnTo>
                      <a:lnTo>
                        <a:pt x="42" y="1032"/>
                      </a:lnTo>
                      <a:lnTo>
                        <a:pt x="12" y="1044"/>
                      </a:lnTo>
                      <a:lnTo>
                        <a:pt x="12" y="994"/>
                      </a:lnTo>
                      <a:lnTo>
                        <a:pt x="94" y="996"/>
                      </a:lnTo>
                      <a:lnTo>
                        <a:pt x="28" y="974"/>
                      </a:lnTo>
                      <a:lnTo>
                        <a:pt x="32" y="954"/>
                      </a:lnTo>
                      <a:lnTo>
                        <a:pt x="74" y="968"/>
                      </a:lnTo>
                      <a:lnTo>
                        <a:pt x="92" y="950"/>
                      </a:lnTo>
                      <a:lnTo>
                        <a:pt x="124" y="940"/>
                      </a:lnTo>
                      <a:lnTo>
                        <a:pt x="96" y="928"/>
                      </a:lnTo>
                      <a:lnTo>
                        <a:pt x="138" y="912"/>
                      </a:lnTo>
                      <a:lnTo>
                        <a:pt x="156" y="888"/>
                      </a:lnTo>
                      <a:lnTo>
                        <a:pt x="136" y="864"/>
                      </a:lnTo>
                      <a:lnTo>
                        <a:pt x="212" y="854"/>
                      </a:lnTo>
                      <a:lnTo>
                        <a:pt x="236" y="800"/>
                      </a:lnTo>
                      <a:lnTo>
                        <a:pt x="268" y="812"/>
                      </a:lnTo>
                      <a:lnTo>
                        <a:pt x="280" y="788"/>
                      </a:lnTo>
                      <a:lnTo>
                        <a:pt x="294" y="820"/>
                      </a:lnTo>
                      <a:lnTo>
                        <a:pt x="336" y="826"/>
                      </a:lnTo>
                      <a:lnTo>
                        <a:pt x="382" y="760"/>
                      </a:lnTo>
                      <a:lnTo>
                        <a:pt x="312" y="804"/>
                      </a:lnTo>
                      <a:lnTo>
                        <a:pt x="302" y="780"/>
                      </a:lnTo>
                      <a:lnTo>
                        <a:pt x="370" y="710"/>
                      </a:lnTo>
                      <a:lnTo>
                        <a:pt x="408" y="674"/>
                      </a:lnTo>
                      <a:lnTo>
                        <a:pt x="448" y="690"/>
                      </a:lnTo>
                      <a:lnTo>
                        <a:pt x="438" y="638"/>
                      </a:lnTo>
                      <a:lnTo>
                        <a:pt x="470" y="624"/>
                      </a:lnTo>
                      <a:lnTo>
                        <a:pt x="528" y="588"/>
                      </a:lnTo>
                      <a:lnTo>
                        <a:pt x="526" y="536"/>
                      </a:lnTo>
                      <a:lnTo>
                        <a:pt x="564" y="520"/>
                      </a:lnTo>
                      <a:lnTo>
                        <a:pt x="624" y="468"/>
                      </a:lnTo>
                      <a:lnTo>
                        <a:pt x="628" y="444"/>
                      </a:lnTo>
                      <a:lnTo>
                        <a:pt x="658" y="440"/>
                      </a:lnTo>
                      <a:lnTo>
                        <a:pt x="630" y="362"/>
                      </a:lnTo>
                      <a:lnTo>
                        <a:pt x="688" y="400"/>
                      </a:lnTo>
                      <a:lnTo>
                        <a:pt x="690" y="366"/>
                      </a:lnTo>
                      <a:lnTo>
                        <a:pt x="724" y="356"/>
                      </a:lnTo>
                      <a:lnTo>
                        <a:pt x="722" y="340"/>
                      </a:lnTo>
                      <a:lnTo>
                        <a:pt x="686" y="354"/>
                      </a:lnTo>
                      <a:lnTo>
                        <a:pt x="660" y="352"/>
                      </a:lnTo>
                      <a:lnTo>
                        <a:pt x="678" y="324"/>
                      </a:lnTo>
                      <a:lnTo>
                        <a:pt x="724" y="306"/>
                      </a:lnTo>
                      <a:lnTo>
                        <a:pt x="742" y="252"/>
                      </a:lnTo>
                      <a:lnTo>
                        <a:pt x="760" y="252"/>
                      </a:lnTo>
                      <a:lnTo>
                        <a:pt x="762" y="204"/>
                      </a:lnTo>
                      <a:lnTo>
                        <a:pt x="784" y="228"/>
                      </a:lnTo>
                      <a:lnTo>
                        <a:pt x="782" y="200"/>
                      </a:lnTo>
                      <a:lnTo>
                        <a:pt x="818" y="222"/>
                      </a:lnTo>
                      <a:lnTo>
                        <a:pt x="796" y="180"/>
                      </a:lnTo>
                      <a:lnTo>
                        <a:pt x="824" y="156"/>
                      </a:lnTo>
                      <a:lnTo>
                        <a:pt x="828" y="180"/>
                      </a:lnTo>
                      <a:lnTo>
                        <a:pt x="864" y="148"/>
                      </a:lnTo>
                      <a:lnTo>
                        <a:pt x="882" y="174"/>
                      </a:lnTo>
                      <a:lnTo>
                        <a:pt x="900" y="140"/>
                      </a:lnTo>
                      <a:lnTo>
                        <a:pt x="904" y="166"/>
                      </a:lnTo>
                      <a:lnTo>
                        <a:pt x="936" y="152"/>
                      </a:lnTo>
                      <a:lnTo>
                        <a:pt x="918" y="126"/>
                      </a:lnTo>
                      <a:lnTo>
                        <a:pt x="958" y="148"/>
                      </a:lnTo>
                      <a:lnTo>
                        <a:pt x="952" y="116"/>
                      </a:lnTo>
                      <a:lnTo>
                        <a:pt x="920" y="108"/>
                      </a:lnTo>
                      <a:lnTo>
                        <a:pt x="960" y="88"/>
                      </a:lnTo>
                      <a:lnTo>
                        <a:pt x="1020" y="132"/>
                      </a:lnTo>
                      <a:lnTo>
                        <a:pt x="1092" y="66"/>
                      </a:lnTo>
                      <a:lnTo>
                        <a:pt x="1106" y="90"/>
                      </a:lnTo>
                      <a:lnTo>
                        <a:pt x="1130" y="50"/>
                      </a:lnTo>
                      <a:lnTo>
                        <a:pt x="1190" y="66"/>
                      </a:lnTo>
                      <a:lnTo>
                        <a:pt x="1162" y="108"/>
                      </a:lnTo>
                      <a:lnTo>
                        <a:pt x="1156" y="166"/>
                      </a:lnTo>
                      <a:lnTo>
                        <a:pt x="1188" y="116"/>
                      </a:lnTo>
                      <a:lnTo>
                        <a:pt x="1246" y="40"/>
                      </a:lnTo>
                      <a:lnTo>
                        <a:pt x="1242" y="102"/>
                      </a:lnTo>
                      <a:lnTo>
                        <a:pt x="1290" y="48"/>
                      </a:lnTo>
                      <a:lnTo>
                        <a:pt x="1276" y="26"/>
                      </a:lnTo>
                      <a:lnTo>
                        <a:pt x="1316" y="0"/>
                      </a:lnTo>
                      <a:lnTo>
                        <a:pt x="1358" y="18"/>
                      </a:lnTo>
                      <a:lnTo>
                        <a:pt x="1332" y="54"/>
                      </a:lnTo>
                      <a:lnTo>
                        <a:pt x="1344" y="66"/>
                      </a:lnTo>
                      <a:lnTo>
                        <a:pt x="1360" y="52"/>
                      </a:lnTo>
                      <a:lnTo>
                        <a:pt x="1342" y="90"/>
                      </a:lnTo>
                      <a:lnTo>
                        <a:pt x="1368" y="94"/>
                      </a:lnTo>
                      <a:lnTo>
                        <a:pt x="1370" y="66"/>
                      </a:lnTo>
                      <a:lnTo>
                        <a:pt x="1386" y="30"/>
                      </a:lnTo>
                      <a:lnTo>
                        <a:pt x="1406" y="54"/>
                      </a:lnTo>
                      <a:lnTo>
                        <a:pt x="1412" y="78"/>
                      </a:lnTo>
                      <a:lnTo>
                        <a:pt x="1430" y="56"/>
                      </a:lnTo>
                      <a:lnTo>
                        <a:pt x="1438" y="78"/>
                      </a:lnTo>
                      <a:lnTo>
                        <a:pt x="1466" y="80"/>
                      </a:lnTo>
                      <a:lnTo>
                        <a:pt x="1478" y="112"/>
                      </a:lnTo>
                      <a:lnTo>
                        <a:pt x="1426" y="120"/>
                      </a:lnTo>
                      <a:lnTo>
                        <a:pt x="1408" y="144"/>
                      </a:lnTo>
                      <a:lnTo>
                        <a:pt x="1386" y="144"/>
                      </a:lnTo>
                      <a:lnTo>
                        <a:pt x="1402" y="166"/>
                      </a:lnTo>
                      <a:lnTo>
                        <a:pt x="1428" y="156"/>
                      </a:lnTo>
                      <a:lnTo>
                        <a:pt x="1448" y="174"/>
                      </a:lnTo>
                      <a:lnTo>
                        <a:pt x="1420" y="186"/>
                      </a:lnTo>
                      <a:lnTo>
                        <a:pt x="1434" y="210"/>
                      </a:lnTo>
                      <a:lnTo>
                        <a:pt x="1416" y="264"/>
                      </a:lnTo>
                      <a:lnTo>
                        <a:pt x="1408" y="234"/>
                      </a:lnTo>
                      <a:lnTo>
                        <a:pt x="1374" y="224"/>
                      </a:lnTo>
                      <a:lnTo>
                        <a:pt x="1342" y="198"/>
                      </a:lnTo>
                      <a:lnTo>
                        <a:pt x="1314" y="156"/>
                      </a:lnTo>
                      <a:lnTo>
                        <a:pt x="1272" y="180"/>
                      </a:lnTo>
                      <a:lnTo>
                        <a:pt x="1232" y="166"/>
                      </a:lnTo>
                      <a:lnTo>
                        <a:pt x="1196" y="210"/>
                      </a:lnTo>
                      <a:lnTo>
                        <a:pt x="1188" y="266"/>
                      </a:lnTo>
                      <a:lnTo>
                        <a:pt x="1144" y="322"/>
                      </a:lnTo>
                      <a:lnTo>
                        <a:pt x="1106" y="300"/>
                      </a:lnTo>
                      <a:lnTo>
                        <a:pt x="1020" y="300"/>
                      </a:lnTo>
                      <a:lnTo>
                        <a:pt x="948" y="234"/>
                      </a:lnTo>
                      <a:lnTo>
                        <a:pt x="922" y="242"/>
                      </a:lnTo>
                      <a:lnTo>
                        <a:pt x="926" y="264"/>
                      </a:lnTo>
                      <a:lnTo>
                        <a:pt x="862" y="270"/>
                      </a:lnTo>
                      <a:lnTo>
                        <a:pt x="878" y="296"/>
                      </a:lnTo>
                      <a:lnTo>
                        <a:pt x="852" y="348"/>
                      </a:lnTo>
                      <a:lnTo>
                        <a:pt x="792" y="348"/>
                      </a:lnTo>
                      <a:lnTo>
                        <a:pt x="786" y="396"/>
                      </a:lnTo>
                      <a:lnTo>
                        <a:pt x="754" y="364"/>
                      </a:lnTo>
                      <a:lnTo>
                        <a:pt x="720" y="390"/>
                      </a:lnTo>
                      <a:lnTo>
                        <a:pt x="708" y="444"/>
                      </a:lnTo>
                      <a:lnTo>
                        <a:pt x="670" y="474"/>
                      </a:lnTo>
                      <a:lnTo>
                        <a:pt x="660" y="492"/>
                      </a:lnTo>
                      <a:lnTo>
                        <a:pt x="642" y="492"/>
                      </a:lnTo>
                      <a:lnTo>
                        <a:pt x="622" y="562"/>
                      </a:lnTo>
                      <a:lnTo>
                        <a:pt x="592" y="612"/>
                      </a:lnTo>
                      <a:lnTo>
                        <a:pt x="560" y="632"/>
                      </a:lnTo>
                      <a:lnTo>
                        <a:pt x="568" y="688"/>
                      </a:lnTo>
                      <a:lnTo>
                        <a:pt x="550" y="732"/>
                      </a:lnTo>
                      <a:lnTo>
                        <a:pt x="516" y="700"/>
                      </a:lnTo>
                      <a:lnTo>
                        <a:pt x="468" y="732"/>
                      </a:lnTo>
                      <a:lnTo>
                        <a:pt x="408" y="822"/>
                      </a:lnTo>
                      <a:lnTo>
                        <a:pt x="408" y="980"/>
                      </a:lnTo>
                      <a:lnTo>
                        <a:pt x="428" y="1012"/>
                      </a:lnTo>
                      <a:lnTo>
                        <a:pt x="428" y="1044"/>
                      </a:lnTo>
                      <a:lnTo>
                        <a:pt x="402" y="1066"/>
                      </a:lnTo>
                      <a:lnTo>
                        <a:pt x="396" y="1126"/>
                      </a:lnTo>
                      <a:lnTo>
                        <a:pt x="406" y="1150"/>
                      </a:lnTo>
                      <a:lnTo>
                        <a:pt x="376" y="1194"/>
                      </a:lnTo>
                      <a:lnTo>
                        <a:pt x="396" y="1240"/>
                      </a:lnTo>
                      <a:lnTo>
                        <a:pt x="390" y="1268"/>
                      </a:lnTo>
                      <a:lnTo>
                        <a:pt x="362" y="127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7" name="Freeform 212"/>
                <p:cNvSpPr>
                  <a:spLocks/>
                </p:cNvSpPr>
                <p:nvPr/>
              </p:nvSpPr>
              <p:spPr bwMode="auto">
                <a:xfrm>
                  <a:off x="2748" y="694"/>
                  <a:ext cx="52" cy="72"/>
                </a:xfrm>
                <a:custGeom>
                  <a:avLst/>
                  <a:gdLst>
                    <a:gd name="T0" fmla="*/ 52 w 52"/>
                    <a:gd name="T1" fmla="*/ 0 h 72"/>
                    <a:gd name="T2" fmla="*/ 50 w 52"/>
                    <a:gd name="T3" fmla="*/ 52 h 72"/>
                    <a:gd name="T4" fmla="*/ 0 w 52"/>
                    <a:gd name="T5" fmla="*/ 72 h 72"/>
                    <a:gd name="T6" fmla="*/ 8 w 52"/>
                    <a:gd name="T7" fmla="*/ 24 h 72"/>
                    <a:gd name="T8" fmla="*/ 52 w 52"/>
                    <a:gd name="T9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2" h="72">
                      <a:moveTo>
                        <a:pt x="52" y="0"/>
                      </a:moveTo>
                      <a:lnTo>
                        <a:pt x="50" y="52"/>
                      </a:lnTo>
                      <a:lnTo>
                        <a:pt x="0" y="72"/>
                      </a:lnTo>
                      <a:lnTo>
                        <a:pt x="8" y="24"/>
                      </a:lnTo>
                      <a:lnTo>
                        <a:pt x="52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8" name="Freeform 213"/>
                <p:cNvSpPr>
                  <a:spLocks/>
                </p:cNvSpPr>
                <p:nvPr/>
              </p:nvSpPr>
              <p:spPr bwMode="auto">
                <a:xfrm>
                  <a:off x="2810" y="648"/>
                  <a:ext cx="40" cy="32"/>
                </a:xfrm>
                <a:custGeom>
                  <a:avLst/>
                  <a:gdLst>
                    <a:gd name="T0" fmla="*/ 40 w 40"/>
                    <a:gd name="T1" fmla="*/ 0 h 32"/>
                    <a:gd name="T2" fmla="*/ 26 w 40"/>
                    <a:gd name="T3" fmla="*/ 32 h 32"/>
                    <a:gd name="T4" fmla="*/ 0 w 40"/>
                    <a:gd name="T5" fmla="*/ 26 h 32"/>
                    <a:gd name="T6" fmla="*/ 8 w 40"/>
                    <a:gd name="T7" fmla="*/ 0 h 32"/>
                    <a:gd name="T8" fmla="*/ 40 w 40"/>
                    <a:gd name="T9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32">
                      <a:moveTo>
                        <a:pt x="40" y="0"/>
                      </a:moveTo>
                      <a:lnTo>
                        <a:pt x="26" y="32"/>
                      </a:lnTo>
                      <a:lnTo>
                        <a:pt x="0" y="26"/>
                      </a:lnTo>
                      <a:lnTo>
                        <a:pt x="8" y="0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9" name="Freeform 214"/>
                <p:cNvSpPr>
                  <a:spLocks/>
                </p:cNvSpPr>
                <p:nvPr/>
              </p:nvSpPr>
              <p:spPr bwMode="auto">
                <a:xfrm>
                  <a:off x="3006" y="526"/>
                  <a:ext cx="70" cy="42"/>
                </a:xfrm>
                <a:custGeom>
                  <a:avLst/>
                  <a:gdLst>
                    <a:gd name="T0" fmla="*/ 70 w 70"/>
                    <a:gd name="T1" fmla="*/ 0 h 42"/>
                    <a:gd name="T2" fmla="*/ 58 w 70"/>
                    <a:gd name="T3" fmla="*/ 32 h 42"/>
                    <a:gd name="T4" fmla="*/ 0 w 70"/>
                    <a:gd name="T5" fmla="*/ 42 h 42"/>
                    <a:gd name="T6" fmla="*/ 4 w 70"/>
                    <a:gd name="T7" fmla="*/ 18 h 42"/>
                    <a:gd name="T8" fmla="*/ 52 w 70"/>
                    <a:gd name="T9" fmla="*/ 24 h 42"/>
                    <a:gd name="T10" fmla="*/ 52 w 70"/>
                    <a:gd name="T11" fmla="*/ 0 h 42"/>
                    <a:gd name="T12" fmla="*/ 70 w 70"/>
                    <a:gd name="T13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0" h="42">
                      <a:moveTo>
                        <a:pt x="70" y="0"/>
                      </a:moveTo>
                      <a:lnTo>
                        <a:pt x="58" y="32"/>
                      </a:lnTo>
                      <a:lnTo>
                        <a:pt x="0" y="42"/>
                      </a:lnTo>
                      <a:lnTo>
                        <a:pt x="4" y="18"/>
                      </a:lnTo>
                      <a:lnTo>
                        <a:pt x="52" y="24"/>
                      </a:lnTo>
                      <a:lnTo>
                        <a:pt x="52" y="0"/>
                      </a:lnTo>
                      <a:lnTo>
                        <a:pt x="70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0" name="Freeform 215"/>
                <p:cNvSpPr>
                  <a:spLocks/>
                </p:cNvSpPr>
                <p:nvPr/>
              </p:nvSpPr>
              <p:spPr bwMode="auto">
                <a:xfrm>
                  <a:off x="3080" y="562"/>
                  <a:ext cx="40" cy="42"/>
                </a:xfrm>
                <a:custGeom>
                  <a:avLst/>
                  <a:gdLst>
                    <a:gd name="T0" fmla="*/ 40 w 40"/>
                    <a:gd name="T1" fmla="*/ 0 h 42"/>
                    <a:gd name="T2" fmla="*/ 14 w 40"/>
                    <a:gd name="T3" fmla="*/ 42 h 42"/>
                    <a:gd name="T4" fmla="*/ 0 w 40"/>
                    <a:gd name="T5" fmla="*/ 18 h 42"/>
                    <a:gd name="T6" fmla="*/ 40 w 40"/>
                    <a:gd name="T7" fmla="*/ 0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0" h="42">
                      <a:moveTo>
                        <a:pt x="40" y="0"/>
                      </a:moveTo>
                      <a:lnTo>
                        <a:pt x="14" y="42"/>
                      </a:lnTo>
                      <a:lnTo>
                        <a:pt x="0" y="18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1" name="Freeform 216"/>
                <p:cNvSpPr>
                  <a:spLocks/>
                </p:cNvSpPr>
                <p:nvPr/>
              </p:nvSpPr>
              <p:spPr bwMode="auto">
                <a:xfrm>
                  <a:off x="2848" y="602"/>
                  <a:ext cx="30" cy="38"/>
                </a:xfrm>
                <a:custGeom>
                  <a:avLst/>
                  <a:gdLst>
                    <a:gd name="T0" fmla="*/ 20 w 30"/>
                    <a:gd name="T1" fmla="*/ 0 h 38"/>
                    <a:gd name="T2" fmla="*/ 0 w 30"/>
                    <a:gd name="T3" fmla="*/ 32 h 38"/>
                    <a:gd name="T4" fmla="*/ 30 w 30"/>
                    <a:gd name="T5" fmla="*/ 38 h 38"/>
                    <a:gd name="T6" fmla="*/ 20 w 30"/>
                    <a:gd name="T7" fmla="*/ 0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0" h="38">
                      <a:moveTo>
                        <a:pt x="20" y="0"/>
                      </a:moveTo>
                      <a:lnTo>
                        <a:pt x="0" y="32"/>
                      </a:lnTo>
                      <a:lnTo>
                        <a:pt x="30" y="38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62" name="Freeform 217"/>
                <p:cNvSpPr>
                  <a:spLocks/>
                </p:cNvSpPr>
                <p:nvPr/>
              </p:nvSpPr>
              <p:spPr bwMode="auto">
                <a:xfrm>
                  <a:off x="3230" y="508"/>
                  <a:ext cx="24" cy="32"/>
                </a:xfrm>
                <a:custGeom>
                  <a:avLst/>
                  <a:gdLst>
                    <a:gd name="T0" fmla="*/ 22 w 24"/>
                    <a:gd name="T1" fmla="*/ 0 h 32"/>
                    <a:gd name="T2" fmla="*/ 0 w 24"/>
                    <a:gd name="T3" fmla="*/ 24 h 32"/>
                    <a:gd name="T4" fmla="*/ 24 w 24"/>
                    <a:gd name="T5" fmla="*/ 32 h 32"/>
                    <a:gd name="T6" fmla="*/ 22 w 24"/>
                    <a:gd name="T7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32">
                      <a:moveTo>
                        <a:pt x="22" y="0"/>
                      </a:moveTo>
                      <a:lnTo>
                        <a:pt x="0" y="24"/>
                      </a:lnTo>
                      <a:lnTo>
                        <a:pt x="24" y="32"/>
                      </a:lnTo>
                      <a:lnTo>
                        <a:pt x="22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grpSp>
            <p:nvGrpSpPr>
              <p:cNvPr id="539" name="Group 218"/>
              <p:cNvGrpSpPr>
                <a:grpSpLocks/>
              </p:cNvGrpSpPr>
              <p:nvPr/>
            </p:nvGrpSpPr>
            <p:grpSpPr bwMode="auto">
              <a:xfrm>
                <a:off x="2416" y="772"/>
                <a:ext cx="710" cy="1354"/>
                <a:chOff x="2416" y="772"/>
                <a:chExt cx="710" cy="1354"/>
              </a:xfrm>
              <a:grpFill/>
            </p:grpSpPr>
            <p:sp>
              <p:nvSpPr>
                <p:cNvPr id="553" name="Freeform 219"/>
                <p:cNvSpPr>
                  <a:spLocks/>
                </p:cNvSpPr>
                <p:nvPr/>
              </p:nvSpPr>
              <p:spPr bwMode="auto">
                <a:xfrm>
                  <a:off x="2609" y="2097"/>
                  <a:ext cx="43" cy="29"/>
                </a:xfrm>
                <a:custGeom>
                  <a:avLst/>
                  <a:gdLst>
                    <a:gd name="T0" fmla="*/ 0 w 43"/>
                    <a:gd name="T1" fmla="*/ 0 h 29"/>
                    <a:gd name="T2" fmla="*/ 18 w 43"/>
                    <a:gd name="T3" fmla="*/ 29 h 29"/>
                    <a:gd name="T4" fmla="*/ 43 w 43"/>
                    <a:gd name="T5" fmla="*/ 15 h 29"/>
                    <a:gd name="T6" fmla="*/ 0 w 43"/>
                    <a:gd name="T7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" h="29">
                      <a:moveTo>
                        <a:pt x="0" y="0"/>
                      </a:moveTo>
                      <a:lnTo>
                        <a:pt x="18" y="29"/>
                      </a:lnTo>
                      <a:lnTo>
                        <a:pt x="43" y="1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4" name="Freeform 220"/>
                <p:cNvSpPr>
                  <a:spLocks/>
                </p:cNvSpPr>
                <p:nvPr/>
              </p:nvSpPr>
              <p:spPr bwMode="auto">
                <a:xfrm>
                  <a:off x="2807" y="1866"/>
                  <a:ext cx="58" cy="98"/>
                </a:xfrm>
                <a:custGeom>
                  <a:avLst/>
                  <a:gdLst>
                    <a:gd name="T0" fmla="*/ 58 w 58"/>
                    <a:gd name="T1" fmla="*/ 0 h 98"/>
                    <a:gd name="T2" fmla="*/ 19 w 58"/>
                    <a:gd name="T3" fmla="*/ 15 h 98"/>
                    <a:gd name="T4" fmla="*/ 0 w 58"/>
                    <a:gd name="T5" fmla="*/ 48 h 98"/>
                    <a:gd name="T6" fmla="*/ 12 w 58"/>
                    <a:gd name="T7" fmla="*/ 98 h 98"/>
                    <a:gd name="T8" fmla="*/ 46 w 58"/>
                    <a:gd name="T9" fmla="*/ 57 h 98"/>
                    <a:gd name="T10" fmla="*/ 37 w 58"/>
                    <a:gd name="T11" fmla="*/ 47 h 98"/>
                    <a:gd name="T12" fmla="*/ 58 w 58"/>
                    <a:gd name="T13" fmla="*/ 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8" h="98">
                      <a:moveTo>
                        <a:pt x="58" y="0"/>
                      </a:moveTo>
                      <a:lnTo>
                        <a:pt x="19" y="15"/>
                      </a:lnTo>
                      <a:lnTo>
                        <a:pt x="0" y="48"/>
                      </a:lnTo>
                      <a:lnTo>
                        <a:pt x="12" y="98"/>
                      </a:lnTo>
                      <a:lnTo>
                        <a:pt x="46" y="57"/>
                      </a:lnTo>
                      <a:lnTo>
                        <a:pt x="37" y="47"/>
                      </a:lnTo>
                      <a:lnTo>
                        <a:pt x="58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5" name="Freeform 221"/>
                <p:cNvSpPr>
                  <a:spLocks/>
                </p:cNvSpPr>
                <p:nvPr/>
              </p:nvSpPr>
              <p:spPr bwMode="auto">
                <a:xfrm>
                  <a:off x="2416" y="772"/>
                  <a:ext cx="710" cy="1308"/>
                </a:xfrm>
                <a:custGeom>
                  <a:avLst/>
                  <a:gdLst>
                    <a:gd name="T0" fmla="*/ 604 w 710"/>
                    <a:gd name="T1" fmla="*/ 60 h 1308"/>
                    <a:gd name="T2" fmla="*/ 688 w 710"/>
                    <a:gd name="T3" fmla="*/ 114 h 1308"/>
                    <a:gd name="T4" fmla="*/ 698 w 710"/>
                    <a:gd name="T5" fmla="*/ 184 h 1308"/>
                    <a:gd name="T6" fmla="*/ 696 w 710"/>
                    <a:gd name="T7" fmla="*/ 274 h 1308"/>
                    <a:gd name="T8" fmla="*/ 678 w 710"/>
                    <a:gd name="T9" fmla="*/ 300 h 1308"/>
                    <a:gd name="T10" fmla="*/ 658 w 710"/>
                    <a:gd name="T11" fmla="*/ 292 h 1308"/>
                    <a:gd name="T12" fmla="*/ 636 w 710"/>
                    <a:gd name="T13" fmla="*/ 318 h 1308"/>
                    <a:gd name="T14" fmla="*/ 572 w 710"/>
                    <a:gd name="T15" fmla="*/ 348 h 1308"/>
                    <a:gd name="T16" fmla="*/ 556 w 710"/>
                    <a:gd name="T17" fmla="*/ 408 h 1308"/>
                    <a:gd name="T18" fmla="*/ 518 w 710"/>
                    <a:gd name="T19" fmla="*/ 516 h 1308"/>
                    <a:gd name="T20" fmla="*/ 430 w 710"/>
                    <a:gd name="T21" fmla="*/ 572 h 1308"/>
                    <a:gd name="T22" fmla="*/ 362 w 710"/>
                    <a:gd name="T23" fmla="*/ 694 h 1308"/>
                    <a:gd name="T24" fmla="*/ 354 w 710"/>
                    <a:gd name="T25" fmla="*/ 820 h 1308"/>
                    <a:gd name="T26" fmla="*/ 446 w 710"/>
                    <a:gd name="T27" fmla="*/ 894 h 1308"/>
                    <a:gd name="T28" fmla="*/ 414 w 710"/>
                    <a:gd name="T29" fmla="*/ 946 h 1308"/>
                    <a:gd name="T30" fmla="*/ 384 w 710"/>
                    <a:gd name="T31" fmla="*/ 1002 h 1308"/>
                    <a:gd name="T32" fmla="*/ 330 w 710"/>
                    <a:gd name="T33" fmla="*/ 1024 h 1308"/>
                    <a:gd name="T34" fmla="*/ 294 w 710"/>
                    <a:gd name="T35" fmla="*/ 1200 h 1308"/>
                    <a:gd name="T36" fmla="*/ 298 w 710"/>
                    <a:gd name="T37" fmla="*/ 1230 h 1308"/>
                    <a:gd name="T38" fmla="*/ 264 w 710"/>
                    <a:gd name="T39" fmla="*/ 1228 h 1308"/>
                    <a:gd name="T40" fmla="*/ 168 w 710"/>
                    <a:gd name="T41" fmla="*/ 1304 h 1308"/>
                    <a:gd name="T42" fmla="*/ 90 w 710"/>
                    <a:gd name="T43" fmla="*/ 1220 h 1308"/>
                    <a:gd name="T44" fmla="*/ 92 w 710"/>
                    <a:gd name="T45" fmla="*/ 1188 h 1308"/>
                    <a:gd name="T46" fmla="*/ 32 w 710"/>
                    <a:gd name="T47" fmla="*/ 1118 h 1308"/>
                    <a:gd name="T48" fmla="*/ 36 w 710"/>
                    <a:gd name="T49" fmla="*/ 1066 h 1308"/>
                    <a:gd name="T50" fmla="*/ 0 w 710"/>
                    <a:gd name="T51" fmla="*/ 1026 h 1308"/>
                    <a:gd name="T52" fmla="*/ 30 w 710"/>
                    <a:gd name="T53" fmla="*/ 1004 h 1308"/>
                    <a:gd name="T54" fmla="*/ 20 w 710"/>
                    <a:gd name="T55" fmla="*/ 924 h 1308"/>
                    <a:gd name="T56" fmla="*/ 36 w 710"/>
                    <a:gd name="T57" fmla="*/ 860 h 1308"/>
                    <a:gd name="T58" fmla="*/ 70 w 710"/>
                    <a:gd name="T59" fmla="*/ 780 h 1308"/>
                    <a:gd name="T60" fmla="*/ 50 w 710"/>
                    <a:gd name="T61" fmla="*/ 710 h 1308"/>
                    <a:gd name="T62" fmla="*/ 114 w 710"/>
                    <a:gd name="T63" fmla="*/ 466 h 1308"/>
                    <a:gd name="T64" fmla="*/ 196 w 710"/>
                    <a:gd name="T65" fmla="*/ 464 h 1308"/>
                    <a:gd name="T66" fmla="*/ 206 w 710"/>
                    <a:gd name="T67" fmla="*/ 364 h 1308"/>
                    <a:gd name="T68" fmla="*/ 270 w 710"/>
                    <a:gd name="T69" fmla="*/ 286 h 1308"/>
                    <a:gd name="T70" fmla="*/ 308 w 710"/>
                    <a:gd name="T71" fmla="*/ 226 h 1308"/>
                    <a:gd name="T72" fmla="*/ 350 w 710"/>
                    <a:gd name="T73" fmla="*/ 174 h 1308"/>
                    <a:gd name="T74" fmla="*/ 398 w 710"/>
                    <a:gd name="T75" fmla="*/ 100 h 1308"/>
                    <a:gd name="T76" fmla="*/ 438 w 710"/>
                    <a:gd name="T77" fmla="*/ 82 h 1308"/>
                    <a:gd name="T78" fmla="*/ 518 w 710"/>
                    <a:gd name="T79" fmla="*/ 32 h 1308"/>
                    <a:gd name="T80" fmla="*/ 544 w 710"/>
                    <a:gd name="T81" fmla="*/ 0 h 13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10" h="1308">
                      <a:moveTo>
                        <a:pt x="544" y="0"/>
                      </a:moveTo>
                      <a:lnTo>
                        <a:pt x="604" y="60"/>
                      </a:lnTo>
                      <a:lnTo>
                        <a:pt x="644" y="60"/>
                      </a:lnTo>
                      <a:lnTo>
                        <a:pt x="688" y="114"/>
                      </a:lnTo>
                      <a:lnTo>
                        <a:pt x="688" y="152"/>
                      </a:lnTo>
                      <a:lnTo>
                        <a:pt x="698" y="184"/>
                      </a:lnTo>
                      <a:lnTo>
                        <a:pt x="692" y="224"/>
                      </a:lnTo>
                      <a:lnTo>
                        <a:pt x="696" y="274"/>
                      </a:lnTo>
                      <a:lnTo>
                        <a:pt x="710" y="302"/>
                      </a:lnTo>
                      <a:lnTo>
                        <a:pt x="678" y="300"/>
                      </a:lnTo>
                      <a:lnTo>
                        <a:pt x="666" y="312"/>
                      </a:lnTo>
                      <a:lnTo>
                        <a:pt x="658" y="292"/>
                      </a:lnTo>
                      <a:lnTo>
                        <a:pt x="626" y="294"/>
                      </a:lnTo>
                      <a:lnTo>
                        <a:pt x="636" y="318"/>
                      </a:lnTo>
                      <a:lnTo>
                        <a:pt x="594" y="344"/>
                      </a:lnTo>
                      <a:lnTo>
                        <a:pt x="572" y="348"/>
                      </a:lnTo>
                      <a:lnTo>
                        <a:pt x="576" y="382"/>
                      </a:lnTo>
                      <a:lnTo>
                        <a:pt x="556" y="408"/>
                      </a:lnTo>
                      <a:lnTo>
                        <a:pt x="572" y="458"/>
                      </a:lnTo>
                      <a:lnTo>
                        <a:pt x="518" y="516"/>
                      </a:lnTo>
                      <a:lnTo>
                        <a:pt x="432" y="546"/>
                      </a:lnTo>
                      <a:lnTo>
                        <a:pt x="430" y="572"/>
                      </a:lnTo>
                      <a:lnTo>
                        <a:pt x="358" y="636"/>
                      </a:lnTo>
                      <a:lnTo>
                        <a:pt x="362" y="694"/>
                      </a:lnTo>
                      <a:lnTo>
                        <a:pt x="342" y="760"/>
                      </a:lnTo>
                      <a:lnTo>
                        <a:pt x="354" y="820"/>
                      </a:lnTo>
                      <a:lnTo>
                        <a:pt x="390" y="834"/>
                      </a:lnTo>
                      <a:lnTo>
                        <a:pt x="446" y="894"/>
                      </a:lnTo>
                      <a:lnTo>
                        <a:pt x="446" y="918"/>
                      </a:lnTo>
                      <a:lnTo>
                        <a:pt x="414" y="946"/>
                      </a:lnTo>
                      <a:lnTo>
                        <a:pt x="444" y="954"/>
                      </a:lnTo>
                      <a:lnTo>
                        <a:pt x="384" y="1002"/>
                      </a:lnTo>
                      <a:lnTo>
                        <a:pt x="302" y="1008"/>
                      </a:lnTo>
                      <a:lnTo>
                        <a:pt x="330" y="1024"/>
                      </a:lnTo>
                      <a:lnTo>
                        <a:pt x="312" y="1112"/>
                      </a:lnTo>
                      <a:lnTo>
                        <a:pt x="294" y="1200"/>
                      </a:lnTo>
                      <a:lnTo>
                        <a:pt x="316" y="1176"/>
                      </a:lnTo>
                      <a:lnTo>
                        <a:pt x="298" y="1230"/>
                      </a:lnTo>
                      <a:lnTo>
                        <a:pt x="282" y="1224"/>
                      </a:lnTo>
                      <a:lnTo>
                        <a:pt x="264" y="1228"/>
                      </a:lnTo>
                      <a:lnTo>
                        <a:pt x="202" y="1234"/>
                      </a:lnTo>
                      <a:lnTo>
                        <a:pt x="168" y="1304"/>
                      </a:lnTo>
                      <a:lnTo>
                        <a:pt x="92" y="1308"/>
                      </a:lnTo>
                      <a:lnTo>
                        <a:pt x="90" y="1220"/>
                      </a:lnTo>
                      <a:lnTo>
                        <a:pt x="110" y="1194"/>
                      </a:lnTo>
                      <a:lnTo>
                        <a:pt x="92" y="1188"/>
                      </a:lnTo>
                      <a:lnTo>
                        <a:pt x="46" y="1120"/>
                      </a:lnTo>
                      <a:lnTo>
                        <a:pt x="32" y="1118"/>
                      </a:lnTo>
                      <a:lnTo>
                        <a:pt x="22" y="1086"/>
                      </a:lnTo>
                      <a:lnTo>
                        <a:pt x="36" y="1066"/>
                      </a:lnTo>
                      <a:lnTo>
                        <a:pt x="12" y="1032"/>
                      </a:lnTo>
                      <a:lnTo>
                        <a:pt x="0" y="1026"/>
                      </a:lnTo>
                      <a:lnTo>
                        <a:pt x="8" y="1002"/>
                      </a:lnTo>
                      <a:lnTo>
                        <a:pt x="30" y="1004"/>
                      </a:lnTo>
                      <a:lnTo>
                        <a:pt x="36" y="976"/>
                      </a:lnTo>
                      <a:lnTo>
                        <a:pt x="20" y="924"/>
                      </a:lnTo>
                      <a:lnTo>
                        <a:pt x="48" y="886"/>
                      </a:lnTo>
                      <a:lnTo>
                        <a:pt x="36" y="860"/>
                      </a:lnTo>
                      <a:lnTo>
                        <a:pt x="44" y="796"/>
                      </a:lnTo>
                      <a:lnTo>
                        <a:pt x="70" y="780"/>
                      </a:lnTo>
                      <a:lnTo>
                        <a:pt x="70" y="744"/>
                      </a:lnTo>
                      <a:lnTo>
                        <a:pt x="50" y="710"/>
                      </a:lnTo>
                      <a:lnTo>
                        <a:pt x="54" y="554"/>
                      </a:lnTo>
                      <a:lnTo>
                        <a:pt x="114" y="466"/>
                      </a:lnTo>
                      <a:lnTo>
                        <a:pt x="158" y="434"/>
                      </a:lnTo>
                      <a:lnTo>
                        <a:pt x="196" y="464"/>
                      </a:lnTo>
                      <a:lnTo>
                        <a:pt x="210" y="426"/>
                      </a:lnTo>
                      <a:lnTo>
                        <a:pt x="206" y="364"/>
                      </a:lnTo>
                      <a:lnTo>
                        <a:pt x="240" y="344"/>
                      </a:lnTo>
                      <a:lnTo>
                        <a:pt x="270" y="286"/>
                      </a:lnTo>
                      <a:lnTo>
                        <a:pt x="284" y="226"/>
                      </a:lnTo>
                      <a:lnTo>
                        <a:pt x="308" y="226"/>
                      </a:lnTo>
                      <a:lnTo>
                        <a:pt x="312" y="206"/>
                      </a:lnTo>
                      <a:lnTo>
                        <a:pt x="350" y="174"/>
                      </a:lnTo>
                      <a:lnTo>
                        <a:pt x="366" y="118"/>
                      </a:lnTo>
                      <a:lnTo>
                        <a:pt x="398" y="100"/>
                      </a:lnTo>
                      <a:lnTo>
                        <a:pt x="432" y="134"/>
                      </a:lnTo>
                      <a:lnTo>
                        <a:pt x="438" y="82"/>
                      </a:lnTo>
                      <a:lnTo>
                        <a:pt x="492" y="84"/>
                      </a:lnTo>
                      <a:lnTo>
                        <a:pt x="518" y="32"/>
                      </a:lnTo>
                      <a:lnTo>
                        <a:pt x="506" y="6"/>
                      </a:lnTo>
                      <a:lnTo>
                        <a:pt x="544" y="0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540" name="Freeform 222"/>
              <p:cNvSpPr>
                <a:spLocks/>
              </p:cNvSpPr>
              <p:nvPr/>
            </p:nvSpPr>
            <p:spPr bwMode="auto">
              <a:xfrm>
                <a:off x="3008" y="1792"/>
                <a:ext cx="82" cy="48"/>
              </a:xfrm>
              <a:custGeom>
                <a:avLst/>
                <a:gdLst>
                  <a:gd name="T0" fmla="*/ 82 w 82"/>
                  <a:gd name="T1" fmla="*/ 0 h 48"/>
                  <a:gd name="T2" fmla="*/ 64 w 82"/>
                  <a:gd name="T3" fmla="*/ 36 h 48"/>
                  <a:gd name="T4" fmla="*/ 24 w 82"/>
                  <a:gd name="T5" fmla="*/ 48 h 48"/>
                  <a:gd name="T6" fmla="*/ 0 w 82"/>
                  <a:gd name="T7" fmla="*/ 6 h 48"/>
                  <a:gd name="T8" fmla="*/ 28 w 82"/>
                  <a:gd name="T9" fmla="*/ 0 h 48"/>
                  <a:gd name="T10" fmla="*/ 82 w 82"/>
                  <a:gd name="T11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2" h="48">
                    <a:moveTo>
                      <a:pt x="82" y="0"/>
                    </a:moveTo>
                    <a:lnTo>
                      <a:pt x="64" y="36"/>
                    </a:lnTo>
                    <a:lnTo>
                      <a:pt x="24" y="48"/>
                    </a:lnTo>
                    <a:lnTo>
                      <a:pt x="0" y="6"/>
                    </a:lnTo>
                    <a:lnTo>
                      <a:pt x="28" y="0"/>
                    </a:lnTo>
                    <a:lnTo>
                      <a:pt x="82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1" name="Freeform 223"/>
              <p:cNvSpPr>
                <a:spLocks/>
              </p:cNvSpPr>
              <p:nvPr/>
            </p:nvSpPr>
            <p:spPr bwMode="auto">
              <a:xfrm>
                <a:off x="2880" y="1612"/>
                <a:ext cx="40" cy="50"/>
              </a:xfrm>
              <a:custGeom>
                <a:avLst/>
                <a:gdLst>
                  <a:gd name="T0" fmla="*/ 14 w 40"/>
                  <a:gd name="T1" fmla="*/ 0 h 50"/>
                  <a:gd name="T2" fmla="*/ 40 w 40"/>
                  <a:gd name="T3" fmla="*/ 18 h 50"/>
                  <a:gd name="T4" fmla="*/ 34 w 40"/>
                  <a:gd name="T5" fmla="*/ 50 h 50"/>
                  <a:gd name="T6" fmla="*/ 0 w 40"/>
                  <a:gd name="T7" fmla="*/ 24 h 50"/>
                  <a:gd name="T8" fmla="*/ 14 w 40"/>
                  <a:gd name="T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50">
                    <a:moveTo>
                      <a:pt x="14" y="0"/>
                    </a:moveTo>
                    <a:lnTo>
                      <a:pt x="40" y="18"/>
                    </a:lnTo>
                    <a:lnTo>
                      <a:pt x="34" y="50"/>
                    </a:lnTo>
                    <a:lnTo>
                      <a:pt x="0" y="24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2" name="Freeform 224"/>
              <p:cNvSpPr>
                <a:spLocks/>
              </p:cNvSpPr>
              <p:nvPr/>
            </p:nvSpPr>
            <p:spPr bwMode="auto">
              <a:xfrm>
                <a:off x="3122" y="1678"/>
                <a:ext cx="258" cy="218"/>
              </a:xfrm>
              <a:custGeom>
                <a:avLst/>
                <a:gdLst>
                  <a:gd name="T0" fmla="*/ 22 w 258"/>
                  <a:gd name="T1" fmla="*/ 176 h 218"/>
                  <a:gd name="T2" fmla="*/ 22 w 258"/>
                  <a:gd name="T3" fmla="*/ 138 h 218"/>
                  <a:gd name="T4" fmla="*/ 4 w 258"/>
                  <a:gd name="T5" fmla="*/ 126 h 218"/>
                  <a:gd name="T6" fmla="*/ 0 w 258"/>
                  <a:gd name="T7" fmla="*/ 50 h 218"/>
                  <a:gd name="T8" fmla="*/ 44 w 258"/>
                  <a:gd name="T9" fmla="*/ 46 h 218"/>
                  <a:gd name="T10" fmla="*/ 108 w 258"/>
                  <a:gd name="T11" fmla="*/ 24 h 218"/>
                  <a:gd name="T12" fmla="*/ 196 w 258"/>
                  <a:gd name="T13" fmla="*/ 24 h 218"/>
                  <a:gd name="T14" fmla="*/ 194 w 258"/>
                  <a:gd name="T15" fmla="*/ 0 h 218"/>
                  <a:gd name="T16" fmla="*/ 228 w 258"/>
                  <a:gd name="T17" fmla="*/ 24 h 218"/>
                  <a:gd name="T18" fmla="*/ 250 w 258"/>
                  <a:gd name="T19" fmla="*/ 24 h 218"/>
                  <a:gd name="T20" fmla="*/ 258 w 258"/>
                  <a:gd name="T21" fmla="*/ 64 h 218"/>
                  <a:gd name="T22" fmla="*/ 226 w 258"/>
                  <a:gd name="T23" fmla="*/ 96 h 218"/>
                  <a:gd name="T24" fmla="*/ 224 w 258"/>
                  <a:gd name="T25" fmla="*/ 158 h 218"/>
                  <a:gd name="T26" fmla="*/ 192 w 258"/>
                  <a:gd name="T27" fmla="*/ 190 h 218"/>
                  <a:gd name="T28" fmla="*/ 184 w 258"/>
                  <a:gd name="T29" fmla="*/ 212 h 218"/>
                  <a:gd name="T30" fmla="*/ 158 w 258"/>
                  <a:gd name="T31" fmla="*/ 218 h 218"/>
                  <a:gd name="T32" fmla="*/ 142 w 258"/>
                  <a:gd name="T33" fmla="*/ 192 h 218"/>
                  <a:gd name="T34" fmla="*/ 130 w 258"/>
                  <a:gd name="T35" fmla="*/ 192 h 218"/>
                  <a:gd name="T36" fmla="*/ 106 w 258"/>
                  <a:gd name="T37" fmla="*/ 168 h 218"/>
                  <a:gd name="T38" fmla="*/ 66 w 258"/>
                  <a:gd name="T39" fmla="*/ 162 h 218"/>
                  <a:gd name="T40" fmla="*/ 54 w 258"/>
                  <a:gd name="T41" fmla="*/ 174 h 218"/>
                  <a:gd name="T42" fmla="*/ 22 w 258"/>
                  <a:gd name="T43" fmla="*/ 17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8" h="218">
                    <a:moveTo>
                      <a:pt x="22" y="176"/>
                    </a:moveTo>
                    <a:lnTo>
                      <a:pt x="22" y="138"/>
                    </a:lnTo>
                    <a:lnTo>
                      <a:pt x="4" y="126"/>
                    </a:lnTo>
                    <a:lnTo>
                      <a:pt x="0" y="50"/>
                    </a:lnTo>
                    <a:lnTo>
                      <a:pt x="44" y="46"/>
                    </a:lnTo>
                    <a:lnTo>
                      <a:pt x="108" y="24"/>
                    </a:lnTo>
                    <a:lnTo>
                      <a:pt x="196" y="24"/>
                    </a:lnTo>
                    <a:lnTo>
                      <a:pt x="194" y="0"/>
                    </a:lnTo>
                    <a:lnTo>
                      <a:pt x="228" y="24"/>
                    </a:lnTo>
                    <a:lnTo>
                      <a:pt x="250" y="24"/>
                    </a:lnTo>
                    <a:lnTo>
                      <a:pt x="258" y="64"/>
                    </a:lnTo>
                    <a:lnTo>
                      <a:pt x="226" y="96"/>
                    </a:lnTo>
                    <a:lnTo>
                      <a:pt x="224" y="158"/>
                    </a:lnTo>
                    <a:lnTo>
                      <a:pt x="192" y="190"/>
                    </a:lnTo>
                    <a:lnTo>
                      <a:pt x="184" y="212"/>
                    </a:lnTo>
                    <a:lnTo>
                      <a:pt x="158" y="218"/>
                    </a:lnTo>
                    <a:lnTo>
                      <a:pt x="142" y="192"/>
                    </a:lnTo>
                    <a:lnTo>
                      <a:pt x="130" y="192"/>
                    </a:lnTo>
                    <a:lnTo>
                      <a:pt x="106" y="168"/>
                    </a:lnTo>
                    <a:lnTo>
                      <a:pt x="66" y="162"/>
                    </a:lnTo>
                    <a:lnTo>
                      <a:pt x="54" y="174"/>
                    </a:lnTo>
                    <a:lnTo>
                      <a:pt x="22" y="17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3" name="Freeform 225"/>
              <p:cNvSpPr>
                <a:spLocks/>
              </p:cNvSpPr>
              <p:nvPr/>
            </p:nvSpPr>
            <p:spPr bwMode="auto">
              <a:xfrm>
                <a:off x="2964" y="664"/>
                <a:ext cx="608" cy="990"/>
              </a:xfrm>
              <a:custGeom>
                <a:avLst/>
                <a:gdLst>
                  <a:gd name="T0" fmla="*/ 348 w 608"/>
                  <a:gd name="T1" fmla="*/ 906 h 990"/>
                  <a:gd name="T2" fmla="*/ 298 w 608"/>
                  <a:gd name="T3" fmla="*/ 918 h 990"/>
                  <a:gd name="T4" fmla="*/ 192 w 608"/>
                  <a:gd name="T5" fmla="*/ 988 h 990"/>
                  <a:gd name="T6" fmla="*/ 142 w 608"/>
                  <a:gd name="T7" fmla="*/ 952 h 990"/>
                  <a:gd name="T8" fmla="*/ 98 w 608"/>
                  <a:gd name="T9" fmla="*/ 946 h 990"/>
                  <a:gd name="T10" fmla="*/ 142 w 608"/>
                  <a:gd name="T11" fmla="*/ 914 h 990"/>
                  <a:gd name="T12" fmla="*/ 54 w 608"/>
                  <a:gd name="T13" fmla="*/ 876 h 990"/>
                  <a:gd name="T14" fmla="*/ 70 w 608"/>
                  <a:gd name="T15" fmla="*/ 780 h 990"/>
                  <a:gd name="T16" fmla="*/ 56 w 608"/>
                  <a:gd name="T17" fmla="*/ 738 h 990"/>
                  <a:gd name="T18" fmla="*/ 80 w 608"/>
                  <a:gd name="T19" fmla="*/ 670 h 990"/>
                  <a:gd name="T20" fmla="*/ 142 w 608"/>
                  <a:gd name="T21" fmla="*/ 618 h 990"/>
                  <a:gd name="T22" fmla="*/ 188 w 608"/>
                  <a:gd name="T23" fmla="*/ 552 h 990"/>
                  <a:gd name="T24" fmla="*/ 242 w 608"/>
                  <a:gd name="T25" fmla="*/ 510 h 990"/>
                  <a:gd name="T26" fmla="*/ 228 w 608"/>
                  <a:gd name="T27" fmla="*/ 454 h 990"/>
                  <a:gd name="T28" fmla="*/ 228 w 608"/>
                  <a:gd name="T29" fmla="*/ 414 h 990"/>
                  <a:gd name="T30" fmla="*/ 192 w 608"/>
                  <a:gd name="T31" fmla="*/ 400 h 990"/>
                  <a:gd name="T32" fmla="*/ 162 w 608"/>
                  <a:gd name="T33" fmla="*/ 408 h 990"/>
                  <a:gd name="T34" fmla="*/ 142 w 608"/>
                  <a:gd name="T35" fmla="*/ 334 h 990"/>
                  <a:gd name="T36" fmla="*/ 138 w 608"/>
                  <a:gd name="T37" fmla="*/ 256 h 990"/>
                  <a:gd name="T38" fmla="*/ 96 w 608"/>
                  <a:gd name="T39" fmla="*/ 172 h 990"/>
                  <a:gd name="T40" fmla="*/ 0 w 608"/>
                  <a:gd name="T41" fmla="*/ 108 h 990"/>
                  <a:gd name="T42" fmla="*/ 18 w 608"/>
                  <a:gd name="T43" fmla="*/ 86 h 990"/>
                  <a:gd name="T44" fmla="*/ 114 w 608"/>
                  <a:gd name="T45" fmla="*/ 144 h 990"/>
                  <a:gd name="T46" fmla="*/ 240 w 608"/>
                  <a:gd name="T47" fmla="*/ 166 h 990"/>
                  <a:gd name="T48" fmla="*/ 288 w 608"/>
                  <a:gd name="T49" fmla="*/ 58 h 990"/>
                  <a:gd name="T50" fmla="*/ 366 w 608"/>
                  <a:gd name="T51" fmla="*/ 24 h 990"/>
                  <a:gd name="T52" fmla="*/ 438 w 608"/>
                  <a:gd name="T53" fmla="*/ 48 h 990"/>
                  <a:gd name="T54" fmla="*/ 502 w 608"/>
                  <a:gd name="T55" fmla="*/ 78 h 990"/>
                  <a:gd name="T56" fmla="*/ 482 w 608"/>
                  <a:gd name="T57" fmla="*/ 108 h 990"/>
                  <a:gd name="T58" fmla="*/ 510 w 608"/>
                  <a:gd name="T59" fmla="*/ 180 h 990"/>
                  <a:gd name="T60" fmla="*/ 482 w 608"/>
                  <a:gd name="T61" fmla="*/ 278 h 990"/>
                  <a:gd name="T62" fmla="*/ 522 w 608"/>
                  <a:gd name="T63" fmla="*/ 470 h 990"/>
                  <a:gd name="T64" fmla="*/ 558 w 608"/>
                  <a:gd name="T65" fmla="*/ 572 h 990"/>
                  <a:gd name="T66" fmla="*/ 550 w 608"/>
                  <a:gd name="T67" fmla="*/ 656 h 990"/>
                  <a:gd name="T68" fmla="*/ 596 w 608"/>
                  <a:gd name="T69" fmla="*/ 710 h 990"/>
                  <a:gd name="T70" fmla="*/ 602 w 608"/>
                  <a:gd name="T71" fmla="*/ 764 h 990"/>
                  <a:gd name="T72" fmla="*/ 384 w 608"/>
                  <a:gd name="T73" fmla="*/ 916 h 9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8" h="990">
                    <a:moveTo>
                      <a:pt x="384" y="916"/>
                    </a:moveTo>
                    <a:lnTo>
                      <a:pt x="348" y="906"/>
                    </a:lnTo>
                    <a:lnTo>
                      <a:pt x="332" y="932"/>
                    </a:lnTo>
                    <a:lnTo>
                      <a:pt x="298" y="918"/>
                    </a:lnTo>
                    <a:lnTo>
                      <a:pt x="260" y="942"/>
                    </a:lnTo>
                    <a:lnTo>
                      <a:pt x="192" y="988"/>
                    </a:lnTo>
                    <a:lnTo>
                      <a:pt x="168" y="990"/>
                    </a:lnTo>
                    <a:lnTo>
                      <a:pt x="142" y="952"/>
                    </a:lnTo>
                    <a:lnTo>
                      <a:pt x="114" y="978"/>
                    </a:lnTo>
                    <a:lnTo>
                      <a:pt x="98" y="946"/>
                    </a:lnTo>
                    <a:lnTo>
                      <a:pt x="146" y="940"/>
                    </a:lnTo>
                    <a:lnTo>
                      <a:pt x="142" y="914"/>
                    </a:lnTo>
                    <a:lnTo>
                      <a:pt x="120" y="918"/>
                    </a:lnTo>
                    <a:lnTo>
                      <a:pt x="54" y="876"/>
                    </a:lnTo>
                    <a:lnTo>
                      <a:pt x="66" y="810"/>
                    </a:lnTo>
                    <a:lnTo>
                      <a:pt x="70" y="780"/>
                    </a:lnTo>
                    <a:lnTo>
                      <a:pt x="52" y="750"/>
                    </a:lnTo>
                    <a:lnTo>
                      <a:pt x="56" y="738"/>
                    </a:lnTo>
                    <a:lnTo>
                      <a:pt x="42" y="720"/>
                    </a:lnTo>
                    <a:lnTo>
                      <a:pt x="80" y="670"/>
                    </a:lnTo>
                    <a:lnTo>
                      <a:pt x="102" y="660"/>
                    </a:lnTo>
                    <a:lnTo>
                      <a:pt x="142" y="618"/>
                    </a:lnTo>
                    <a:lnTo>
                      <a:pt x="172" y="602"/>
                    </a:lnTo>
                    <a:lnTo>
                      <a:pt x="188" y="552"/>
                    </a:lnTo>
                    <a:lnTo>
                      <a:pt x="216" y="510"/>
                    </a:lnTo>
                    <a:lnTo>
                      <a:pt x="242" y="510"/>
                    </a:lnTo>
                    <a:lnTo>
                      <a:pt x="236" y="478"/>
                    </a:lnTo>
                    <a:lnTo>
                      <a:pt x="228" y="454"/>
                    </a:lnTo>
                    <a:lnTo>
                      <a:pt x="244" y="432"/>
                    </a:lnTo>
                    <a:lnTo>
                      <a:pt x="228" y="414"/>
                    </a:lnTo>
                    <a:lnTo>
                      <a:pt x="216" y="426"/>
                    </a:lnTo>
                    <a:lnTo>
                      <a:pt x="192" y="400"/>
                    </a:lnTo>
                    <a:lnTo>
                      <a:pt x="178" y="414"/>
                    </a:lnTo>
                    <a:lnTo>
                      <a:pt x="162" y="408"/>
                    </a:lnTo>
                    <a:lnTo>
                      <a:pt x="148" y="380"/>
                    </a:lnTo>
                    <a:lnTo>
                      <a:pt x="142" y="334"/>
                    </a:lnTo>
                    <a:lnTo>
                      <a:pt x="150" y="290"/>
                    </a:lnTo>
                    <a:lnTo>
                      <a:pt x="138" y="256"/>
                    </a:lnTo>
                    <a:lnTo>
                      <a:pt x="140" y="224"/>
                    </a:lnTo>
                    <a:lnTo>
                      <a:pt x="96" y="172"/>
                    </a:lnTo>
                    <a:lnTo>
                      <a:pt x="50" y="168"/>
                    </a:lnTo>
                    <a:lnTo>
                      <a:pt x="0" y="108"/>
                    </a:lnTo>
                    <a:lnTo>
                      <a:pt x="18" y="108"/>
                    </a:lnTo>
                    <a:lnTo>
                      <a:pt x="18" y="86"/>
                    </a:lnTo>
                    <a:lnTo>
                      <a:pt x="42" y="76"/>
                    </a:lnTo>
                    <a:lnTo>
                      <a:pt x="114" y="144"/>
                    </a:lnTo>
                    <a:lnTo>
                      <a:pt x="204" y="144"/>
                    </a:lnTo>
                    <a:lnTo>
                      <a:pt x="240" y="166"/>
                    </a:lnTo>
                    <a:lnTo>
                      <a:pt x="284" y="110"/>
                    </a:lnTo>
                    <a:lnTo>
                      <a:pt x="288" y="58"/>
                    </a:lnTo>
                    <a:lnTo>
                      <a:pt x="328" y="10"/>
                    </a:lnTo>
                    <a:lnTo>
                      <a:pt x="366" y="24"/>
                    </a:lnTo>
                    <a:lnTo>
                      <a:pt x="412" y="0"/>
                    </a:lnTo>
                    <a:lnTo>
                      <a:pt x="438" y="48"/>
                    </a:lnTo>
                    <a:lnTo>
                      <a:pt x="478" y="72"/>
                    </a:lnTo>
                    <a:lnTo>
                      <a:pt x="502" y="78"/>
                    </a:lnTo>
                    <a:lnTo>
                      <a:pt x="496" y="90"/>
                    </a:lnTo>
                    <a:lnTo>
                      <a:pt x="482" y="108"/>
                    </a:lnTo>
                    <a:lnTo>
                      <a:pt x="486" y="180"/>
                    </a:lnTo>
                    <a:lnTo>
                      <a:pt x="510" y="180"/>
                    </a:lnTo>
                    <a:lnTo>
                      <a:pt x="516" y="212"/>
                    </a:lnTo>
                    <a:lnTo>
                      <a:pt x="482" y="278"/>
                    </a:lnTo>
                    <a:lnTo>
                      <a:pt x="518" y="408"/>
                    </a:lnTo>
                    <a:lnTo>
                      <a:pt x="522" y="470"/>
                    </a:lnTo>
                    <a:lnTo>
                      <a:pt x="522" y="510"/>
                    </a:lnTo>
                    <a:lnTo>
                      <a:pt x="558" y="572"/>
                    </a:lnTo>
                    <a:lnTo>
                      <a:pt x="568" y="620"/>
                    </a:lnTo>
                    <a:lnTo>
                      <a:pt x="550" y="656"/>
                    </a:lnTo>
                    <a:lnTo>
                      <a:pt x="558" y="698"/>
                    </a:lnTo>
                    <a:lnTo>
                      <a:pt x="596" y="710"/>
                    </a:lnTo>
                    <a:lnTo>
                      <a:pt x="608" y="742"/>
                    </a:lnTo>
                    <a:lnTo>
                      <a:pt x="602" y="764"/>
                    </a:lnTo>
                    <a:lnTo>
                      <a:pt x="572" y="786"/>
                    </a:lnTo>
                    <a:lnTo>
                      <a:pt x="384" y="91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4" name="Freeform 226"/>
              <p:cNvSpPr>
                <a:spLocks/>
              </p:cNvSpPr>
              <p:nvPr/>
            </p:nvSpPr>
            <p:spPr bwMode="auto">
              <a:xfrm>
                <a:off x="3162" y="2014"/>
                <a:ext cx="426" cy="390"/>
              </a:xfrm>
              <a:custGeom>
                <a:avLst/>
                <a:gdLst>
                  <a:gd name="T0" fmla="*/ 234 w 426"/>
                  <a:gd name="T1" fmla="*/ 2 h 390"/>
                  <a:gd name="T2" fmla="*/ 246 w 426"/>
                  <a:gd name="T3" fmla="*/ 26 h 390"/>
                  <a:gd name="T4" fmla="*/ 276 w 426"/>
                  <a:gd name="T5" fmla="*/ 12 h 390"/>
                  <a:gd name="T6" fmla="*/ 324 w 426"/>
                  <a:gd name="T7" fmla="*/ 28 h 390"/>
                  <a:gd name="T8" fmla="*/ 346 w 426"/>
                  <a:gd name="T9" fmla="*/ 58 h 390"/>
                  <a:gd name="T10" fmla="*/ 372 w 426"/>
                  <a:gd name="T11" fmla="*/ 116 h 390"/>
                  <a:gd name="T12" fmla="*/ 374 w 426"/>
                  <a:gd name="T13" fmla="*/ 164 h 390"/>
                  <a:gd name="T14" fmla="*/ 426 w 426"/>
                  <a:gd name="T15" fmla="*/ 202 h 390"/>
                  <a:gd name="T16" fmla="*/ 424 w 426"/>
                  <a:gd name="T17" fmla="*/ 232 h 390"/>
                  <a:gd name="T18" fmla="*/ 370 w 426"/>
                  <a:gd name="T19" fmla="*/ 242 h 390"/>
                  <a:gd name="T20" fmla="*/ 394 w 426"/>
                  <a:gd name="T21" fmla="*/ 272 h 390"/>
                  <a:gd name="T22" fmla="*/ 398 w 426"/>
                  <a:gd name="T23" fmla="*/ 324 h 390"/>
                  <a:gd name="T24" fmla="*/ 398 w 426"/>
                  <a:gd name="T25" fmla="*/ 344 h 390"/>
                  <a:gd name="T26" fmla="*/ 358 w 426"/>
                  <a:gd name="T27" fmla="*/ 350 h 390"/>
                  <a:gd name="T28" fmla="*/ 352 w 426"/>
                  <a:gd name="T29" fmla="*/ 390 h 390"/>
                  <a:gd name="T30" fmla="*/ 246 w 426"/>
                  <a:gd name="T31" fmla="*/ 380 h 390"/>
                  <a:gd name="T32" fmla="*/ 234 w 426"/>
                  <a:gd name="T33" fmla="*/ 390 h 390"/>
                  <a:gd name="T34" fmla="*/ 222 w 426"/>
                  <a:gd name="T35" fmla="*/ 378 h 390"/>
                  <a:gd name="T36" fmla="*/ 68 w 426"/>
                  <a:gd name="T37" fmla="*/ 368 h 390"/>
                  <a:gd name="T38" fmla="*/ 48 w 426"/>
                  <a:gd name="T39" fmla="*/ 390 h 390"/>
                  <a:gd name="T40" fmla="*/ 26 w 426"/>
                  <a:gd name="T41" fmla="*/ 372 h 390"/>
                  <a:gd name="T42" fmla="*/ 6 w 426"/>
                  <a:gd name="T43" fmla="*/ 372 h 390"/>
                  <a:gd name="T44" fmla="*/ 6 w 426"/>
                  <a:gd name="T45" fmla="*/ 324 h 390"/>
                  <a:gd name="T46" fmla="*/ 20 w 426"/>
                  <a:gd name="T47" fmla="*/ 294 h 390"/>
                  <a:gd name="T48" fmla="*/ 0 w 426"/>
                  <a:gd name="T49" fmla="*/ 252 h 390"/>
                  <a:gd name="T50" fmla="*/ 2 w 426"/>
                  <a:gd name="T51" fmla="*/ 228 h 390"/>
                  <a:gd name="T52" fmla="*/ 24 w 426"/>
                  <a:gd name="T53" fmla="*/ 220 h 390"/>
                  <a:gd name="T54" fmla="*/ 56 w 426"/>
                  <a:gd name="T55" fmla="*/ 220 h 390"/>
                  <a:gd name="T56" fmla="*/ 68 w 426"/>
                  <a:gd name="T57" fmla="*/ 206 h 390"/>
                  <a:gd name="T58" fmla="*/ 90 w 426"/>
                  <a:gd name="T59" fmla="*/ 198 h 390"/>
                  <a:gd name="T60" fmla="*/ 90 w 426"/>
                  <a:gd name="T61" fmla="*/ 138 h 390"/>
                  <a:gd name="T62" fmla="*/ 122 w 426"/>
                  <a:gd name="T63" fmla="*/ 98 h 390"/>
                  <a:gd name="T64" fmla="*/ 120 w 426"/>
                  <a:gd name="T65" fmla="*/ 78 h 390"/>
                  <a:gd name="T66" fmla="*/ 146 w 426"/>
                  <a:gd name="T67" fmla="*/ 58 h 390"/>
                  <a:gd name="T68" fmla="*/ 176 w 426"/>
                  <a:gd name="T69" fmla="*/ 60 h 390"/>
                  <a:gd name="T70" fmla="*/ 188 w 426"/>
                  <a:gd name="T71" fmla="*/ 0 h 390"/>
                  <a:gd name="T72" fmla="*/ 234 w 426"/>
                  <a:gd name="T73" fmla="*/ 2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426" h="390">
                    <a:moveTo>
                      <a:pt x="234" y="2"/>
                    </a:moveTo>
                    <a:lnTo>
                      <a:pt x="246" y="26"/>
                    </a:lnTo>
                    <a:lnTo>
                      <a:pt x="276" y="12"/>
                    </a:lnTo>
                    <a:lnTo>
                      <a:pt x="324" y="28"/>
                    </a:lnTo>
                    <a:lnTo>
                      <a:pt x="346" y="58"/>
                    </a:lnTo>
                    <a:lnTo>
                      <a:pt x="372" y="116"/>
                    </a:lnTo>
                    <a:lnTo>
                      <a:pt x="374" y="164"/>
                    </a:lnTo>
                    <a:lnTo>
                      <a:pt x="426" y="202"/>
                    </a:lnTo>
                    <a:lnTo>
                      <a:pt x="424" y="232"/>
                    </a:lnTo>
                    <a:lnTo>
                      <a:pt x="370" y="242"/>
                    </a:lnTo>
                    <a:lnTo>
                      <a:pt x="394" y="272"/>
                    </a:lnTo>
                    <a:lnTo>
                      <a:pt x="398" y="324"/>
                    </a:lnTo>
                    <a:lnTo>
                      <a:pt x="398" y="344"/>
                    </a:lnTo>
                    <a:lnTo>
                      <a:pt x="358" y="350"/>
                    </a:lnTo>
                    <a:lnTo>
                      <a:pt x="352" y="390"/>
                    </a:lnTo>
                    <a:lnTo>
                      <a:pt x="246" y="380"/>
                    </a:lnTo>
                    <a:lnTo>
                      <a:pt x="234" y="390"/>
                    </a:lnTo>
                    <a:lnTo>
                      <a:pt x="222" y="378"/>
                    </a:lnTo>
                    <a:lnTo>
                      <a:pt x="68" y="368"/>
                    </a:lnTo>
                    <a:lnTo>
                      <a:pt x="48" y="390"/>
                    </a:lnTo>
                    <a:lnTo>
                      <a:pt x="26" y="372"/>
                    </a:lnTo>
                    <a:lnTo>
                      <a:pt x="6" y="372"/>
                    </a:lnTo>
                    <a:lnTo>
                      <a:pt x="6" y="324"/>
                    </a:lnTo>
                    <a:lnTo>
                      <a:pt x="20" y="294"/>
                    </a:lnTo>
                    <a:lnTo>
                      <a:pt x="0" y="252"/>
                    </a:lnTo>
                    <a:lnTo>
                      <a:pt x="2" y="228"/>
                    </a:lnTo>
                    <a:lnTo>
                      <a:pt x="24" y="220"/>
                    </a:lnTo>
                    <a:lnTo>
                      <a:pt x="56" y="220"/>
                    </a:lnTo>
                    <a:lnTo>
                      <a:pt x="68" y="206"/>
                    </a:lnTo>
                    <a:lnTo>
                      <a:pt x="90" y="198"/>
                    </a:lnTo>
                    <a:lnTo>
                      <a:pt x="90" y="138"/>
                    </a:lnTo>
                    <a:lnTo>
                      <a:pt x="122" y="98"/>
                    </a:lnTo>
                    <a:lnTo>
                      <a:pt x="120" y="78"/>
                    </a:lnTo>
                    <a:lnTo>
                      <a:pt x="146" y="58"/>
                    </a:lnTo>
                    <a:lnTo>
                      <a:pt x="176" y="60"/>
                    </a:lnTo>
                    <a:lnTo>
                      <a:pt x="188" y="0"/>
                    </a:lnTo>
                    <a:lnTo>
                      <a:pt x="234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5" name="Freeform 227"/>
              <p:cNvSpPr>
                <a:spLocks/>
              </p:cNvSpPr>
              <p:nvPr/>
            </p:nvSpPr>
            <p:spPr bwMode="auto">
              <a:xfrm>
                <a:off x="3098" y="2356"/>
                <a:ext cx="964" cy="684"/>
              </a:xfrm>
              <a:custGeom>
                <a:avLst/>
                <a:gdLst>
                  <a:gd name="T0" fmla="*/ 484 w 964"/>
                  <a:gd name="T1" fmla="*/ 26 h 684"/>
                  <a:gd name="T2" fmla="*/ 544 w 964"/>
                  <a:gd name="T3" fmla="*/ 8 h 684"/>
                  <a:gd name="T4" fmla="*/ 578 w 964"/>
                  <a:gd name="T5" fmla="*/ 94 h 684"/>
                  <a:gd name="T6" fmla="*/ 628 w 964"/>
                  <a:gd name="T7" fmla="*/ 110 h 684"/>
                  <a:gd name="T8" fmla="*/ 680 w 964"/>
                  <a:gd name="T9" fmla="*/ 124 h 684"/>
                  <a:gd name="T10" fmla="*/ 726 w 964"/>
                  <a:gd name="T11" fmla="*/ 178 h 684"/>
                  <a:gd name="T12" fmla="*/ 808 w 964"/>
                  <a:gd name="T13" fmla="*/ 178 h 684"/>
                  <a:gd name="T14" fmla="*/ 838 w 964"/>
                  <a:gd name="T15" fmla="*/ 186 h 684"/>
                  <a:gd name="T16" fmla="*/ 934 w 964"/>
                  <a:gd name="T17" fmla="*/ 244 h 684"/>
                  <a:gd name="T18" fmla="*/ 952 w 964"/>
                  <a:gd name="T19" fmla="*/ 258 h 684"/>
                  <a:gd name="T20" fmla="*/ 954 w 964"/>
                  <a:gd name="T21" fmla="*/ 300 h 684"/>
                  <a:gd name="T22" fmla="*/ 964 w 964"/>
                  <a:gd name="T23" fmla="*/ 350 h 684"/>
                  <a:gd name="T24" fmla="*/ 892 w 964"/>
                  <a:gd name="T25" fmla="*/ 418 h 684"/>
                  <a:gd name="T26" fmla="*/ 852 w 964"/>
                  <a:gd name="T27" fmla="*/ 450 h 684"/>
                  <a:gd name="T28" fmla="*/ 708 w 964"/>
                  <a:gd name="T29" fmla="*/ 494 h 684"/>
                  <a:gd name="T30" fmla="*/ 604 w 964"/>
                  <a:gd name="T31" fmla="*/ 530 h 684"/>
                  <a:gd name="T32" fmla="*/ 658 w 964"/>
                  <a:gd name="T33" fmla="*/ 578 h 684"/>
                  <a:gd name="T34" fmla="*/ 682 w 964"/>
                  <a:gd name="T35" fmla="*/ 606 h 684"/>
                  <a:gd name="T36" fmla="*/ 744 w 964"/>
                  <a:gd name="T37" fmla="*/ 620 h 684"/>
                  <a:gd name="T38" fmla="*/ 574 w 964"/>
                  <a:gd name="T39" fmla="*/ 684 h 684"/>
                  <a:gd name="T40" fmla="*/ 576 w 964"/>
                  <a:gd name="T41" fmla="*/ 624 h 684"/>
                  <a:gd name="T42" fmla="*/ 562 w 964"/>
                  <a:gd name="T43" fmla="*/ 582 h 684"/>
                  <a:gd name="T44" fmla="*/ 592 w 964"/>
                  <a:gd name="T45" fmla="*/ 542 h 684"/>
                  <a:gd name="T46" fmla="*/ 532 w 964"/>
                  <a:gd name="T47" fmla="*/ 558 h 684"/>
                  <a:gd name="T48" fmla="*/ 512 w 964"/>
                  <a:gd name="T49" fmla="*/ 510 h 684"/>
                  <a:gd name="T50" fmla="*/ 452 w 964"/>
                  <a:gd name="T51" fmla="*/ 512 h 684"/>
                  <a:gd name="T52" fmla="*/ 408 w 964"/>
                  <a:gd name="T53" fmla="*/ 534 h 684"/>
                  <a:gd name="T54" fmla="*/ 296 w 964"/>
                  <a:gd name="T55" fmla="*/ 582 h 684"/>
                  <a:gd name="T56" fmla="*/ 280 w 964"/>
                  <a:gd name="T57" fmla="*/ 456 h 684"/>
                  <a:gd name="T58" fmla="*/ 228 w 964"/>
                  <a:gd name="T59" fmla="*/ 366 h 684"/>
                  <a:gd name="T60" fmla="*/ 166 w 964"/>
                  <a:gd name="T61" fmla="*/ 358 h 684"/>
                  <a:gd name="T62" fmla="*/ 108 w 964"/>
                  <a:gd name="T63" fmla="*/ 394 h 684"/>
                  <a:gd name="T64" fmla="*/ 22 w 964"/>
                  <a:gd name="T65" fmla="*/ 362 h 684"/>
                  <a:gd name="T66" fmla="*/ 0 w 964"/>
                  <a:gd name="T67" fmla="*/ 320 h 684"/>
                  <a:gd name="T68" fmla="*/ 44 w 964"/>
                  <a:gd name="T69" fmla="*/ 252 h 684"/>
                  <a:gd name="T70" fmla="*/ 54 w 964"/>
                  <a:gd name="T71" fmla="*/ 138 h 684"/>
                  <a:gd name="T72" fmla="*/ 74 w 964"/>
                  <a:gd name="T73" fmla="*/ 78 h 684"/>
                  <a:gd name="T74" fmla="*/ 68 w 964"/>
                  <a:gd name="T75" fmla="*/ 30 h 684"/>
                  <a:gd name="T76" fmla="*/ 108 w 964"/>
                  <a:gd name="T77" fmla="*/ 48 h 684"/>
                  <a:gd name="T78" fmla="*/ 288 w 964"/>
                  <a:gd name="T79" fmla="*/ 36 h 684"/>
                  <a:gd name="T80" fmla="*/ 310 w 964"/>
                  <a:gd name="T81" fmla="*/ 36 h 684"/>
                  <a:gd name="T82" fmla="*/ 420 w 964"/>
                  <a:gd name="T83" fmla="*/ 8 h 6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64" h="684">
                    <a:moveTo>
                      <a:pt x="460" y="2"/>
                    </a:moveTo>
                    <a:lnTo>
                      <a:pt x="484" y="26"/>
                    </a:lnTo>
                    <a:lnTo>
                      <a:pt x="502" y="0"/>
                    </a:lnTo>
                    <a:lnTo>
                      <a:pt x="544" y="8"/>
                    </a:lnTo>
                    <a:lnTo>
                      <a:pt x="562" y="72"/>
                    </a:lnTo>
                    <a:lnTo>
                      <a:pt x="578" y="94"/>
                    </a:lnTo>
                    <a:lnTo>
                      <a:pt x="612" y="92"/>
                    </a:lnTo>
                    <a:lnTo>
                      <a:pt x="628" y="110"/>
                    </a:lnTo>
                    <a:lnTo>
                      <a:pt x="670" y="100"/>
                    </a:lnTo>
                    <a:lnTo>
                      <a:pt x="680" y="124"/>
                    </a:lnTo>
                    <a:lnTo>
                      <a:pt x="714" y="144"/>
                    </a:lnTo>
                    <a:lnTo>
                      <a:pt x="726" y="178"/>
                    </a:lnTo>
                    <a:lnTo>
                      <a:pt x="788" y="150"/>
                    </a:lnTo>
                    <a:lnTo>
                      <a:pt x="808" y="178"/>
                    </a:lnTo>
                    <a:lnTo>
                      <a:pt x="826" y="172"/>
                    </a:lnTo>
                    <a:lnTo>
                      <a:pt x="838" y="186"/>
                    </a:lnTo>
                    <a:lnTo>
                      <a:pt x="928" y="224"/>
                    </a:lnTo>
                    <a:lnTo>
                      <a:pt x="934" y="244"/>
                    </a:lnTo>
                    <a:lnTo>
                      <a:pt x="914" y="252"/>
                    </a:lnTo>
                    <a:lnTo>
                      <a:pt x="952" y="258"/>
                    </a:lnTo>
                    <a:lnTo>
                      <a:pt x="938" y="294"/>
                    </a:lnTo>
                    <a:lnTo>
                      <a:pt x="954" y="300"/>
                    </a:lnTo>
                    <a:lnTo>
                      <a:pt x="946" y="326"/>
                    </a:lnTo>
                    <a:lnTo>
                      <a:pt x="964" y="350"/>
                    </a:lnTo>
                    <a:lnTo>
                      <a:pt x="946" y="412"/>
                    </a:lnTo>
                    <a:lnTo>
                      <a:pt x="892" y="418"/>
                    </a:lnTo>
                    <a:lnTo>
                      <a:pt x="880" y="460"/>
                    </a:lnTo>
                    <a:lnTo>
                      <a:pt x="852" y="450"/>
                    </a:lnTo>
                    <a:lnTo>
                      <a:pt x="730" y="516"/>
                    </a:lnTo>
                    <a:lnTo>
                      <a:pt x="708" y="494"/>
                    </a:lnTo>
                    <a:lnTo>
                      <a:pt x="690" y="530"/>
                    </a:lnTo>
                    <a:lnTo>
                      <a:pt x="604" y="530"/>
                    </a:lnTo>
                    <a:lnTo>
                      <a:pt x="632" y="566"/>
                    </a:lnTo>
                    <a:lnTo>
                      <a:pt x="658" y="578"/>
                    </a:lnTo>
                    <a:lnTo>
                      <a:pt x="656" y="598"/>
                    </a:lnTo>
                    <a:lnTo>
                      <a:pt x="682" y="606"/>
                    </a:lnTo>
                    <a:lnTo>
                      <a:pt x="748" y="600"/>
                    </a:lnTo>
                    <a:lnTo>
                      <a:pt x="744" y="620"/>
                    </a:lnTo>
                    <a:lnTo>
                      <a:pt x="682" y="644"/>
                    </a:lnTo>
                    <a:lnTo>
                      <a:pt x="574" y="684"/>
                    </a:lnTo>
                    <a:lnTo>
                      <a:pt x="586" y="658"/>
                    </a:lnTo>
                    <a:lnTo>
                      <a:pt x="576" y="624"/>
                    </a:lnTo>
                    <a:lnTo>
                      <a:pt x="514" y="606"/>
                    </a:lnTo>
                    <a:lnTo>
                      <a:pt x="562" y="582"/>
                    </a:lnTo>
                    <a:lnTo>
                      <a:pt x="598" y="574"/>
                    </a:lnTo>
                    <a:lnTo>
                      <a:pt x="592" y="542"/>
                    </a:lnTo>
                    <a:lnTo>
                      <a:pt x="536" y="534"/>
                    </a:lnTo>
                    <a:lnTo>
                      <a:pt x="532" y="558"/>
                    </a:lnTo>
                    <a:lnTo>
                      <a:pt x="476" y="522"/>
                    </a:lnTo>
                    <a:lnTo>
                      <a:pt x="512" y="510"/>
                    </a:lnTo>
                    <a:lnTo>
                      <a:pt x="484" y="484"/>
                    </a:lnTo>
                    <a:lnTo>
                      <a:pt x="452" y="512"/>
                    </a:lnTo>
                    <a:lnTo>
                      <a:pt x="424" y="510"/>
                    </a:lnTo>
                    <a:lnTo>
                      <a:pt x="408" y="534"/>
                    </a:lnTo>
                    <a:lnTo>
                      <a:pt x="354" y="594"/>
                    </a:lnTo>
                    <a:lnTo>
                      <a:pt x="296" y="582"/>
                    </a:lnTo>
                    <a:lnTo>
                      <a:pt x="280" y="572"/>
                    </a:lnTo>
                    <a:lnTo>
                      <a:pt x="280" y="456"/>
                    </a:lnTo>
                    <a:lnTo>
                      <a:pt x="234" y="390"/>
                    </a:lnTo>
                    <a:lnTo>
                      <a:pt x="228" y="366"/>
                    </a:lnTo>
                    <a:lnTo>
                      <a:pt x="188" y="336"/>
                    </a:lnTo>
                    <a:lnTo>
                      <a:pt x="166" y="358"/>
                    </a:lnTo>
                    <a:lnTo>
                      <a:pt x="132" y="366"/>
                    </a:lnTo>
                    <a:lnTo>
                      <a:pt x="108" y="394"/>
                    </a:lnTo>
                    <a:lnTo>
                      <a:pt x="72" y="368"/>
                    </a:lnTo>
                    <a:lnTo>
                      <a:pt x="22" y="362"/>
                    </a:lnTo>
                    <a:lnTo>
                      <a:pt x="0" y="340"/>
                    </a:lnTo>
                    <a:lnTo>
                      <a:pt x="0" y="320"/>
                    </a:lnTo>
                    <a:lnTo>
                      <a:pt x="52" y="288"/>
                    </a:lnTo>
                    <a:lnTo>
                      <a:pt x="44" y="252"/>
                    </a:lnTo>
                    <a:lnTo>
                      <a:pt x="80" y="174"/>
                    </a:lnTo>
                    <a:lnTo>
                      <a:pt x="54" y="138"/>
                    </a:lnTo>
                    <a:lnTo>
                      <a:pt x="64" y="118"/>
                    </a:lnTo>
                    <a:lnTo>
                      <a:pt x="74" y="78"/>
                    </a:lnTo>
                    <a:lnTo>
                      <a:pt x="64" y="54"/>
                    </a:lnTo>
                    <a:lnTo>
                      <a:pt x="68" y="30"/>
                    </a:lnTo>
                    <a:lnTo>
                      <a:pt x="90" y="26"/>
                    </a:lnTo>
                    <a:lnTo>
                      <a:pt x="108" y="48"/>
                    </a:lnTo>
                    <a:lnTo>
                      <a:pt x="128" y="24"/>
                    </a:lnTo>
                    <a:lnTo>
                      <a:pt x="288" y="36"/>
                    </a:lnTo>
                    <a:lnTo>
                      <a:pt x="294" y="52"/>
                    </a:lnTo>
                    <a:lnTo>
                      <a:pt x="310" y="36"/>
                    </a:lnTo>
                    <a:lnTo>
                      <a:pt x="414" y="44"/>
                    </a:lnTo>
                    <a:lnTo>
                      <a:pt x="420" y="8"/>
                    </a:lnTo>
                    <a:lnTo>
                      <a:pt x="460" y="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grpSp>
            <p:nvGrpSpPr>
              <p:cNvPr id="546" name="Group 228"/>
              <p:cNvGrpSpPr>
                <a:grpSpLocks/>
              </p:cNvGrpSpPr>
              <p:nvPr/>
            </p:nvGrpSpPr>
            <p:grpSpPr bwMode="auto">
              <a:xfrm>
                <a:off x="2921" y="3243"/>
                <a:ext cx="400" cy="543"/>
                <a:chOff x="2921" y="3243"/>
                <a:chExt cx="400" cy="543"/>
              </a:xfrm>
              <a:grpFill/>
            </p:grpSpPr>
            <p:sp>
              <p:nvSpPr>
                <p:cNvPr id="551" name="Freeform 229"/>
                <p:cNvSpPr>
                  <a:spLocks/>
                </p:cNvSpPr>
                <p:nvPr/>
              </p:nvSpPr>
              <p:spPr bwMode="auto">
                <a:xfrm>
                  <a:off x="2921" y="3243"/>
                  <a:ext cx="400" cy="378"/>
                </a:xfrm>
                <a:custGeom>
                  <a:avLst/>
                  <a:gdLst>
                    <a:gd name="T0" fmla="*/ 12 w 400"/>
                    <a:gd name="T1" fmla="*/ 183 h 378"/>
                    <a:gd name="T2" fmla="*/ 39 w 400"/>
                    <a:gd name="T3" fmla="*/ 225 h 378"/>
                    <a:gd name="T4" fmla="*/ 49 w 400"/>
                    <a:gd name="T5" fmla="*/ 239 h 378"/>
                    <a:gd name="T6" fmla="*/ 96 w 400"/>
                    <a:gd name="T7" fmla="*/ 270 h 378"/>
                    <a:gd name="T8" fmla="*/ 127 w 400"/>
                    <a:gd name="T9" fmla="*/ 282 h 378"/>
                    <a:gd name="T10" fmla="*/ 133 w 400"/>
                    <a:gd name="T11" fmla="*/ 306 h 378"/>
                    <a:gd name="T12" fmla="*/ 76 w 400"/>
                    <a:gd name="T13" fmla="*/ 288 h 378"/>
                    <a:gd name="T14" fmla="*/ 73 w 400"/>
                    <a:gd name="T15" fmla="*/ 327 h 378"/>
                    <a:gd name="T16" fmla="*/ 90 w 400"/>
                    <a:gd name="T17" fmla="*/ 378 h 378"/>
                    <a:gd name="T18" fmla="*/ 126 w 400"/>
                    <a:gd name="T19" fmla="*/ 377 h 378"/>
                    <a:gd name="T20" fmla="*/ 139 w 400"/>
                    <a:gd name="T21" fmla="*/ 342 h 378"/>
                    <a:gd name="T22" fmla="*/ 192 w 400"/>
                    <a:gd name="T23" fmla="*/ 345 h 378"/>
                    <a:gd name="T24" fmla="*/ 162 w 400"/>
                    <a:gd name="T25" fmla="*/ 312 h 378"/>
                    <a:gd name="T26" fmla="*/ 202 w 400"/>
                    <a:gd name="T27" fmla="*/ 324 h 378"/>
                    <a:gd name="T28" fmla="*/ 219 w 400"/>
                    <a:gd name="T29" fmla="*/ 290 h 378"/>
                    <a:gd name="T30" fmla="*/ 171 w 400"/>
                    <a:gd name="T31" fmla="*/ 255 h 378"/>
                    <a:gd name="T32" fmla="*/ 190 w 400"/>
                    <a:gd name="T33" fmla="*/ 261 h 378"/>
                    <a:gd name="T34" fmla="*/ 231 w 400"/>
                    <a:gd name="T35" fmla="*/ 279 h 378"/>
                    <a:gd name="T36" fmla="*/ 238 w 400"/>
                    <a:gd name="T37" fmla="*/ 266 h 378"/>
                    <a:gd name="T38" fmla="*/ 177 w 400"/>
                    <a:gd name="T39" fmla="*/ 218 h 378"/>
                    <a:gd name="T40" fmla="*/ 160 w 400"/>
                    <a:gd name="T41" fmla="*/ 242 h 378"/>
                    <a:gd name="T42" fmla="*/ 157 w 400"/>
                    <a:gd name="T43" fmla="*/ 221 h 378"/>
                    <a:gd name="T44" fmla="*/ 180 w 400"/>
                    <a:gd name="T45" fmla="*/ 203 h 378"/>
                    <a:gd name="T46" fmla="*/ 151 w 400"/>
                    <a:gd name="T47" fmla="*/ 156 h 378"/>
                    <a:gd name="T48" fmla="*/ 135 w 400"/>
                    <a:gd name="T49" fmla="*/ 126 h 378"/>
                    <a:gd name="T50" fmla="*/ 171 w 400"/>
                    <a:gd name="T51" fmla="*/ 119 h 378"/>
                    <a:gd name="T52" fmla="*/ 205 w 400"/>
                    <a:gd name="T53" fmla="*/ 146 h 378"/>
                    <a:gd name="T54" fmla="*/ 198 w 400"/>
                    <a:gd name="T55" fmla="*/ 116 h 378"/>
                    <a:gd name="T56" fmla="*/ 216 w 400"/>
                    <a:gd name="T57" fmla="*/ 107 h 378"/>
                    <a:gd name="T58" fmla="*/ 229 w 400"/>
                    <a:gd name="T59" fmla="*/ 92 h 378"/>
                    <a:gd name="T60" fmla="*/ 205 w 400"/>
                    <a:gd name="T61" fmla="*/ 59 h 378"/>
                    <a:gd name="T62" fmla="*/ 264 w 400"/>
                    <a:gd name="T63" fmla="*/ 69 h 378"/>
                    <a:gd name="T64" fmla="*/ 324 w 400"/>
                    <a:gd name="T65" fmla="*/ 57 h 378"/>
                    <a:gd name="T66" fmla="*/ 360 w 400"/>
                    <a:gd name="T67" fmla="*/ 71 h 378"/>
                    <a:gd name="T68" fmla="*/ 387 w 400"/>
                    <a:gd name="T69" fmla="*/ 45 h 378"/>
                    <a:gd name="T70" fmla="*/ 373 w 400"/>
                    <a:gd name="T71" fmla="*/ 8 h 378"/>
                    <a:gd name="T72" fmla="*/ 355 w 400"/>
                    <a:gd name="T73" fmla="*/ 32 h 378"/>
                    <a:gd name="T74" fmla="*/ 301 w 400"/>
                    <a:gd name="T75" fmla="*/ 12 h 378"/>
                    <a:gd name="T76" fmla="*/ 270 w 400"/>
                    <a:gd name="T77" fmla="*/ 0 h 378"/>
                    <a:gd name="T78" fmla="*/ 214 w 400"/>
                    <a:gd name="T79" fmla="*/ 36 h 378"/>
                    <a:gd name="T80" fmla="*/ 177 w 400"/>
                    <a:gd name="T81" fmla="*/ 50 h 378"/>
                    <a:gd name="T82" fmla="*/ 139 w 400"/>
                    <a:gd name="T83" fmla="*/ 63 h 378"/>
                    <a:gd name="T84" fmla="*/ 93 w 400"/>
                    <a:gd name="T85" fmla="*/ 95 h 378"/>
                    <a:gd name="T86" fmla="*/ 42 w 400"/>
                    <a:gd name="T87" fmla="*/ 89 h 378"/>
                    <a:gd name="T88" fmla="*/ 31 w 400"/>
                    <a:gd name="T89" fmla="*/ 146 h 378"/>
                    <a:gd name="T90" fmla="*/ 18 w 400"/>
                    <a:gd name="T91" fmla="*/ 158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00" h="378">
                      <a:moveTo>
                        <a:pt x="0" y="159"/>
                      </a:moveTo>
                      <a:lnTo>
                        <a:pt x="12" y="183"/>
                      </a:lnTo>
                      <a:lnTo>
                        <a:pt x="36" y="213"/>
                      </a:lnTo>
                      <a:lnTo>
                        <a:pt x="39" y="225"/>
                      </a:lnTo>
                      <a:lnTo>
                        <a:pt x="63" y="221"/>
                      </a:lnTo>
                      <a:lnTo>
                        <a:pt x="49" y="239"/>
                      </a:lnTo>
                      <a:lnTo>
                        <a:pt x="58" y="276"/>
                      </a:lnTo>
                      <a:lnTo>
                        <a:pt x="96" y="270"/>
                      </a:lnTo>
                      <a:lnTo>
                        <a:pt x="108" y="281"/>
                      </a:lnTo>
                      <a:lnTo>
                        <a:pt x="127" y="282"/>
                      </a:lnTo>
                      <a:lnTo>
                        <a:pt x="148" y="299"/>
                      </a:lnTo>
                      <a:lnTo>
                        <a:pt x="133" y="306"/>
                      </a:lnTo>
                      <a:lnTo>
                        <a:pt x="97" y="288"/>
                      </a:lnTo>
                      <a:lnTo>
                        <a:pt x="76" y="288"/>
                      </a:lnTo>
                      <a:lnTo>
                        <a:pt x="60" y="303"/>
                      </a:lnTo>
                      <a:lnTo>
                        <a:pt x="73" y="327"/>
                      </a:lnTo>
                      <a:lnTo>
                        <a:pt x="73" y="359"/>
                      </a:lnTo>
                      <a:lnTo>
                        <a:pt x="90" y="378"/>
                      </a:lnTo>
                      <a:lnTo>
                        <a:pt x="99" y="369"/>
                      </a:lnTo>
                      <a:lnTo>
                        <a:pt x="126" y="377"/>
                      </a:lnTo>
                      <a:lnTo>
                        <a:pt x="148" y="377"/>
                      </a:lnTo>
                      <a:lnTo>
                        <a:pt x="139" y="342"/>
                      </a:lnTo>
                      <a:lnTo>
                        <a:pt x="181" y="357"/>
                      </a:lnTo>
                      <a:lnTo>
                        <a:pt x="192" y="345"/>
                      </a:lnTo>
                      <a:lnTo>
                        <a:pt x="178" y="329"/>
                      </a:lnTo>
                      <a:lnTo>
                        <a:pt x="162" y="312"/>
                      </a:lnTo>
                      <a:lnTo>
                        <a:pt x="175" y="311"/>
                      </a:lnTo>
                      <a:lnTo>
                        <a:pt x="202" y="324"/>
                      </a:lnTo>
                      <a:lnTo>
                        <a:pt x="217" y="335"/>
                      </a:lnTo>
                      <a:lnTo>
                        <a:pt x="219" y="290"/>
                      </a:lnTo>
                      <a:lnTo>
                        <a:pt x="192" y="279"/>
                      </a:lnTo>
                      <a:lnTo>
                        <a:pt x="171" y="255"/>
                      </a:lnTo>
                      <a:lnTo>
                        <a:pt x="169" y="240"/>
                      </a:lnTo>
                      <a:lnTo>
                        <a:pt x="190" y="261"/>
                      </a:lnTo>
                      <a:lnTo>
                        <a:pt x="208" y="278"/>
                      </a:lnTo>
                      <a:lnTo>
                        <a:pt x="231" y="279"/>
                      </a:lnTo>
                      <a:lnTo>
                        <a:pt x="259" y="302"/>
                      </a:lnTo>
                      <a:lnTo>
                        <a:pt x="238" y="266"/>
                      </a:lnTo>
                      <a:lnTo>
                        <a:pt x="211" y="254"/>
                      </a:lnTo>
                      <a:lnTo>
                        <a:pt x="177" y="218"/>
                      </a:lnTo>
                      <a:lnTo>
                        <a:pt x="162" y="231"/>
                      </a:lnTo>
                      <a:lnTo>
                        <a:pt x="160" y="242"/>
                      </a:lnTo>
                      <a:lnTo>
                        <a:pt x="141" y="231"/>
                      </a:lnTo>
                      <a:lnTo>
                        <a:pt x="157" y="221"/>
                      </a:lnTo>
                      <a:lnTo>
                        <a:pt x="150" y="188"/>
                      </a:lnTo>
                      <a:lnTo>
                        <a:pt x="180" y="203"/>
                      </a:lnTo>
                      <a:lnTo>
                        <a:pt x="169" y="179"/>
                      </a:lnTo>
                      <a:lnTo>
                        <a:pt x="151" y="156"/>
                      </a:lnTo>
                      <a:lnTo>
                        <a:pt x="154" y="141"/>
                      </a:lnTo>
                      <a:lnTo>
                        <a:pt x="135" y="126"/>
                      </a:lnTo>
                      <a:lnTo>
                        <a:pt x="153" y="83"/>
                      </a:lnTo>
                      <a:lnTo>
                        <a:pt x="171" y="119"/>
                      </a:lnTo>
                      <a:lnTo>
                        <a:pt x="184" y="140"/>
                      </a:lnTo>
                      <a:lnTo>
                        <a:pt x="205" y="146"/>
                      </a:lnTo>
                      <a:lnTo>
                        <a:pt x="189" y="126"/>
                      </a:lnTo>
                      <a:lnTo>
                        <a:pt x="198" y="116"/>
                      </a:lnTo>
                      <a:lnTo>
                        <a:pt x="213" y="126"/>
                      </a:lnTo>
                      <a:lnTo>
                        <a:pt x="216" y="107"/>
                      </a:lnTo>
                      <a:lnTo>
                        <a:pt x="229" y="108"/>
                      </a:lnTo>
                      <a:lnTo>
                        <a:pt x="229" y="92"/>
                      </a:lnTo>
                      <a:lnTo>
                        <a:pt x="204" y="80"/>
                      </a:lnTo>
                      <a:lnTo>
                        <a:pt x="205" y="59"/>
                      </a:lnTo>
                      <a:lnTo>
                        <a:pt x="241" y="63"/>
                      </a:lnTo>
                      <a:lnTo>
                        <a:pt x="264" y="69"/>
                      </a:lnTo>
                      <a:lnTo>
                        <a:pt x="310" y="63"/>
                      </a:lnTo>
                      <a:lnTo>
                        <a:pt x="324" y="57"/>
                      </a:lnTo>
                      <a:lnTo>
                        <a:pt x="336" y="72"/>
                      </a:lnTo>
                      <a:lnTo>
                        <a:pt x="360" y="71"/>
                      </a:lnTo>
                      <a:lnTo>
                        <a:pt x="366" y="47"/>
                      </a:lnTo>
                      <a:lnTo>
                        <a:pt x="387" y="45"/>
                      </a:lnTo>
                      <a:lnTo>
                        <a:pt x="400" y="26"/>
                      </a:lnTo>
                      <a:lnTo>
                        <a:pt x="373" y="8"/>
                      </a:lnTo>
                      <a:lnTo>
                        <a:pt x="355" y="8"/>
                      </a:lnTo>
                      <a:lnTo>
                        <a:pt x="355" y="32"/>
                      </a:lnTo>
                      <a:lnTo>
                        <a:pt x="306" y="32"/>
                      </a:lnTo>
                      <a:lnTo>
                        <a:pt x="301" y="12"/>
                      </a:lnTo>
                      <a:lnTo>
                        <a:pt x="276" y="9"/>
                      </a:lnTo>
                      <a:lnTo>
                        <a:pt x="270" y="0"/>
                      </a:lnTo>
                      <a:lnTo>
                        <a:pt x="243" y="36"/>
                      </a:lnTo>
                      <a:lnTo>
                        <a:pt x="214" y="36"/>
                      </a:lnTo>
                      <a:lnTo>
                        <a:pt x="184" y="26"/>
                      </a:lnTo>
                      <a:lnTo>
                        <a:pt x="177" y="50"/>
                      </a:lnTo>
                      <a:lnTo>
                        <a:pt x="157" y="57"/>
                      </a:lnTo>
                      <a:lnTo>
                        <a:pt x="139" y="63"/>
                      </a:lnTo>
                      <a:lnTo>
                        <a:pt x="105" y="86"/>
                      </a:lnTo>
                      <a:lnTo>
                        <a:pt x="93" y="95"/>
                      </a:lnTo>
                      <a:lnTo>
                        <a:pt x="70" y="87"/>
                      </a:lnTo>
                      <a:lnTo>
                        <a:pt x="42" y="89"/>
                      </a:lnTo>
                      <a:lnTo>
                        <a:pt x="49" y="120"/>
                      </a:lnTo>
                      <a:lnTo>
                        <a:pt x="31" y="146"/>
                      </a:lnTo>
                      <a:lnTo>
                        <a:pt x="21" y="146"/>
                      </a:lnTo>
                      <a:lnTo>
                        <a:pt x="18" y="158"/>
                      </a:lnTo>
                      <a:lnTo>
                        <a:pt x="0" y="159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2" name="Freeform 230"/>
                <p:cNvSpPr>
                  <a:spLocks/>
                </p:cNvSpPr>
                <p:nvPr/>
              </p:nvSpPr>
              <p:spPr bwMode="auto">
                <a:xfrm>
                  <a:off x="3102" y="3732"/>
                  <a:ext cx="168" cy="54"/>
                </a:xfrm>
                <a:custGeom>
                  <a:avLst/>
                  <a:gdLst>
                    <a:gd name="T0" fmla="*/ 138 w 168"/>
                    <a:gd name="T1" fmla="*/ 14 h 54"/>
                    <a:gd name="T2" fmla="*/ 146 w 168"/>
                    <a:gd name="T3" fmla="*/ 36 h 54"/>
                    <a:gd name="T4" fmla="*/ 168 w 168"/>
                    <a:gd name="T5" fmla="*/ 44 h 54"/>
                    <a:gd name="T6" fmla="*/ 136 w 168"/>
                    <a:gd name="T7" fmla="*/ 44 h 54"/>
                    <a:gd name="T8" fmla="*/ 96 w 168"/>
                    <a:gd name="T9" fmla="*/ 54 h 54"/>
                    <a:gd name="T10" fmla="*/ 66 w 168"/>
                    <a:gd name="T11" fmla="*/ 40 h 54"/>
                    <a:gd name="T12" fmla="*/ 0 w 168"/>
                    <a:gd name="T13" fmla="*/ 14 h 54"/>
                    <a:gd name="T14" fmla="*/ 20 w 168"/>
                    <a:gd name="T15" fmla="*/ 0 h 54"/>
                    <a:gd name="T16" fmla="*/ 54 w 168"/>
                    <a:gd name="T17" fmla="*/ 26 h 54"/>
                    <a:gd name="T18" fmla="*/ 82 w 168"/>
                    <a:gd name="T19" fmla="*/ 14 h 54"/>
                    <a:gd name="T20" fmla="*/ 100 w 168"/>
                    <a:gd name="T21" fmla="*/ 22 h 54"/>
                    <a:gd name="T22" fmla="*/ 138 w 168"/>
                    <a:gd name="T23" fmla="*/ 1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68" h="54">
                      <a:moveTo>
                        <a:pt x="138" y="14"/>
                      </a:moveTo>
                      <a:lnTo>
                        <a:pt x="146" y="36"/>
                      </a:lnTo>
                      <a:lnTo>
                        <a:pt x="168" y="44"/>
                      </a:lnTo>
                      <a:lnTo>
                        <a:pt x="136" y="44"/>
                      </a:lnTo>
                      <a:lnTo>
                        <a:pt x="96" y="54"/>
                      </a:lnTo>
                      <a:lnTo>
                        <a:pt x="66" y="40"/>
                      </a:lnTo>
                      <a:lnTo>
                        <a:pt x="0" y="14"/>
                      </a:lnTo>
                      <a:lnTo>
                        <a:pt x="20" y="0"/>
                      </a:lnTo>
                      <a:lnTo>
                        <a:pt x="54" y="26"/>
                      </a:lnTo>
                      <a:lnTo>
                        <a:pt x="82" y="14"/>
                      </a:lnTo>
                      <a:lnTo>
                        <a:pt x="100" y="22"/>
                      </a:lnTo>
                      <a:lnTo>
                        <a:pt x="138" y="14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grpSp>
            <p:nvGrpSpPr>
              <p:cNvPr id="547" name="Group 546"/>
              <p:cNvGrpSpPr>
                <a:grpSpLocks/>
              </p:cNvGrpSpPr>
              <p:nvPr/>
            </p:nvGrpSpPr>
            <p:grpSpPr bwMode="auto">
              <a:xfrm>
                <a:off x="3264" y="3214"/>
                <a:ext cx="1064" cy="504"/>
                <a:chOff x="3264" y="3214"/>
                <a:chExt cx="1064" cy="504"/>
              </a:xfrm>
              <a:grpFill/>
            </p:grpSpPr>
            <p:sp>
              <p:nvSpPr>
                <p:cNvPr id="549" name="Freeform 232"/>
                <p:cNvSpPr>
                  <a:spLocks/>
                </p:cNvSpPr>
                <p:nvPr/>
              </p:nvSpPr>
              <p:spPr bwMode="auto">
                <a:xfrm>
                  <a:off x="3268" y="3214"/>
                  <a:ext cx="1060" cy="504"/>
                </a:xfrm>
                <a:custGeom>
                  <a:avLst/>
                  <a:gdLst>
                    <a:gd name="T0" fmla="*/ 806 w 1060"/>
                    <a:gd name="T1" fmla="*/ 68 h 504"/>
                    <a:gd name="T2" fmla="*/ 740 w 1060"/>
                    <a:gd name="T3" fmla="*/ 68 h 504"/>
                    <a:gd name="T4" fmla="*/ 660 w 1060"/>
                    <a:gd name="T5" fmla="*/ 86 h 504"/>
                    <a:gd name="T6" fmla="*/ 620 w 1060"/>
                    <a:gd name="T7" fmla="*/ 64 h 504"/>
                    <a:gd name="T8" fmla="*/ 574 w 1060"/>
                    <a:gd name="T9" fmla="*/ 58 h 504"/>
                    <a:gd name="T10" fmla="*/ 500 w 1060"/>
                    <a:gd name="T11" fmla="*/ 26 h 504"/>
                    <a:gd name="T12" fmla="*/ 458 w 1060"/>
                    <a:gd name="T13" fmla="*/ 16 h 504"/>
                    <a:gd name="T14" fmla="*/ 376 w 1060"/>
                    <a:gd name="T15" fmla="*/ 10 h 504"/>
                    <a:gd name="T16" fmla="*/ 268 w 1060"/>
                    <a:gd name="T17" fmla="*/ 70 h 504"/>
                    <a:gd name="T18" fmla="*/ 158 w 1060"/>
                    <a:gd name="T19" fmla="*/ 70 h 504"/>
                    <a:gd name="T20" fmla="*/ 200 w 1060"/>
                    <a:gd name="T21" fmla="*/ 94 h 504"/>
                    <a:gd name="T22" fmla="*/ 162 w 1060"/>
                    <a:gd name="T23" fmla="*/ 100 h 504"/>
                    <a:gd name="T24" fmla="*/ 118 w 1060"/>
                    <a:gd name="T25" fmla="*/ 124 h 504"/>
                    <a:gd name="T26" fmla="*/ 82 w 1060"/>
                    <a:gd name="T27" fmla="*/ 126 h 504"/>
                    <a:gd name="T28" fmla="*/ 32 w 1060"/>
                    <a:gd name="T29" fmla="*/ 140 h 504"/>
                    <a:gd name="T30" fmla="*/ 0 w 1060"/>
                    <a:gd name="T31" fmla="*/ 176 h 504"/>
                    <a:gd name="T32" fmla="*/ 36 w 1060"/>
                    <a:gd name="T33" fmla="*/ 212 h 504"/>
                    <a:gd name="T34" fmla="*/ 30 w 1060"/>
                    <a:gd name="T35" fmla="*/ 268 h 504"/>
                    <a:gd name="T36" fmla="*/ 20 w 1060"/>
                    <a:gd name="T37" fmla="*/ 306 h 504"/>
                    <a:gd name="T38" fmla="*/ 14 w 1060"/>
                    <a:gd name="T39" fmla="*/ 322 h 504"/>
                    <a:gd name="T40" fmla="*/ 64 w 1060"/>
                    <a:gd name="T41" fmla="*/ 366 h 504"/>
                    <a:gd name="T42" fmla="*/ 98 w 1060"/>
                    <a:gd name="T43" fmla="*/ 400 h 504"/>
                    <a:gd name="T44" fmla="*/ 128 w 1060"/>
                    <a:gd name="T45" fmla="*/ 414 h 504"/>
                    <a:gd name="T46" fmla="*/ 158 w 1060"/>
                    <a:gd name="T47" fmla="*/ 442 h 504"/>
                    <a:gd name="T48" fmla="*/ 240 w 1060"/>
                    <a:gd name="T49" fmla="*/ 458 h 504"/>
                    <a:gd name="T50" fmla="*/ 302 w 1060"/>
                    <a:gd name="T51" fmla="*/ 436 h 504"/>
                    <a:gd name="T52" fmla="*/ 422 w 1060"/>
                    <a:gd name="T53" fmla="*/ 472 h 504"/>
                    <a:gd name="T54" fmla="*/ 482 w 1060"/>
                    <a:gd name="T55" fmla="*/ 432 h 504"/>
                    <a:gd name="T56" fmla="*/ 534 w 1060"/>
                    <a:gd name="T57" fmla="*/ 400 h 504"/>
                    <a:gd name="T58" fmla="*/ 528 w 1060"/>
                    <a:gd name="T59" fmla="*/ 452 h 504"/>
                    <a:gd name="T60" fmla="*/ 530 w 1060"/>
                    <a:gd name="T61" fmla="*/ 504 h 504"/>
                    <a:gd name="T62" fmla="*/ 572 w 1060"/>
                    <a:gd name="T63" fmla="*/ 476 h 504"/>
                    <a:gd name="T64" fmla="*/ 584 w 1060"/>
                    <a:gd name="T65" fmla="*/ 438 h 504"/>
                    <a:gd name="T66" fmla="*/ 612 w 1060"/>
                    <a:gd name="T67" fmla="*/ 436 h 504"/>
                    <a:gd name="T68" fmla="*/ 674 w 1060"/>
                    <a:gd name="T69" fmla="*/ 424 h 504"/>
                    <a:gd name="T70" fmla="*/ 778 w 1060"/>
                    <a:gd name="T71" fmla="*/ 394 h 504"/>
                    <a:gd name="T72" fmla="*/ 874 w 1060"/>
                    <a:gd name="T73" fmla="*/ 364 h 504"/>
                    <a:gd name="T74" fmla="*/ 914 w 1060"/>
                    <a:gd name="T75" fmla="*/ 384 h 504"/>
                    <a:gd name="T76" fmla="*/ 970 w 1060"/>
                    <a:gd name="T77" fmla="*/ 374 h 504"/>
                    <a:gd name="T78" fmla="*/ 1024 w 1060"/>
                    <a:gd name="T79" fmla="*/ 382 h 504"/>
                    <a:gd name="T80" fmla="*/ 1004 w 1060"/>
                    <a:gd name="T81" fmla="*/ 310 h 504"/>
                    <a:gd name="T82" fmla="*/ 1016 w 1060"/>
                    <a:gd name="T83" fmla="*/ 256 h 504"/>
                    <a:gd name="T84" fmla="*/ 1024 w 1060"/>
                    <a:gd name="T85" fmla="*/ 202 h 504"/>
                    <a:gd name="T86" fmla="*/ 1060 w 1060"/>
                    <a:gd name="T87" fmla="*/ 178 h 504"/>
                    <a:gd name="T88" fmla="*/ 972 w 1060"/>
                    <a:gd name="T89" fmla="*/ 140 h 504"/>
                    <a:gd name="T90" fmla="*/ 992 w 1060"/>
                    <a:gd name="T91" fmla="*/ 64 h 504"/>
                    <a:gd name="T92" fmla="*/ 936 w 1060"/>
                    <a:gd name="T93" fmla="*/ 44 h 504"/>
                    <a:gd name="T94" fmla="*/ 854 w 1060"/>
                    <a:gd name="T95" fmla="*/ 36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060" h="504">
                      <a:moveTo>
                        <a:pt x="854" y="36"/>
                      </a:moveTo>
                      <a:lnTo>
                        <a:pt x="806" y="68"/>
                      </a:lnTo>
                      <a:lnTo>
                        <a:pt x="772" y="82"/>
                      </a:lnTo>
                      <a:lnTo>
                        <a:pt x="740" y="68"/>
                      </a:lnTo>
                      <a:lnTo>
                        <a:pt x="700" y="84"/>
                      </a:lnTo>
                      <a:lnTo>
                        <a:pt x="660" y="86"/>
                      </a:lnTo>
                      <a:lnTo>
                        <a:pt x="644" y="72"/>
                      </a:lnTo>
                      <a:lnTo>
                        <a:pt x="620" y="64"/>
                      </a:lnTo>
                      <a:lnTo>
                        <a:pt x="602" y="52"/>
                      </a:lnTo>
                      <a:lnTo>
                        <a:pt x="574" y="58"/>
                      </a:lnTo>
                      <a:lnTo>
                        <a:pt x="540" y="28"/>
                      </a:lnTo>
                      <a:lnTo>
                        <a:pt x="500" y="26"/>
                      </a:lnTo>
                      <a:lnTo>
                        <a:pt x="492" y="4"/>
                      </a:lnTo>
                      <a:lnTo>
                        <a:pt x="458" y="16"/>
                      </a:lnTo>
                      <a:lnTo>
                        <a:pt x="428" y="0"/>
                      </a:lnTo>
                      <a:lnTo>
                        <a:pt x="376" y="10"/>
                      </a:lnTo>
                      <a:lnTo>
                        <a:pt x="328" y="38"/>
                      </a:lnTo>
                      <a:lnTo>
                        <a:pt x="268" y="70"/>
                      </a:lnTo>
                      <a:lnTo>
                        <a:pt x="232" y="68"/>
                      </a:lnTo>
                      <a:lnTo>
                        <a:pt x="158" y="70"/>
                      </a:lnTo>
                      <a:lnTo>
                        <a:pt x="166" y="88"/>
                      </a:lnTo>
                      <a:lnTo>
                        <a:pt x="200" y="94"/>
                      </a:lnTo>
                      <a:lnTo>
                        <a:pt x="174" y="104"/>
                      </a:lnTo>
                      <a:lnTo>
                        <a:pt x="162" y="100"/>
                      </a:lnTo>
                      <a:lnTo>
                        <a:pt x="154" y="118"/>
                      </a:lnTo>
                      <a:lnTo>
                        <a:pt x="118" y="124"/>
                      </a:lnTo>
                      <a:lnTo>
                        <a:pt x="100" y="112"/>
                      </a:lnTo>
                      <a:lnTo>
                        <a:pt x="82" y="126"/>
                      </a:lnTo>
                      <a:lnTo>
                        <a:pt x="64" y="136"/>
                      </a:lnTo>
                      <a:lnTo>
                        <a:pt x="32" y="140"/>
                      </a:lnTo>
                      <a:lnTo>
                        <a:pt x="16" y="164"/>
                      </a:lnTo>
                      <a:lnTo>
                        <a:pt x="0" y="176"/>
                      </a:lnTo>
                      <a:lnTo>
                        <a:pt x="2" y="202"/>
                      </a:lnTo>
                      <a:lnTo>
                        <a:pt x="36" y="212"/>
                      </a:lnTo>
                      <a:lnTo>
                        <a:pt x="38" y="242"/>
                      </a:lnTo>
                      <a:lnTo>
                        <a:pt x="30" y="268"/>
                      </a:lnTo>
                      <a:lnTo>
                        <a:pt x="44" y="282"/>
                      </a:lnTo>
                      <a:lnTo>
                        <a:pt x="20" y="306"/>
                      </a:lnTo>
                      <a:lnTo>
                        <a:pt x="4" y="288"/>
                      </a:lnTo>
                      <a:lnTo>
                        <a:pt x="14" y="322"/>
                      </a:lnTo>
                      <a:lnTo>
                        <a:pt x="38" y="320"/>
                      </a:lnTo>
                      <a:lnTo>
                        <a:pt x="64" y="366"/>
                      </a:lnTo>
                      <a:lnTo>
                        <a:pt x="50" y="394"/>
                      </a:lnTo>
                      <a:lnTo>
                        <a:pt x="98" y="400"/>
                      </a:lnTo>
                      <a:lnTo>
                        <a:pt x="100" y="418"/>
                      </a:lnTo>
                      <a:lnTo>
                        <a:pt x="128" y="414"/>
                      </a:lnTo>
                      <a:lnTo>
                        <a:pt x="134" y="446"/>
                      </a:lnTo>
                      <a:lnTo>
                        <a:pt x="158" y="442"/>
                      </a:lnTo>
                      <a:lnTo>
                        <a:pt x="204" y="488"/>
                      </a:lnTo>
                      <a:lnTo>
                        <a:pt x="240" y="458"/>
                      </a:lnTo>
                      <a:lnTo>
                        <a:pt x="248" y="424"/>
                      </a:lnTo>
                      <a:lnTo>
                        <a:pt x="302" y="436"/>
                      </a:lnTo>
                      <a:lnTo>
                        <a:pt x="360" y="474"/>
                      </a:lnTo>
                      <a:lnTo>
                        <a:pt x="422" y="472"/>
                      </a:lnTo>
                      <a:lnTo>
                        <a:pt x="458" y="442"/>
                      </a:lnTo>
                      <a:lnTo>
                        <a:pt x="482" y="432"/>
                      </a:lnTo>
                      <a:lnTo>
                        <a:pt x="508" y="442"/>
                      </a:lnTo>
                      <a:lnTo>
                        <a:pt x="534" y="400"/>
                      </a:lnTo>
                      <a:lnTo>
                        <a:pt x="542" y="424"/>
                      </a:lnTo>
                      <a:lnTo>
                        <a:pt x="528" y="452"/>
                      </a:lnTo>
                      <a:lnTo>
                        <a:pt x="534" y="486"/>
                      </a:lnTo>
                      <a:lnTo>
                        <a:pt x="530" y="504"/>
                      </a:lnTo>
                      <a:lnTo>
                        <a:pt x="562" y="498"/>
                      </a:lnTo>
                      <a:lnTo>
                        <a:pt x="572" y="476"/>
                      </a:lnTo>
                      <a:lnTo>
                        <a:pt x="590" y="472"/>
                      </a:lnTo>
                      <a:lnTo>
                        <a:pt x="584" y="438"/>
                      </a:lnTo>
                      <a:lnTo>
                        <a:pt x="594" y="430"/>
                      </a:lnTo>
                      <a:lnTo>
                        <a:pt x="612" y="436"/>
                      </a:lnTo>
                      <a:lnTo>
                        <a:pt x="628" y="424"/>
                      </a:lnTo>
                      <a:lnTo>
                        <a:pt x="674" y="424"/>
                      </a:lnTo>
                      <a:lnTo>
                        <a:pt x="722" y="412"/>
                      </a:lnTo>
                      <a:lnTo>
                        <a:pt x="778" y="394"/>
                      </a:lnTo>
                      <a:lnTo>
                        <a:pt x="830" y="388"/>
                      </a:lnTo>
                      <a:lnTo>
                        <a:pt x="874" y="364"/>
                      </a:lnTo>
                      <a:lnTo>
                        <a:pt x="888" y="384"/>
                      </a:lnTo>
                      <a:lnTo>
                        <a:pt x="914" y="384"/>
                      </a:lnTo>
                      <a:lnTo>
                        <a:pt x="940" y="394"/>
                      </a:lnTo>
                      <a:lnTo>
                        <a:pt x="970" y="374"/>
                      </a:lnTo>
                      <a:lnTo>
                        <a:pt x="982" y="392"/>
                      </a:lnTo>
                      <a:lnTo>
                        <a:pt x="1024" y="382"/>
                      </a:lnTo>
                      <a:lnTo>
                        <a:pt x="1018" y="344"/>
                      </a:lnTo>
                      <a:lnTo>
                        <a:pt x="1004" y="310"/>
                      </a:lnTo>
                      <a:lnTo>
                        <a:pt x="1008" y="276"/>
                      </a:lnTo>
                      <a:lnTo>
                        <a:pt x="1016" y="256"/>
                      </a:lnTo>
                      <a:lnTo>
                        <a:pt x="1002" y="228"/>
                      </a:lnTo>
                      <a:lnTo>
                        <a:pt x="1024" y="202"/>
                      </a:lnTo>
                      <a:lnTo>
                        <a:pt x="1048" y="218"/>
                      </a:lnTo>
                      <a:lnTo>
                        <a:pt x="1060" y="178"/>
                      </a:lnTo>
                      <a:lnTo>
                        <a:pt x="1026" y="156"/>
                      </a:lnTo>
                      <a:lnTo>
                        <a:pt x="972" y="140"/>
                      </a:lnTo>
                      <a:lnTo>
                        <a:pt x="992" y="96"/>
                      </a:lnTo>
                      <a:lnTo>
                        <a:pt x="992" y="64"/>
                      </a:lnTo>
                      <a:lnTo>
                        <a:pt x="974" y="44"/>
                      </a:lnTo>
                      <a:lnTo>
                        <a:pt x="936" y="44"/>
                      </a:lnTo>
                      <a:lnTo>
                        <a:pt x="886" y="38"/>
                      </a:lnTo>
                      <a:lnTo>
                        <a:pt x="854" y="36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550" name="Freeform 233"/>
                <p:cNvSpPr>
                  <a:spLocks/>
                </p:cNvSpPr>
                <p:nvPr/>
              </p:nvSpPr>
              <p:spPr bwMode="auto">
                <a:xfrm>
                  <a:off x="3264" y="3226"/>
                  <a:ext cx="156" cy="136"/>
                </a:xfrm>
                <a:custGeom>
                  <a:avLst/>
                  <a:gdLst>
                    <a:gd name="T0" fmla="*/ 96 w 156"/>
                    <a:gd name="T1" fmla="*/ 12 h 136"/>
                    <a:gd name="T2" fmla="*/ 116 w 156"/>
                    <a:gd name="T3" fmla="*/ 40 h 136"/>
                    <a:gd name="T4" fmla="*/ 156 w 156"/>
                    <a:gd name="T5" fmla="*/ 58 h 136"/>
                    <a:gd name="T6" fmla="*/ 126 w 156"/>
                    <a:gd name="T7" fmla="*/ 80 h 136"/>
                    <a:gd name="T8" fmla="*/ 80 w 156"/>
                    <a:gd name="T9" fmla="*/ 78 h 136"/>
                    <a:gd name="T10" fmla="*/ 76 w 156"/>
                    <a:gd name="T11" fmla="*/ 100 h 136"/>
                    <a:gd name="T12" fmla="*/ 24 w 156"/>
                    <a:gd name="T13" fmla="*/ 112 h 136"/>
                    <a:gd name="T14" fmla="*/ 0 w 156"/>
                    <a:gd name="T15" fmla="*/ 136 h 136"/>
                    <a:gd name="T16" fmla="*/ 0 w 156"/>
                    <a:gd name="T17" fmla="*/ 116 h 136"/>
                    <a:gd name="T18" fmla="*/ 22 w 156"/>
                    <a:gd name="T19" fmla="*/ 106 h 136"/>
                    <a:gd name="T20" fmla="*/ 0 w 156"/>
                    <a:gd name="T21" fmla="*/ 88 h 136"/>
                    <a:gd name="T22" fmla="*/ 22 w 156"/>
                    <a:gd name="T23" fmla="*/ 82 h 136"/>
                    <a:gd name="T24" fmla="*/ 22 w 156"/>
                    <a:gd name="T25" fmla="*/ 62 h 136"/>
                    <a:gd name="T26" fmla="*/ 42 w 156"/>
                    <a:gd name="T27" fmla="*/ 62 h 136"/>
                    <a:gd name="T28" fmla="*/ 54 w 156"/>
                    <a:gd name="T29" fmla="*/ 38 h 136"/>
                    <a:gd name="T30" fmla="*/ 28 w 156"/>
                    <a:gd name="T31" fmla="*/ 22 h 136"/>
                    <a:gd name="T32" fmla="*/ 42 w 156"/>
                    <a:gd name="T33" fmla="*/ 0 h 136"/>
                    <a:gd name="T34" fmla="*/ 64 w 156"/>
                    <a:gd name="T35" fmla="*/ 16 h 136"/>
                    <a:gd name="T36" fmla="*/ 96 w 156"/>
                    <a:gd name="T37" fmla="*/ 12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156" h="136">
                      <a:moveTo>
                        <a:pt x="96" y="12"/>
                      </a:moveTo>
                      <a:lnTo>
                        <a:pt x="116" y="40"/>
                      </a:lnTo>
                      <a:lnTo>
                        <a:pt x="156" y="58"/>
                      </a:lnTo>
                      <a:lnTo>
                        <a:pt x="126" y="80"/>
                      </a:lnTo>
                      <a:lnTo>
                        <a:pt x="80" y="78"/>
                      </a:lnTo>
                      <a:lnTo>
                        <a:pt x="76" y="100"/>
                      </a:lnTo>
                      <a:lnTo>
                        <a:pt x="24" y="112"/>
                      </a:lnTo>
                      <a:lnTo>
                        <a:pt x="0" y="136"/>
                      </a:lnTo>
                      <a:lnTo>
                        <a:pt x="0" y="116"/>
                      </a:lnTo>
                      <a:lnTo>
                        <a:pt x="22" y="106"/>
                      </a:lnTo>
                      <a:lnTo>
                        <a:pt x="0" y="88"/>
                      </a:lnTo>
                      <a:lnTo>
                        <a:pt x="22" y="82"/>
                      </a:lnTo>
                      <a:lnTo>
                        <a:pt x="22" y="62"/>
                      </a:lnTo>
                      <a:lnTo>
                        <a:pt x="42" y="62"/>
                      </a:lnTo>
                      <a:lnTo>
                        <a:pt x="54" y="38"/>
                      </a:lnTo>
                      <a:lnTo>
                        <a:pt x="28" y="22"/>
                      </a:lnTo>
                      <a:lnTo>
                        <a:pt x="42" y="0"/>
                      </a:lnTo>
                      <a:lnTo>
                        <a:pt x="64" y="16"/>
                      </a:lnTo>
                      <a:lnTo>
                        <a:pt x="96" y="12"/>
                      </a:lnTo>
                      <a:close/>
                    </a:path>
                  </a:pathLst>
                </a:custGeom>
                <a:grpFill/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  <p:sp>
            <p:nvSpPr>
              <p:cNvPr id="548" name="Freeform 234"/>
              <p:cNvSpPr>
                <a:spLocks/>
              </p:cNvSpPr>
              <p:nvPr/>
            </p:nvSpPr>
            <p:spPr bwMode="auto">
              <a:xfrm>
                <a:off x="2097" y="2553"/>
                <a:ext cx="41" cy="68"/>
              </a:xfrm>
              <a:custGeom>
                <a:avLst/>
                <a:gdLst>
                  <a:gd name="T0" fmla="*/ 18 w 41"/>
                  <a:gd name="T1" fmla="*/ 0 h 68"/>
                  <a:gd name="T2" fmla="*/ 5 w 41"/>
                  <a:gd name="T3" fmla="*/ 17 h 68"/>
                  <a:gd name="T4" fmla="*/ 0 w 41"/>
                  <a:gd name="T5" fmla="*/ 35 h 68"/>
                  <a:gd name="T6" fmla="*/ 12 w 41"/>
                  <a:gd name="T7" fmla="*/ 68 h 68"/>
                  <a:gd name="T8" fmla="*/ 36 w 41"/>
                  <a:gd name="T9" fmla="*/ 66 h 68"/>
                  <a:gd name="T10" fmla="*/ 30 w 41"/>
                  <a:gd name="T11" fmla="*/ 48 h 68"/>
                  <a:gd name="T12" fmla="*/ 41 w 41"/>
                  <a:gd name="T13" fmla="*/ 18 h 68"/>
                  <a:gd name="T14" fmla="*/ 18 w 41"/>
                  <a:gd name="T15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68">
                    <a:moveTo>
                      <a:pt x="18" y="0"/>
                    </a:moveTo>
                    <a:lnTo>
                      <a:pt x="5" y="17"/>
                    </a:lnTo>
                    <a:lnTo>
                      <a:pt x="0" y="35"/>
                    </a:lnTo>
                    <a:lnTo>
                      <a:pt x="12" y="68"/>
                    </a:lnTo>
                    <a:lnTo>
                      <a:pt x="36" y="66"/>
                    </a:lnTo>
                    <a:lnTo>
                      <a:pt x="30" y="48"/>
                    </a:lnTo>
                    <a:lnTo>
                      <a:pt x="41" y="18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45" name="Freeform 237"/>
            <p:cNvSpPr>
              <a:spLocks/>
            </p:cNvSpPr>
            <p:nvPr/>
          </p:nvSpPr>
          <p:spPr bwMode="auto">
            <a:xfrm>
              <a:off x="3152" y="585"/>
              <a:ext cx="2486" cy="1013"/>
            </a:xfrm>
            <a:custGeom>
              <a:avLst/>
              <a:gdLst>
                <a:gd name="T0" fmla="*/ 114 w 2216"/>
                <a:gd name="T1" fmla="*/ 252 h 904"/>
                <a:gd name="T2" fmla="*/ 102 w 2216"/>
                <a:gd name="T3" fmla="*/ 318 h 904"/>
                <a:gd name="T4" fmla="*/ 138 w 2216"/>
                <a:gd name="T5" fmla="*/ 396 h 904"/>
                <a:gd name="T6" fmla="*/ 184 w 2216"/>
                <a:gd name="T7" fmla="*/ 366 h 904"/>
                <a:gd name="T8" fmla="*/ 220 w 2216"/>
                <a:gd name="T9" fmla="*/ 286 h 904"/>
                <a:gd name="T10" fmla="*/ 276 w 2216"/>
                <a:gd name="T11" fmla="*/ 320 h 904"/>
                <a:gd name="T12" fmla="*/ 382 w 2216"/>
                <a:gd name="T13" fmla="*/ 264 h 904"/>
                <a:gd name="T14" fmla="*/ 458 w 2216"/>
                <a:gd name="T15" fmla="*/ 264 h 904"/>
                <a:gd name="T16" fmla="*/ 560 w 2216"/>
                <a:gd name="T17" fmla="*/ 278 h 904"/>
                <a:gd name="T18" fmla="*/ 612 w 2216"/>
                <a:gd name="T19" fmla="*/ 138 h 904"/>
                <a:gd name="T20" fmla="*/ 632 w 2216"/>
                <a:gd name="T21" fmla="*/ 276 h 904"/>
                <a:gd name="T22" fmla="*/ 652 w 2216"/>
                <a:gd name="T23" fmla="*/ 268 h 904"/>
                <a:gd name="T24" fmla="*/ 636 w 2216"/>
                <a:gd name="T25" fmla="*/ 164 h 904"/>
                <a:gd name="T26" fmla="*/ 714 w 2216"/>
                <a:gd name="T27" fmla="*/ 156 h 904"/>
                <a:gd name="T28" fmla="*/ 774 w 2216"/>
                <a:gd name="T29" fmla="*/ 112 h 904"/>
                <a:gd name="T30" fmla="*/ 866 w 2216"/>
                <a:gd name="T31" fmla="*/ 60 h 904"/>
                <a:gd name="T32" fmla="*/ 1038 w 2216"/>
                <a:gd name="T33" fmla="*/ 0 h 904"/>
                <a:gd name="T34" fmla="*/ 1188 w 2216"/>
                <a:gd name="T35" fmla="*/ 76 h 904"/>
                <a:gd name="T36" fmla="*/ 1174 w 2216"/>
                <a:gd name="T37" fmla="*/ 124 h 904"/>
                <a:gd name="T38" fmla="*/ 1404 w 2216"/>
                <a:gd name="T39" fmla="*/ 190 h 904"/>
                <a:gd name="T40" fmla="*/ 1540 w 2216"/>
                <a:gd name="T41" fmla="*/ 186 h 904"/>
                <a:gd name="T42" fmla="*/ 1638 w 2216"/>
                <a:gd name="T43" fmla="*/ 156 h 904"/>
                <a:gd name="T44" fmla="*/ 1820 w 2216"/>
                <a:gd name="T45" fmla="*/ 234 h 904"/>
                <a:gd name="T46" fmla="*/ 1952 w 2216"/>
                <a:gd name="T47" fmla="*/ 216 h 904"/>
                <a:gd name="T48" fmla="*/ 2216 w 2216"/>
                <a:gd name="T49" fmla="*/ 342 h 904"/>
                <a:gd name="T50" fmla="*/ 2100 w 2216"/>
                <a:gd name="T51" fmla="*/ 348 h 904"/>
                <a:gd name="T52" fmla="*/ 2066 w 2216"/>
                <a:gd name="T53" fmla="*/ 390 h 904"/>
                <a:gd name="T54" fmla="*/ 1932 w 2216"/>
                <a:gd name="T55" fmla="*/ 460 h 904"/>
                <a:gd name="T56" fmla="*/ 1850 w 2216"/>
                <a:gd name="T57" fmla="*/ 574 h 904"/>
                <a:gd name="T58" fmla="*/ 1810 w 2216"/>
                <a:gd name="T59" fmla="*/ 650 h 904"/>
                <a:gd name="T60" fmla="*/ 1752 w 2216"/>
                <a:gd name="T61" fmla="*/ 582 h 904"/>
                <a:gd name="T62" fmla="*/ 1824 w 2216"/>
                <a:gd name="T63" fmla="*/ 448 h 904"/>
                <a:gd name="T64" fmla="*/ 1692 w 2216"/>
                <a:gd name="T65" fmla="*/ 500 h 904"/>
                <a:gd name="T66" fmla="*/ 1536 w 2216"/>
                <a:gd name="T67" fmla="*/ 542 h 904"/>
                <a:gd name="T68" fmla="*/ 1522 w 2216"/>
                <a:gd name="T69" fmla="*/ 632 h 904"/>
                <a:gd name="T70" fmla="*/ 1606 w 2216"/>
                <a:gd name="T71" fmla="*/ 650 h 904"/>
                <a:gd name="T72" fmla="*/ 1580 w 2216"/>
                <a:gd name="T73" fmla="*/ 776 h 904"/>
                <a:gd name="T74" fmla="*/ 1572 w 2216"/>
                <a:gd name="T75" fmla="*/ 718 h 904"/>
                <a:gd name="T76" fmla="*/ 1494 w 2216"/>
                <a:gd name="T77" fmla="*/ 834 h 904"/>
                <a:gd name="T78" fmla="*/ 1470 w 2216"/>
                <a:gd name="T79" fmla="*/ 772 h 904"/>
                <a:gd name="T80" fmla="*/ 1404 w 2216"/>
                <a:gd name="T81" fmla="*/ 722 h 904"/>
                <a:gd name="T82" fmla="*/ 1274 w 2216"/>
                <a:gd name="T83" fmla="*/ 666 h 904"/>
                <a:gd name="T84" fmla="*/ 1166 w 2216"/>
                <a:gd name="T85" fmla="*/ 728 h 904"/>
                <a:gd name="T86" fmla="*/ 978 w 2216"/>
                <a:gd name="T87" fmla="*/ 672 h 904"/>
                <a:gd name="T88" fmla="*/ 878 w 2216"/>
                <a:gd name="T89" fmla="*/ 698 h 904"/>
                <a:gd name="T90" fmla="*/ 766 w 2216"/>
                <a:gd name="T91" fmla="*/ 726 h 904"/>
                <a:gd name="T92" fmla="*/ 672 w 2216"/>
                <a:gd name="T93" fmla="*/ 614 h 904"/>
                <a:gd name="T94" fmla="*/ 512 w 2216"/>
                <a:gd name="T95" fmla="*/ 618 h 904"/>
                <a:gd name="T96" fmla="*/ 414 w 2216"/>
                <a:gd name="T97" fmla="*/ 684 h 904"/>
                <a:gd name="T98" fmla="*/ 298 w 2216"/>
                <a:gd name="T99" fmla="*/ 712 h 904"/>
                <a:gd name="T100" fmla="*/ 270 w 2216"/>
                <a:gd name="T101" fmla="*/ 840 h 904"/>
                <a:gd name="T102" fmla="*/ 220 w 2216"/>
                <a:gd name="T103" fmla="*/ 868 h 904"/>
                <a:gd name="T104" fmla="*/ 138 w 2216"/>
                <a:gd name="T105" fmla="*/ 822 h 904"/>
                <a:gd name="T106" fmla="*/ 184 w 2216"/>
                <a:gd name="T107" fmla="*/ 748 h 904"/>
                <a:gd name="T108" fmla="*/ 90 w 2216"/>
                <a:gd name="T109" fmla="*/ 686 h 904"/>
                <a:gd name="T110" fmla="*/ 58 w 2216"/>
                <a:gd name="T111" fmla="*/ 620 h 904"/>
                <a:gd name="T112" fmla="*/ 0 w 2216"/>
                <a:gd name="T113" fmla="*/ 548 h 904"/>
                <a:gd name="T114" fmla="*/ 12 w 2216"/>
                <a:gd name="T115" fmla="*/ 468 h 904"/>
                <a:gd name="T116" fmla="*/ 44 w 2216"/>
                <a:gd name="T117" fmla="*/ 360 h 904"/>
                <a:gd name="T118" fmla="*/ 32 w 2216"/>
                <a:gd name="T119" fmla="*/ 256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16" h="904">
                  <a:moveTo>
                    <a:pt x="54" y="224"/>
                  </a:moveTo>
                  <a:lnTo>
                    <a:pt x="74" y="224"/>
                  </a:lnTo>
                  <a:lnTo>
                    <a:pt x="66" y="240"/>
                  </a:lnTo>
                  <a:lnTo>
                    <a:pt x="90" y="240"/>
                  </a:lnTo>
                  <a:lnTo>
                    <a:pt x="114" y="252"/>
                  </a:lnTo>
                  <a:lnTo>
                    <a:pt x="150" y="268"/>
                  </a:lnTo>
                  <a:lnTo>
                    <a:pt x="174" y="286"/>
                  </a:lnTo>
                  <a:lnTo>
                    <a:pt x="184" y="302"/>
                  </a:lnTo>
                  <a:lnTo>
                    <a:pt x="144" y="334"/>
                  </a:lnTo>
                  <a:lnTo>
                    <a:pt x="102" y="318"/>
                  </a:lnTo>
                  <a:lnTo>
                    <a:pt x="72" y="300"/>
                  </a:lnTo>
                  <a:lnTo>
                    <a:pt x="84" y="340"/>
                  </a:lnTo>
                  <a:lnTo>
                    <a:pt x="102" y="332"/>
                  </a:lnTo>
                  <a:lnTo>
                    <a:pt x="102" y="358"/>
                  </a:lnTo>
                  <a:lnTo>
                    <a:pt x="138" y="396"/>
                  </a:lnTo>
                  <a:lnTo>
                    <a:pt x="148" y="372"/>
                  </a:lnTo>
                  <a:lnTo>
                    <a:pt x="132" y="354"/>
                  </a:lnTo>
                  <a:lnTo>
                    <a:pt x="144" y="342"/>
                  </a:lnTo>
                  <a:lnTo>
                    <a:pt x="168" y="366"/>
                  </a:lnTo>
                  <a:lnTo>
                    <a:pt x="184" y="366"/>
                  </a:lnTo>
                  <a:lnTo>
                    <a:pt x="166" y="342"/>
                  </a:lnTo>
                  <a:lnTo>
                    <a:pt x="196" y="320"/>
                  </a:lnTo>
                  <a:lnTo>
                    <a:pt x="214" y="330"/>
                  </a:lnTo>
                  <a:lnTo>
                    <a:pt x="226" y="306"/>
                  </a:lnTo>
                  <a:lnTo>
                    <a:pt x="220" y="286"/>
                  </a:lnTo>
                  <a:lnTo>
                    <a:pt x="238" y="270"/>
                  </a:lnTo>
                  <a:lnTo>
                    <a:pt x="216" y="250"/>
                  </a:lnTo>
                  <a:lnTo>
                    <a:pt x="262" y="290"/>
                  </a:lnTo>
                  <a:lnTo>
                    <a:pt x="246" y="308"/>
                  </a:lnTo>
                  <a:lnTo>
                    <a:pt x="276" y="320"/>
                  </a:lnTo>
                  <a:lnTo>
                    <a:pt x="280" y="288"/>
                  </a:lnTo>
                  <a:lnTo>
                    <a:pt x="312" y="276"/>
                  </a:lnTo>
                  <a:lnTo>
                    <a:pt x="348" y="256"/>
                  </a:lnTo>
                  <a:lnTo>
                    <a:pt x="354" y="276"/>
                  </a:lnTo>
                  <a:lnTo>
                    <a:pt x="382" y="264"/>
                  </a:lnTo>
                  <a:lnTo>
                    <a:pt x="398" y="264"/>
                  </a:lnTo>
                  <a:lnTo>
                    <a:pt x="420" y="268"/>
                  </a:lnTo>
                  <a:lnTo>
                    <a:pt x="436" y="250"/>
                  </a:lnTo>
                  <a:lnTo>
                    <a:pt x="438" y="274"/>
                  </a:lnTo>
                  <a:lnTo>
                    <a:pt x="458" y="264"/>
                  </a:lnTo>
                  <a:lnTo>
                    <a:pt x="448" y="240"/>
                  </a:lnTo>
                  <a:lnTo>
                    <a:pt x="470" y="232"/>
                  </a:lnTo>
                  <a:lnTo>
                    <a:pt x="504" y="240"/>
                  </a:lnTo>
                  <a:lnTo>
                    <a:pt x="526" y="258"/>
                  </a:lnTo>
                  <a:lnTo>
                    <a:pt x="560" y="278"/>
                  </a:lnTo>
                  <a:lnTo>
                    <a:pt x="570" y="246"/>
                  </a:lnTo>
                  <a:lnTo>
                    <a:pt x="548" y="212"/>
                  </a:lnTo>
                  <a:lnTo>
                    <a:pt x="548" y="180"/>
                  </a:lnTo>
                  <a:lnTo>
                    <a:pt x="584" y="140"/>
                  </a:lnTo>
                  <a:lnTo>
                    <a:pt x="612" y="138"/>
                  </a:lnTo>
                  <a:lnTo>
                    <a:pt x="616" y="170"/>
                  </a:lnTo>
                  <a:lnTo>
                    <a:pt x="612" y="196"/>
                  </a:lnTo>
                  <a:lnTo>
                    <a:pt x="626" y="220"/>
                  </a:lnTo>
                  <a:lnTo>
                    <a:pt x="616" y="250"/>
                  </a:lnTo>
                  <a:lnTo>
                    <a:pt x="632" y="276"/>
                  </a:lnTo>
                  <a:lnTo>
                    <a:pt x="618" y="306"/>
                  </a:lnTo>
                  <a:lnTo>
                    <a:pt x="576" y="312"/>
                  </a:lnTo>
                  <a:lnTo>
                    <a:pt x="606" y="328"/>
                  </a:lnTo>
                  <a:lnTo>
                    <a:pt x="634" y="312"/>
                  </a:lnTo>
                  <a:lnTo>
                    <a:pt x="652" y="268"/>
                  </a:lnTo>
                  <a:lnTo>
                    <a:pt x="672" y="246"/>
                  </a:lnTo>
                  <a:lnTo>
                    <a:pt x="642" y="250"/>
                  </a:lnTo>
                  <a:lnTo>
                    <a:pt x="638" y="228"/>
                  </a:lnTo>
                  <a:lnTo>
                    <a:pt x="648" y="204"/>
                  </a:lnTo>
                  <a:lnTo>
                    <a:pt x="636" y="164"/>
                  </a:lnTo>
                  <a:lnTo>
                    <a:pt x="650" y="142"/>
                  </a:lnTo>
                  <a:lnTo>
                    <a:pt x="668" y="200"/>
                  </a:lnTo>
                  <a:lnTo>
                    <a:pt x="690" y="196"/>
                  </a:lnTo>
                  <a:lnTo>
                    <a:pt x="670" y="164"/>
                  </a:lnTo>
                  <a:lnTo>
                    <a:pt x="714" y="156"/>
                  </a:lnTo>
                  <a:lnTo>
                    <a:pt x="746" y="182"/>
                  </a:lnTo>
                  <a:lnTo>
                    <a:pt x="768" y="162"/>
                  </a:lnTo>
                  <a:lnTo>
                    <a:pt x="738" y="146"/>
                  </a:lnTo>
                  <a:lnTo>
                    <a:pt x="738" y="120"/>
                  </a:lnTo>
                  <a:lnTo>
                    <a:pt x="774" y="112"/>
                  </a:lnTo>
                  <a:lnTo>
                    <a:pt x="814" y="108"/>
                  </a:lnTo>
                  <a:lnTo>
                    <a:pt x="832" y="116"/>
                  </a:lnTo>
                  <a:lnTo>
                    <a:pt x="816" y="84"/>
                  </a:lnTo>
                  <a:lnTo>
                    <a:pt x="834" y="72"/>
                  </a:lnTo>
                  <a:lnTo>
                    <a:pt x="866" y="60"/>
                  </a:lnTo>
                  <a:lnTo>
                    <a:pt x="936" y="48"/>
                  </a:lnTo>
                  <a:lnTo>
                    <a:pt x="948" y="56"/>
                  </a:lnTo>
                  <a:lnTo>
                    <a:pt x="984" y="32"/>
                  </a:lnTo>
                  <a:lnTo>
                    <a:pt x="1012" y="26"/>
                  </a:lnTo>
                  <a:lnTo>
                    <a:pt x="1038" y="0"/>
                  </a:lnTo>
                  <a:lnTo>
                    <a:pt x="1066" y="12"/>
                  </a:lnTo>
                  <a:lnTo>
                    <a:pt x="1088" y="38"/>
                  </a:lnTo>
                  <a:lnTo>
                    <a:pt x="1134" y="18"/>
                  </a:lnTo>
                  <a:lnTo>
                    <a:pt x="1170" y="38"/>
                  </a:lnTo>
                  <a:lnTo>
                    <a:pt x="1188" y="76"/>
                  </a:lnTo>
                  <a:lnTo>
                    <a:pt x="1148" y="94"/>
                  </a:lnTo>
                  <a:lnTo>
                    <a:pt x="1106" y="114"/>
                  </a:lnTo>
                  <a:lnTo>
                    <a:pt x="1090" y="144"/>
                  </a:lnTo>
                  <a:lnTo>
                    <a:pt x="1128" y="108"/>
                  </a:lnTo>
                  <a:lnTo>
                    <a:pt x="1174" y="124"/>
                  </a:lnTo>
                  <a:lnTo>
                    <a:pt x="1214" y="108"/>
                  </a:lnTo>
                  <a:lnTo>
                    <a:pt x="1248" y="128"/>
                  </a:lnTo>
                  <a:lnTo>
                    <a:pt x="1302" y="150"/>
                  </a:lnTo>
                  <a:lnTo>
                    <a:pt x="1350" y="146"/>
                  </a:lnTo>
                  <a:lnTo>
                    <a:pt x="1404" y="190"/>
                  </a:lnTo>
                  <a:lnTo>
                    <a:pt x="1434" y="198"/>
                  </a:lnTo>
                  <a:lnTo>
                    <a:pt x="1440" y="174"/>
                  </a:lnTo>
                  <a:lnTo>
                    <a:pt x="1454" y="192"/>
                  </a:lnTo>
                  <a:lnTo>
                    <a:pt x="1482" y="178"/>
                  </a:lnTo>
                  <a:lnTo>
                    <a:pt x="1540" y="186"/>
                  </a:lnTo>
                  <a:lnTo>
                    <a:pt x="1534" y="150"/>
                  </a:lnTo>
                  <a:lnTo>
                    <a:pt x="1562" y="146"/>
                  </a:lnTo>
                  <a:lnTo>
                    <a:pt x="1606" y="164"/>
                  </a:lnTo>
                  <a:lnTo>
                    <a:pt x="1614" y="188"/>
                  </a:lnTo>
                  <a:lnTo>
                    <a:pt x="1638" y="156"/>
                  </a:lnTo>
                  <a:lnTo>
                    <a:pt x="1698" y="176"/>
                  </a:lnTo>
                  <a:lnTo>
                    <a:pt x="1664" y="206"/>
                  </a:lnTo>
                  <a:lnTo>
                    <a:pt x="1758" y="206"/>
                  </a:lnTo>
                  <a:lnTo>
                    <a:pt x="1818" y="206"/>
                  </a:lnTo>
                  <a:lnTo>
                    <a:pt x="1820" y="234"/>
                  </a:lnTo>
                  <a:lnTo>
                    <a:pt x="1874" y="236"/>
                  </a:lnTo>
                  <a:lnTo>
                    <a:pt x="1922" y="240"/>
                  </a:lnTo>
                  <a:lnTo>
                    <a:pt x="1952" y="264"/>
                  </a:lnTo>
                  <a:lnTo>
                    <a:pt x="1964" y="236"/>
                  </a:lnTo>
                  <a:lnTo>
                    <a:pt x="1952" y="216"/>
                  </a:lnTo>
                  <a:lnTo>
                    <a:pt x="2006" y="220"/>
                  </a:lnTo>
                  <a:lnTo>
                    <a:pt x="2084" y="250"/>
                  </a:lnTo>
                  <a:lnTo>
                    <a:pt x="2160" y="312"/>
                  </a:lnTo>
                  <a:lnTo>
                    <a:pt x="2178" y="312"/>
                  </a:lnTo>
                  <a:lnTo>
                    <a:pt x="2216" y="342"/>
                  </a:lnTo>
                  <a:lnTo>
                    <a:pt x="2188" y="348"/>
                  </a:lnTo>
                  <a:lnTo>
                    <a:pt x="2192" y="380"/>
                  </a:lnTo>
                  <a:lnTo>
                    <a:pt x="2142" y="364"/>
                  </a:lnTo>
                  <a:lnTo>
                    <a:pt x="2142" y="340"/>
                  </a:lnTo>
                  <a:lnTo>
                    <a:pt x="2100" y="348"/>
                  </a:lnTo>
                  <a:lnTo>
                    <a:pt x="2094" y="320"/>
                  </a:lnTo>
                  <a:lnTo>
                    <a:pt x="2088" y="362"/>
                  </a:lnTo>
                  <a:lnTo>
                    <a:pt x="2058" y="370"/>
                  </a:lnTo>
                  <a:lnTo>
                    <a:pt x="2018" y="366"/>
                  </a:lnTo>
                  <a:lnTo>
                    <a:pt x="2066" y="390"/>
                  </a:lnTo>
                  <a:lnTo>
                    <a:pt x="2080" y="420"/>
                  </a:lnTo>
                  <a:lnTo>
                    <a:pt x="2034" y="420"/>
                  </a:lnTo>
                  <a:lnTo>
                    <a:pt x="1958" y="444"/>
                  </a:lnTo>
                  <a:lnTo>
                    <a:pt x="1952" y="484"/>
                  </a:lnTo>
                  <a:lnTo>
                    <a:pt x="1932" y="460"/>
                  </a:lnTo>
                  <a:lnTo>
                    <a:pt x="1900" y="484"/>
                  </a:lnTo>
                  <a:lnTo>
                    <a:pt x="1870" y="484"/>
                  </a:lnTo>
                  <a:lnTo>
                    <a:pt x="1852" y="520"/>
                  </a:lnTo>
                  <a:lnTo>
                    <a:pt x="1858" y="558"/>
                  </a:lnTo>
                  <a:lnTo>
                    <a:pt x="1850" y="574"/>
                  </a:lnTo>
                  <a:lnTo>
                    <a:pt x="1846" y="598"/>
                  </a:lnTo>
                  <a:lnTo>
                    <a:pt x="1832" y="602"/>
                  </a:lnTo>
                  <a:lnTo>
                    <a:pt x="1834" y="618"/>
                  </a:lnTo>
                  <a:lnTo>
                    <a:pt x="1818" y="618"/>
                  </a:lnTo>
                  <a:lnTo>
                    <a:pt x="1810" y="650"/>
                  </a:lnTo>
                  <a:lnTo>
                    <a:pt x="1810" y="668"/>
                  </a:lnTo>
                  <a:lnTo>
                    <a:pt x="1788" y="676"/>
                  </a:lnTo>
                  <a:lnTo>
                    <a:pt x="1770" y="698"/>
                  </a:lnTo>
                  <a:lnTo>
                    <a:pt x="1758" y="636"/>
                  </a:lnTo>
                  <a:lnTo>
                    <a:pt x="1752" y="582"/>
                  </a:lnTo>
                  <a:lnTo>
                    <a:pt x="1782" y="528"/>
                  </a:lnTo>
                  <a:lnTo>
                    <a:pt x="1832" y="498"/>
                  </a:lnTo>
                  <a:lnTo>
                    <a:pt x="1854" y="462"/>
                  </a:lnTo>
                  <a:lnTo>
                    <a:pt x="1878" y="420"/>
                  </a:lnTo>
                  <a:lnTo>
                    <a:pt x="1824" y="448"/>
                  </a:lnTo>
                  <a:lnTo>
                    <a:pt x="1800" y="430"/>
                  </a:lnTo>
                  <a:lnTo>
                    <a:pt x="1752" y="464"/>
                  </a:lnTo>
                  <a:lnTo>
                    <a:pt x="1740" y="498"/>
                  </a:lnTo>
                  <a:lnTo>
                    <a:pt x="1710" y="514"/>
                  </a:lnTo>
                  <a:lnTo>
                    <a:pt x="1692" y="500"/>
                  </a:lnTo>
                  <a:lnTo>
                    <a:pt x="1702" y="486"/>
                  </a:lnTo>
                  <a:lnTo>
                    <a:pt x="1656" y="502"/>
                  </a:lnTo>
                  <a:lnTo>
                    <a:pt x="1620" y="492"/>
                  </a:lnTo>
                  <a:lnTo>
                    <a:pt x="1572" y="492"/>
                  </a:lnTo>
                  <a:lnTo>
                    <a:pt x="1536" y="542"/>
                  </a:lnTo>
                  <a:lnTo>
                    <a:pt x="1490" y="592"/>
                  </a:lnTo>
                  <a:lnTo>
                    <a:pt x="1454" y="608"/>
                  </a:lnTo>
                  <a:lnTo>
                    <a:pt x="1486" y="630"/>
                  </a:lnTo>
                  <a:lnTo>
                    <a:pt x="1504" y="650"/>
                  </a:lnTo>
                  <a:lnTo>
                    <a:pt x="1522" y="632"/>
                  </a:lnTo>
                  <a:lnTo>
                    <a:pt x="1560" y="658"/>
                  </a:lnTo>
                  <a:lnTo>
                    <a:pt x="1534" y="692"/>
                  </a:lnTo>
                  <a:lnTo>
                    <a:pt x="1572" y="682"/>
                  </a:lnTo>
                  <a:lnTo>
                    <a:pt x="1576" y="636"/>
                  </a:lnTo>
                  <a:lnTo>
                    <a:pt x="1606" y="650"/>
                  </a:lnTo>
                  <a:lnTo>
                    <a:pt x="1584" y="686"/>
                  </a:lnTo>
                  <a:lnTo>
                    <a:pt x="1590" y="718"/>
                  </a:lnTo>
                  <a:lnTo>
                    <a:pt x="1606" y="738"/>
                  </a:lnTo>
                  <a:lnTo>
                    <a:pt x="1580" y="730"/>
                  </a:lnTo>
                  <a:lnTo>
                    <a:pt x="1580" y="776"/>
                  </a:lnTo>
                  <a:lnTo>
                    <a:pt x="1588" y="804"/>
                  </a:lnTo>
                  <a:lnTo>
                    <a:pt x="1566" y="788"/>
                  </a:lnTo>
                  <a:lnTo>
                    <a:pt x="1548" y="806"/>
                  </a:lnTo>
                  <a:lnTo>
                    <a:pt x="1564" y="772"/>
                  </a:lnTo>
                  <a:lnTo>
                    <a:pt x="1572" y="718"/>
                  </a:lnTo>
                  <a:lnTo>
                    <a:pt x="1574" y="692"/>
                  </a:lnTo>
                  <a:lnTo>
                    <a:pt x="1544" y="720"/>
                  </a:lnTo>
                  <a:lnTo>
                    <a:pt x="1528" y="766"/>
                  </a:lnTo>
                  <a:lnTo>
                    <a:pt x="1506" y="788"/>
                  </a:lnTo>
                  <a:lnTo>
                    <a:pt x="1494" y="834"/>
                  </a:lnTo>
                  <a:lnTo>
                    <a:pt x="1474" y="864"/>
                  </a:lnTo>
                  <a:lnTo>
                    <a:pt x="1446" y="876"/>
                  </a:lnTo>
                  <a:lnTo>
                    <a:pt x="1428" y="838"/>
                  </a:lnTo>
                  <a:lnTo>
                    <a:pt x="1464" y="804"/>
                  </a:lnTo>
                  <a:lnTo>
                    <a:pt x="1470" y="772"/>
                  </a:lnTo>
                  <a:lnTo>
                    <a:pt x="1476" y="744"/>
                  </a:lnTo>
                  <a:lnTo>
                    <a:pt x="1440" y="758"/>
                  </a:lnTo>
                  <a:lnTo>
                    <a:pt x="1422" y="768"/>
                  </a:lnTo>
                  <a:lnTo>
                    <a:pt x="1420" y="740"/>
                  </a:lnTo>
                  <a:lnTo>
                    <a:pt x="1404" y="722"/>
                  </a:lnTo>
                  <a:lnTo>
                    <a:pt x="1376" y="700"/>
                  </a:lnTo>
                  <a:lnTo>
                    <a:pt x="1360" y="664"/>
                  </a:lnTo>
                  <a:lnTo>
                    <a:pt x="1326" y="640"/>
                  </a:lnTo>
                  <a:lnTo>
                    <a:pt x="1292" y="640"/>
                  </a:lnTo>
                  <a:lnTo>
                    <a:pt x="1274" y="666"/>
                  </a:lnTo>
                  <a:lnTo>
                    <a:pt x="1268" y="706"/>
                  </a:lnTo>
                  <a:lnTo>
                    <a:pt x="1252" y="732"/>
                  </a:lnTo>
                  <a:lnTo>
                    <a:pt x="1224" y="724"/>
                  </a:lnTo>
                  <a:lnTo>
                    <a:pt x="1194" y="714"/>
                  </a:lnTo>
                  <a:lnTo>
                    <a:pt x="1166" y="728"/>
                  </a:lnTo>
                  <a:lnTo>
                    <a:pt x="1122" y="734"/>
                  </a:lnTo>
                  <a:lnTo>
                    <a:pt x="1076" y="720"/>
                  </a:lnTo>
                  <a:lnTo>
                    <a:pt x="1040" y="708"/>
                  </a:lnTo>
                  <a:lnTo>
                    <a:pt x="1008" y="680"/>
                  </a:lnTo>
                  <a:lnTo>
                    <a:pt x="978" y="672"/>
                  </a:lnTo>
                  <a:lnTo>
                    <a:pt x="962" y="690"/>
                  </a:lnTo>
                  <a:lnTo>
                    <a:pt x="972" y="714"/>
                  </a:lnTo>
                  <a:lnTo>
                    <a:pt x="936" y="716"/>
                  </a:lnTo>
                  <a:lnTo>
                    <a:pt x="906" y="702"/>
                  </a:lnTo>
                  <a:lnTo>
                    <a:pt x="878" y="698"/>
                  </a:lnTo>
                  <a:lnTo>
                    <a:pt x="852" y="718"/>
                  </a:lnTo>
                  <a:lnTo>
                    <a:pt x="842" y="740"/>
                  </a:lnTo>
                  <a:lnTo>
                    <a:pt x="806" y="726"/>
                  </a:lnTo>
                  <a:lnTo>
                    <a:pt x="794" y="714"/>
                  </a:lnTo>
                  <a:lnTo>
                    <a:pt x="766" y="726"/>
                  </a:lnTo>
                  <a:lnTo>
                    <a:pt x="738" y="708"/>
                  </a:lnTo>
                  <a:lnTo>
                    <a:pt x="726" y="696"/>
                  </a:lnTo>
                  <a:lnTo>
                    <a:pt x="704" y="690"/>
                  </a:lnTo>
                  <a:lnTo>
                    <a:pt x="686" y="660"/>
                  </a:lnTo>
                  <a:lnTo>
                    <a:pt x="672" y="614"/>
                  </a:lnTo>
                  <a:lnTo>
                    <a:pt x="620" y="632"/>
                  </a:lnTo>
                  <a:lnTo>
                    <a:pt x="588" y="614"/>
                  </a:lnTo>
                  <a:lnTo>
                    <a:pt x="582" y="628"/>
                  </a:lnTo>
                  <a:lnTo>
                    <a:pt x="568" y="606"/>
                  </a:lnTo>
                  <a:lnTo>
                    <a:pt x="512" y="618"/>
                  </a:lnTo>
                  <a:lnTo>
                    <a:pt x="456" y="618"/>
                  </a:lnTo>
                  <a:lnTo>
                    <a:pt x="452" y="660"/>
                  </a:lnTo>
                  <a:lnTo>
                    <a:pt x="466" y="696"/>
                  </a:lnTo>
                  <a:lnTo>
                    <a:pt x="438" y="702"/>
                  </a:lnTo>
                  <a:lnTo>
                    <a:pt x="414" y="684"/>
                  </a:lnTo>
                  <a:lnTo>
                    <a:pt x="386" y="696"/>
                  </a:lnTo>
                  <a:lnTo>
                    <a:pt x="350" y="672"/>
                  </a:lnTo>
                  <a:lnTo>
                    <a:pt x="328" y="676"/>
                  </a:lnTo>
                  <a:lnTo>
                    <a:pt x="296" y="696"/>
                  </a:lnTo>
                  <a:lnTo>
                    <a:pt x="298" y="712"/>
                  </a:lnTo>
                  <a:lnTo>
                    <a:pt x="276" y="718"/>
                  </a:lnTo>
                  <a:lnTo>
                    <a:pt x="278" y="762"/>
                  </a:lnTo>
                  <a:lnTo>
                    <a:pt x="288" y="792"/>
                  </a:lnTo>
                  <a:lnTo>
                    <a:pt x="264" y="810"/>
                  </a:lnTo>
                  <a:lnTo>
                    <a:pt x="270" y="840"/>
                  </a:lnTo>
                  <a:lnTo>
                    <a:pt x="288" y="886"/>
                  </a:lnTo>
                  <a:lnTo>
                    <a:pt x="288" y="904"/>
                  </a:lnTo>
                  <a:lnTo>
                    <a:pt x="254" y="878"/>
                  </a:lnTo>
                  <a:lnTo>
                    <a:pt x="242" y="854"/>
                  </a:lnTo>
                  <a:lnTo>
                    <a:pt x="220" y="868"/>
                  </a:lnTo>
                  <a:lnTo>
                    <a:pt x="198" y="852"/>
                  </a:lnTo>
                  <a:lnTo>
                    <a:pt x="184" y="852"/>
                  </a:lnTo>
                  <a:lnTo>
                    <a:pt x="166" y="864"/>
                  </a:lnTo>
                  <a:lnTo>
                    <a:pt x="148" y="834"/>
                  </a:lnTo>
                  <a:lnTo>
                    <a:pt x="138" y="822"/>
                  </a:lnTo>
                  <a:lnTo>
                    <a:pt x="146" y="810"/>
                  </a:lnTo>
                  <a:lnTo>
                    <a:pt x="127" y="797"/>
                  </a:lnTo>
                  <a:lnTo>
                    <a:pt x="160" y="782"/>
                  </a:lnTo>
                  <a:lnTo>
                    <a:pt x="178" y="768"/>
                  </a:lnTo>
                  <a:lnTo>
                    <a:pt x="184" y="748"/>
                  </a:lnTo>
                  <a:lnTo>
                    <a:pt x="174" y="725"/>
                  </a:lnTo>
                  <a:lnTo>
                    <a:pt x="144" y="706"/>
                  </a:lnTo>
                  <a:lnTo>
                    <a:pt x="129" y="710"/>
                  </a:lnTo>
                  <a:lnTo>
                    <a:pt x="115" y="691"/>
                  </a:lnTo>
                  <a:lnTo>
                    <a:pt x="90" y="686"/>
                  </a:lnTo>
                  <a:lnTo>
                    <a:pt x="82" y="666"/>
                  </a:lnTo>
                  <a:lnTo>
                    <a:pt x="66" y="672"/>
                  </a:lnTo>
                  <a:lnTo>
                    <a:pt x="60" y="642"/>
                  </a:lnTo>
                  <a:lnTo>
                    <a:pt x="72" y="640"/>
                  </a:lnTo>
                  <a:lnTo>
                    <a:pt x="58" y="620"/>
                  </a:lnTo>
                  <a:lnTo>
                    <a:pt x="56" y="598"/>
                  </a:lnTo>
                  <a:lnTo>
                    <a:pt x="42" y="580"/>
                  </a:lnTo>
                  <a:lnTo>
                    <a:pt x="24" y="590"/>
                  </a:lnTo>
                  <a:lnTo>
                    <a:pt x="20" y="570"/>
                  </a:lnTo>
                  <a:lnTo>
                    <a:pt x="0" y="548"/>
                  </a:lnTo>
                  <a:lnTo>
                    <a:pt x="12" y="534"/>
                  </a:lnTo>
                  <a:lnTo>
                    <a:pt x="12" y="516"/>
                  </a:lnTo>
                  <a:lnTo>
                    <a:pt x="12" y="492"/>
                  </a:lnTo>
                  <a:lnTo>
                    <a:pt x="36" y="478"/>
                  </a:lnTo>
                  <a:lnTo>
                    <a:pt x="12" y="468"/>
                  </a:lnTo>
                  <a:lnTo>
                    <a:pt x="50" y="438"/>
                  </a:lnTo>
                  <a:lnTo>
                    <a:pt x="64" y="422"/>
                  </a:lnTo>
                  <a:lnTo>
                    <a:pt x="54" y="410"/>
                  </a:lnTo>
                  <a:lnTo>
                    <a:pt x="60" y="384"/>
                  </a:lnTo>
                  <a:lnTo>
                    <a:pt x="44" y="360"/>
                  </a:lnTo>
                  <a:lnTo>
                    <a:pt x="40" y="328"/>
                  </a:lnTo>
                  <a:lnTo>
                    <a:pt x="30" y="308"/>
                  </a:lnTo>
                  <a:lnTo>
                    <a:pt x="44" y="282"/>
                  </a:lnTo>
                  <a:lnTo>
                    <a:pt x="30" y="268"/>
                  </a:lnTo>
                  <a:lnTo>
                    <a:pt x="32" y="256"/>
                  </a:lnTo>
                  <a:lnTo>
                    <a:pt x="48" y="256"/>
                  </a:lnTo>
                  <a:lnTo>
                    <a:pt x="48" y="234"/>
                  </a:lnTo>
                  <a:lnTo>
                    <a:pt x="54" y="22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6" name="Freeform 238"/>
            <p:cNvSpPr>
              <a:spLocks/>
            </p:cNvSpPr>
            <p:nvPr/>
          </p:nvSpPr>
          <p:spPr bwMode="auto">
            <a:xfrm>
              <a:off x="3462" y="1266"/>
              <a:ext cx="619" cy="343"/>
            </a:xfrm>
            <a:custGeom>
              <a:avLst/>
              <a:gdLst>
                <a:gd name="T0" fmla="*/ 35 w 632"/>
                <a:gd name="T1" fmla="*/ 207 h 350"/>
                <a:gd name="T2" fmla="*/ 89 w 632"/>
                <a:gd name="T3" fmla="*/ 213 h 350"/>
                <a:gd name="T4" fmla="*/ 96 w 632"/>
                <a:gd name="T5" fmla="*/ 254 h 350"/>
                <a:gd name="T6" fmla="*/ 45 w 632"/>
                <a:gd name="T7" fmla="*/ 269 h 350"/>
                <a:gd name="T8" fmla="*/ 80 w 632"/>
                <a:gd name="T9" fmla="*/ 326 h 350"/>
                <a:gd name="T10" fmla="*/ 111 w 632"/>
                <a:gd name="T11" fmla="*/ 320 h 350"/>
                <a:gd name="T12" fmla="*/ 134 w 632"/>
                <a:gd name="T13" fmla="*/ 295 h 350"/>
                <a:gd name="T14" fmla="*/ 152 w 632"/>
                <a:gd name="T15" fmla="*/ 234 h 350"/>
                <a:gd name="T16" fmla="*/ 216 w 632"/>
                <a:gd name="T17" fmla="*/ 279 h 350"/>
                <a:gd name="T18" fmla="*/ 254 w 632"/>
                <a:gd name="T19" fmla="*/ 306 h 350"/>
                <a:gd name="T20" fmla="*/ 292 w 632"/>
                <a:gd name="T21" fmla="*/ 340 h 350"/>
                <a:gd name="T22" fmla="*/ 343 w 632"/>
                <a:gd name="T23" fmla="*/ 313 h 350"/>
                <a:gd name="T24" fmla="*/ 378 w 632"/>
                <a:gd name="T25" fmla="*/ 291 h 350"/>
                <a:gd name="T26" fmla="*/ 420 w 632"/>
                <a:gd name="T27" fmla="*/ 289 h 350"/>
                <a:gd name="T28" fmla="*/ 447 w 632"/>
                <a:gd name="T29" fmla="*/ 295 h 350"/>
                <a:gd name="T30" fmla="*/ 491 w 632"/>
                <a:gd name="T31" fmla="*/ 299 h 350"/>
                <a:gd name="T32" fmla="*/ 518 w 632"/>
                <a:gd name="T33" fmla="*/ 281 h 350"/>
                <a:gd name="T34" fmla="*/ 554 w 632"/>
                <a:gd name="T35" fmla="*/ 244 h 350"/>
                <a:gd name="T36" fmla="*/ 580 w 632"/>
                <a:gd name="T37" fmla="*/ 185 h 350"/>
                <a:gd name="T38" fmla="*/ 632 w 632"/>
                <a:gd name="T39" fmla="*/ 145 h 350"/>
                <a:gd name="T40" fmla="*/ 591 w 632"/>
                <a:gd name="T41" fmla="*/ 120 h 350"/>
                <a:gd name="T42" fmla="*/ 534 w 632"/>
                <a:gd name="T43" fmla="*/ 119 h 350"/>
                <a:gd name="T44" fmla="*/ 491 w 632"/>
                <a:gd name="T45" fmla="*/ 93 h 350"/>
                <a:gd name="T46" fmla="*/ 455 w 632"/>
                <a:gd name="T47" fmla="*/ 9 h 350"/>
                <a:gd name="T48" fmla="*/ 355 w 632"/>
                <a:gd name="T49" fmla="*/ 9 h 350"/>
                <a:gd name="T50" fmla="*/ 333 w 632"/>
                <a:gd name="T51" fmla="*/ 0 h 350"/>
                <a:gd name="T52" fmla="*/ 210 w 632"/>
                <a:gd name="T53" fmla="*/ 14 h 350"/>
                <a:gd name="T54" fmla="*/ 218 w 632"/>
                <a:gd name="T55" fmla="*/ 103 h 350"/>
                <a:gd name="T56" fmla="*/ 158 w 632"/>
                <a:gd name="T57" fmla="*/ 88 h 350"/>
                <a:gd name="T58" fmla="*/ 86 w 632"/>
                <a:gd name="T59" fmla="*/ 76 h 350"/>
                <a:gd name="T60" fmla="*/ 24 w 632"/>
                <a:gd name="T61" fmla="*/ 100 h 350"/>
                <a:gd name="T62" fmla="*/ 0 w 632"/>
                <a:gd name="T63" fmla="*/ 126 h 350"/>
                <a:gd name="T64" fmla="*/ 14 w 632"/>
                <a:gd name="T65" fmla="*/ 213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2" h="350">
                  <a:moveTo>
                    <a:pt x="14" y="213"/>
                  </a:moveTo>
                  <a:lnTo>
                    <a:pt x="35" y="207"/>
                  </a:lnTo>
                  <a:lnTo>
                    <a:pt x="55" y="192"/>
                  </a:lnTo>
                  <a:lnTo>
                    <a:pt x="89" y="213"/>
                  </a:lnTo>
                  <a:lnTo>
                    <a:pt x="106" y="238"/>
                  </a:lnTo>
                  <a:lnTo>
                    <a:pt x="96" y="254"/>
                  </a:lnTo>
                  <a:lnTo>
                    <a:pt x="65" y="244"/>
                  </a:lnTo>
                  <a:lnTo>
                    <a:pt x="45" y="269"/>
                  </a:lnTo>
                  <a:lnTo>
                    <a:pt x="70" y="310"/>
                  </a:lnTo>
                  <a:lnTo>
                    <a:pt x="80" y="326"/>
                  </a:lnTo>
                  <a:lnTo>
                    <a:pt x="96" y="310"/>
                  </a:lnTo>
                  <a:lnTo>
                    <a:pt x="111" y="320"/>
                  </a:lnTo>
                  <a:lnTo>
                    <a:pt x="131" y="330"/>
                  </a:lnTo>
                  <a:lnTo>
                    <a:pt x="134" y="295"/>
                  </a:lnTo>
                  <a:lnTo>
                    <a:pt x="134" y="244"/>
                  </a:lnTo>
                  <a:lnTo>
                    <a:pt x="152" y="234"/>
                  </a:lnTo>
                  <a:lnTo>
                    <a:pt x="196" y="258"/>
                  </a:lnTo>
                  <a:lnTo>
                    <a:pt x="216" y="279"/>
                  </a:lnTo>
                  <a:lnTo>
                    <a:pt x="220" y="303"/>
                  </a:lnTo>
                  <a:lnTo>
                    <a:pt x="254" y="306"/>
                  </a:lnTo>
                  <a:lnTo>
                    <a:pt x="275" y="319"/>
                  </a:lnTo>
                  <a:lnTo>
                    <a:pt x="292" y="340"/>
                  </a:lnTo>
                  <a:lnTo>
                    <a:pt x="313" y="350"/>
                  </a:lnTo>
                  <a:lnTo>
                    <a:pt x="343" y="313"/>
                  </a:lnTo>
                  <a:lnTo>
                    <a:pt x="362" y="310"/>
                  </a:lnTo>
                  <a:lnTo>
                    <a:pt x="378" y="291"/>
                  </a:lnTo>
                  <a:lnTo>
                    <a:pt x="395" y="310"/>
                  </a:lnTo>
                  <a:lnTo>
                    <a:pt x="420" y="289"/>
                  </a:lnTo>
                  <a:lnTo>
                    <a:pt x="434" y="305"/>
                  </a:lnTo>
                  <a:lnTo>
                    <a:pt x="447" y="295"/>
                  </a:lnTo>
                  <a:lnTo>
                    <a:pt x="472" y="291"/>
                  </a:lnTo>
                  <a:lnTo>
                    <a:pt x="491" y="299"/>
                  </a:lnTo>
                  <a:lnTo>
                    <a:pt x="509" y="304"/>
                  </a:lnTo>
                  <a:lnTo>
                    <a:pt x="518" y="281"/>
                  </a:lnTo>
                  <a:lnTo>
                    <a:pt x="504" y="259"/>
                  </a:lnTo>
                  <a:lnTo>
                    <a:pt x="554" y="244"/>
                  </a:lnTo>
                  <a:lnTo>
                    <a:pt x="554" y="199"/>
                  </a:lnTo>
                  <a:lnTo>
                    <a:pt x="580" y="185"/>
                  </a:lnTo>
                  <a:lnTo>
                    <a:pt x="601" y="161"/>
                  </a:lnTo>
                  <a:lnTo>
                    <a:pt x="632" y="145"/>
                  </a:lnTo>
                  <a:lnTo>
                    <a:pt x="606" y="137"/>
                  </a:lnTo>
                  <a:lnTo>
                    <a:pt x="591" y="120"/>
                  </a:lnTo>
                  <a:lnTo>
                    <a:pt x="560" y="134"/>
                  </a:lnTo>
                  <a:lnTo>
                    <a:pt x="534" y="119"/>
                  </a:lnTo>
                  <a:lnTo>
                    <a:pt x="513" y="100"/>
                  </a:lnTo>
                  <a:lnTo>
                    <a:pt x="491" y="93"/>
                  </a:lnTo>
                  <a:lnTo>
                    <a:pt x="468" y="57"/>
                  </a:lnTo>
                  <a:lnTo>
                    <a:pt x="455" y="9"/>
                  </a:lnTo>
                  <a:lnTo>
                    <a:pt x="398" y="26"/>
                  </a:lnTo>
                  <a:lnTo>
                    <a:pt x="355" y="9"/>
                  </a:lnTo>
                  <a:lnTo>
                    <a:pt x="350" y="23"/>
                  </a:lnTo>
                  <a:lnTo>
                    <a:pt x="333" y="0"/>
                  </a:lnTo>
                  <a:lnTo>
                    <a:pt x="276" y="10"/>
                  </a:lnTo>
                  <a:lnTo>
                    <a:pt x="210" y="14"/>
                  </a:lnTo>
                  <a:lnTo>
                    <a:pt x="200" y="64"/>
                  </a:lnTo>
                  <a:lnTo>
                    <a:pt x="218" y="103"/>
                  </a:lnTo>
                  <a:lnTo>
                    <a:pt x="183" y="109"/>
                  </a:lnTo>
                  <a:lnTo>
                    <a:pt x="158" y="88"/>
                  </a:lnTo>
                  <a:lnTo>
                    <a:pt x="127" y="100"/>
                  </a:lnTo>
                  <a:lnTo>
                    <a:pt x="86" y="76"/>
                  </a:lnTo>
                  <a:lnTo>
                    <a:pt x="62" y="78"/>
                  </a:lnTo>
                  <a:lnTo>
                    <a:pt x="24" y="100"/>
                  </a:lnTo>
                  <a:lnTo>
                    <a:pt x="25" y="119"/>
                  </a:lnTo>
                  <a:lnTo>
                    <a:pt x="0" y="126"/>
                  </a:lnTo>
                  <a:lnTo>
                    <a:pt x="3" y="179"/>
                  </a:lnTo>
                  <a:lnTo>
                    <a:pt x="14" y="21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7" name="Freeform 240"/>
            <p:cNvSpPr>
              <a:spLocks/>
            </p:cNvSpPr>
            <p:nvPr/>
          </p:nvSpPr>
          <p:spPr bwMode="auto">
            <a:xfrm>
              <a:off x="3589" y="1497"/>
              <a:ext cx="258" cy="197"/>
            </a:xfrm>
            <a:custGeom>
              <a:avLst/>
              <a:gdLst>
                <a:gd name="T0" fmla="*/ 0 w 264"/>
                <a:gd name="T1" fmla="*/ 94 h 201"/>
                <a:gd name="T2" fmla="*/ 20 w 264"/>
                <a:gd name="T3" fmla="*/ 94 h 201"/>
                <a:gd name="T4" fmla="*/ 18 w 264"/>
                <a:gd name="T5" fmla="*/ 78 h 201"/>
                <a:gd name="T6" fmla="*/ 42 w 264"/>
                <a:gd name="T7" fmla="*/ 69 h 201"/>
                <a:gd name="T8" fmla="*/ 54 w 264"/>
                <a:gd name="T9" fmla="*/ 96 h 201"/>
                <a:gd name="T10" fmla="*/ 59 w 264"/>
                <a:gd name="T11" fmla="*/ 114 h 201"/>
                <a:gd name="T12" fmla="*/ 81 w 264"/>
                <a:gd name="T13" fmla="*/ 100 h 201"/>
                <a:gd name="T14" fmla="*/ 99 w 264"/>
                <a:gd name="T15" fmla="*/ 105 h 201"/>
                <a:gd name="T16" fmla="*/ 99 w 264"/>
                <a:gd name="T17" fmla="*/ 123 h 201"/>
                <a:gd name="T18" fmla="*/ 120 w 264"/>
                <a:gd name="T19" fmla="*/ 150 h 201"/>
                <a:gd name="T20" fmla="*/ 138 w 264"/>
                <a:gd name="T21" fmla="*/ 168 h 201"/>
                <a:gd name="T22" fmla="*/ 170 w 264"/>
                <a:gd name="T23" fmla="*/ 169 h 201"/>
                <a:gd name="T24" fmla="*/ 155 w 264"/>
                <a:gd name="T25" fmla="*/ 190 h 201"/>
                <a:gd name="T26" fmla="*/ 180 w 264"/>
                <a:gd name="T27" fmla="*/ 201 h 201"/>
                <a:gd name="T28" fmla="*/ 194 w 264"/>
                <a:gd name="T29" fmla="*/ 198 h 201"/>
                <a:gd name="T30" fmla="*/ 203 w 264"/>
                <a:gd name="T31" fmla="*/ 177 h 201"/>
                <a:gd name="T32" fmla="*/ 180 w 264"/>
                <a:gd name="T33" fmla="*/ 148 h 201"/>
                <a:gd name="T34" fmla="*/ 198 w 264"/>
                <a:gd name="T35" fmla="*/ 144 h 201"/>
                <a:gd name="T36" fmla="*/ 206 w 264"/>
                <a:gd name="T37" fmla="*/ 123 h 201"/>
                <a:gd name="T38" fmla="*/ 212 w 264"/>
                <a:gd name="T39" fmla="*/ 109 h 201"/>
                <a:gd name="T40" fmla="*/ 225 w 264"/>
                <a:gd name="T41" fmla="*/ 109 h 201"/>
                <a:gd name="T42" fmla="*/ 222 w 264"/>
                <a:gd name="T43" fmla="*/ 127 h 201"/>
                <a:gd name="T44" fmla="*/ 249 w 264"/>
                <a:gd name="T45" fmla="*/ 127 h 201"/>
                <a:gd name="T46" fmla="*/ 264 w 264"/>
                <a:gd name="T47" fmla="*/ 114 h 201"/>
                <a:gd name="T48" fmla="*/ 243 w 264"/>
                <a:gd name="T49" fmla="*/ 100 h 201"/>
                <a:gd name="T50" fmla="*/ 231 w 264"/>
                <a:gd name="T51" fmla="*/ 93 h 201"/>
                <a:gd name="T52" fmla="*/ 234 w 264"/>
                <a:gd name="T53" fmla="*/ 76 h 201"/>
                <a:gd name="T54" fmla="*/ 215 w 264"/>
                <a:gd name="T55" fmla="*/ 79 h 201"/>
                <a:gd name="T56" fmla="*/ 185 w 264"/>
                <a:gd name="T57" fmla="*/ 115 h 201"/>
                <a:gd name="T58" fmla="*/ 162 w 264"/>
                <a:gd name="T59" fmla="*/ 106 h 201"/>
                <a:gd name="T60" fmla="*/ 146 w 264"/>
                <a:gd name="T61" fmla="*/ 85 h 201"/>
                <a:gd name="T62" fmla="*/ 122 w 264"/>
                <a:gd name="T63" fmla="*/ 72 h 201"/>
                <a:gd name="T64" fmla="*/ 90 w 264"/>
                <a:gd name="T65" fmla="*/ 69 h 201"/>
                <a:gd name="T66" fmla="*/ 87 w 264"/>
                <a:gd name="T67" fmla="*/ 43 h 201"/>
                <a:gd name="T68" fmla="*/ 66 w 264"/>
                <a:gd name="T69" fmla="*/ 22 h 201"/>
                <a:gd name="T70" fmla="*/ 23 w 264"/>
                <a:gd name="T71" fmla="*/ 0 h 201"/>
                <a:gd name="T72" fmla="*/ 5 w 264"/>
                <a:gd name="T73" fmla="*/ 10 h 201"/>
                <a:gd name="T74" fmla="*/ 0 w 264"/>
                <a:gd name="T75" fmla="*/ 94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4" h="201">
                  <a:moveTo>
                    <a:pt x="0" y="94"/>
                  </a:moveTo>
                  <a:lnTo>
                    <a:pt x="20" y="94"/>
                  </a:lnTo>
                  <a:lnTo>
                    <a:pt x="18" y="78"/>
                  </a:lnTo>
                  <a:lnTo>
                    <a:pt x="42" y="69"/>
                  </a:lnTo>
                  <a:lnTo>
                    <a:pt x="54" y="96"/>
                  </a:lnTo>
                  <a:lnTo>
                    <a:pt x="59" y="114"/>
                  </a:lnTo>
                  <a:lnTo>
                    <a:pt x="81" y="100"/>
                  </a:lnTo>
                  <a:lnTo>
                    <a:pt x="99" y="105"/>
                  </a:lnTo>
                  <a:lnTo>
                    <a:pt x="99" y="123"/>
                  </a:lnTo>
                  <a:lnTo>
                    <a:pt x="120" y="150"/>
                  </a:lnTo>
                  <a:lnTo>
                    <a:pt x="138" y="168"/>
                  </a:lnTo>
                  <a:lnTo>
                    <a:pt x="170" y="169"/>
                  </a:lnTo>
                  <a:lnTo>
                    <a:pt x="155" y="190"/>
                  </a:lnTo>
                  <a:lnTo>
                    <a:pt x="180" y="201"/>
                  </a:lnTo>
                  <a:lnTo>
                    <a:pt x="194" y="198"/>
                  </a:lnTo>
                  <a:lnTo>
                    <a:pt x="203" y="177"/>
                  </a:lnTo>
                  <a:lnTo>
                    <a:pt x="180" y="148"/>
                  </a:lnTo>
                  <a:lnTo>
                    <a:pt x="198" y="144"/>
                  </a:lnTo>
                  <a:lnTo>
                    <a:pt x="206" y="123"/>
                  </a:lnTo>
                  <a:lnTo>
                    <a:pt x="212" y="109"/>
                  </a:lnTo>
                  <a:lnTo>
                    <a:pt x="225" y="109"/>
                  </a:lnTo>
                  <a:lnTo>
                    <a:pt x="222" y="127"/>
                  </a:lnTo>
                  <a:lnTo>
                    <a:pt x="249" y="127"/>
                  </a:lnTo>
                  <a:lnTo>
                    <a:pt x="264" y="114"/>
                  </a:lnTo>
                  <a:lnTo>
                    <a:pt x="243" y="100"/>
                  </a:lnTo>
                  <a:lnTo>
                    <a:pt x="231" y="93"/>
                  </a:lnTo>
                  <a:lnTo>
                    <a:pt x="234" y="76"/>
                  </a:lnTo>
                  <a:lnTo>
                    <a:pt x="215" y="79"/>
                  </a:lnTo>
                  <a:lnTo>
                    <a:pt x="185" y="115"/>
                  </a:lnTo>
                  <a:lnTo>
                    <a:pt x="162" y="106"/>
                  </a:lnTo>
                  <a:lnTo>
                    <a:pt x="146" y="85"/>
                  </a:lnTo>
                  <a:lnTo>
                    <a:pt x="122" y="72"/>
                  </a:lnTo>
                  <a:lnTo>
                    <a:pt x="90" y="69"/>
                  </a:lnTo>
                  <a:lnTo>
                    <a:pt x="87" y="43"/>
                  </a:lnTo>
                  <a:lnTo>
                    <a:pt x="66" y="22"/>
                  </a:lnTo>
                  <a:lnTo>
                    <a:pt x="23" y="0"/>
                  </a:lnTo>
                  <a:lnTo>
                    <a:pt x="5" y="10"/>
                  </a:lnTo>
                  <a:lnTo>
                    <a:pt x="0" y="9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8" name="Freeform 241"/>
            <p:cNvSpPr>
              <a:spLocks/>
            </p:cNvSpPr>
            <p:nvPr/>
          </p:nvSpPr>
          <p:spPr bwMode="auto">
            <a:xfrm>
              <a:off x="3534" y="1562"/>
              <a:ext cx="221" cy="170"/>
            </a:xfrm>
            <a:custGeom>
              <a:avLst/>
              <a:gdLst>
                <a:gd name="T0" fmla="*/ 16 w 225"/>
                <a:gd name="T1" fmla="*/ 15 h 174"/>
                <a:gd name="T2" fmla="*/ 37 w 225"/>
                <a:gd name="T3" fmla="*/ 41 h 174"/>
                <a:gd name="T4" fmla="*/ 24 w 225"/>
                <a:gd name="T5" fmla="*/ 53 h 174"/>
                <a:gd name="T6" fmla="*/ 10 w 225"/>
                <a:gd name="T7" fmla="*/ 42 h 174"/>
                <a:gd name="T8" fmla="*/ 0 w 225"/>
                <a:gd name="T9" fmla="*/ 69 h 174"/>
                <a:gd name="T10" fmla="*/ 19 w 225"/>
                <a:gd name="T11" fmla="*/ 69 h 174"/>
                <a:gd name="T12" fmla="*/ 16 w 225"/>
                <a:gd name="T13" fmla="*/ 80 h 174"/>
                <a:gd name="T14" fmla="*/ 27 w 225"/>
                <a:gd name="T15" fmla="*/ 92 h 174"/>
                <a:gd name="T16" fmla="*/ 18 w 225"/>
                <a:gd name="T17" fmla="*/ 107 h 174"/>
                <a:gd name="T18" fmla="*/ 27 w 225"/>
                <a:gd name="T19" fmla="*/ 128 h 174"/>
                <a:gd name="T20" fmla="*/ 45 w 225"/>
                <a:gd name="T21" fmla="*/ 107 h 174"/>
                <a:gd name="T22" fmla="*/ 72 w 225"/>
                <a:gd name="T23" fmla="*/ 105 h 174"/>
                <a:gd name="T24" fmla="*/ 117 w 225"/>
                <a:gd name="T25" fmla="*/ 116 h 174"/>
                <a:gd name="T26" fmla="*/ 148 w 225"/>
                <a:gd name="T27" fmla="*/ 146 h 174"/>
                <a:gd name="T28" fmla="*/ 153 w 225"/>
                <a:gd name="T29" fmla="*/ 173 h 174"/>
                <a:gd name="T30" fmla="*/ 174 w 225"/>
                <a:gd name="T31" fmla="*/ 174 h 174"/>
                <a:gd name="T32" fmla="*/ 189 w 225"/>
                <a:gd name="T33" fmla="*/ 144 h 174"/>
                <a:gd name="T34" fmla="*/ 187 w 225"/>
                <a:gd name="T35" fmla="*/ 123 h 174"/>
                <a:gd name="T36" fmla="*/ 210 w 225"/>
                <a:gd name="T37" fmla="*/ 123 h 174"/>
                <a:gd name="T38" fmla="*/ 225 w 225"/>
                <a:gd name="T39" fmla="*/ 102 h 174"/>
                <a:gd name="T40" fmla="*/ 196 w 225"/>
                <a:gd name="T41" fmla="*/ 104 h 174"/>
                <a:gd name="T42" fmla="*/ 172 w 225"/>
                <a:gd name="T43" fmla="*/ 78 h 174"/>
                <a:gd name="T44" fmla="*/ 153 w 225"/>
                <a:gd name="T45" fmla="*/ 54 h 174"/>
                <a:gd name="T46" fmla="*/ 154 w 225"/>
                <a:gd name="T47" fmla="*/ 38 h 174"/>
                <a:gd name="T48" fmla="*/ 135 w 225"/>
                <a:gd name="T49" fmla="*/ 32 h 174"/>
                <a:gd name="T50" fmla="*/ 112 w 225"/>
                <a:gd name="T51" fmla="*/ 47 h 174"/>
                <a:gd name="T52" fmla="*/ 112 w 225"/>
                <a:gd name="T53" fmla="*/ 29 h 174"/>
                <a:gd name="T54" fmla="*/ 97 w 225"/>
                <a:gd name="T55" fmla="*/ 0 h 174"/>
                <a:gd name="T56" fmla="*/ 69 w 225"/>
                <a:gd name="T57" fmla="*/ 12 h 174"/>
                <a:gd name="T58" fmla="*/ 75 w 225"/>
                <a:gd name="T59" fmla="*/ 26 h 174"/>
                <a:gd name="T60" fmla="*/ 58 w 225"/>
                <a:gd name="T61" fmla="*/ 29 h 174"/>
                <a:gd name="T62" fmla="*/ 36 w 225"/>
                <a:gd name="T63" fmla="*/ 18 h 174"/>
                <a:gd name="T64" fmla="*/ 25 w 225"/>
                <a:gd name="T65" fmla="*/ 6 h 174"/>
                <a:gd name="T66" fmla="*/ 16 w 225"/>
                <a:gd name="T67" fmla="*/ 1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5" h="174">
                  <a:moveTo>
                    <a:pt x="16" y="15"/>
                  </a:moveTo>
                  <a:lnTo>
                    <a:pt x="37" y="41"/>
                  </a:lnTo>
                  <a:lnTo>
                    <a:pt x="24" y="53"/>
                  </a:lnTo>
                  <a:lnTo>
                    <a:pt x="10" y="42"/>
                  </a:lnTo>
                  <a:lnTo>
                    <a:pt x="0" y="69"/>
                  </a:lnTo>
                  <a:lnTo>
                    <a:pt x="19" y="69"/>
                  </a:lnTo>
                  <a:lnTo>
                    <a:pt x="16" y="80"/>
                  </a:lnTo>
                  <a:lnTo>
                    <a:pt x="27" y="92"/>
                  </a:lnTo>
                  <a:lnTo>
                    <a:pt x="18" y="107"/>
                  </a:lnTo>
                  <a:lnTo>
                    <a:pt x="27" y="128"/>
                  </a:lnTo>
                  <a:lnTo>
                    <a:pt x="45" y="107"/>
                  </a:lnTo>
                  <a:lnTo>
                    <a:pt x="72" y="105"/>
                  </a:lnTo>
                  <a:lnTo>
                    <a:pt x="117" y="116"/>
                  </a:lnTo>
                  <a:lnTo>
                    <a:pt x="148" y="146"/>
                  </a:lnTo>
                  <a:lnTo>
                    <a:pt x="153" y="173"/>
                  </a:lnTo>
                  <a:lnTo>
                    <a:pt x="174" y="174"/>
                  </a:lnTo>
                  <a:lnTo>
                    <a:pt x="189" y="144"/>
                  </a:lnTo>
                  <a:lnTo>
                    <a:pt x="187" y="123"/>
                  </a:lnTo>
                  <a:lnTo>
                    <a:pt x="210" y="123"/>
                  </a:lnTo>
                  <a:lnTo>
                    <a:pt x="225" y="102"/>
                  </a:lnTo>
                  <a:lnTo>
                    <a:pt x="196" y="104"/>
                  </a:lnTo>
                  <a:lnTo>
                    <a:pt x="172" y="78"/>
                  </a:lnTo>
                  <a:lnTo>
                    <a:pt x="153" y="54"/>
                  </a:lnTo>
                  <a:lnTo>
                    <a:pt x="154" y="38"/>
                  </a:lnTo>
                  <a:lnTo>
                    <a:pt x="135" y="32"/>
                  </a:lnTo>
                  <a:lnTo>
                    <a:pt x="112" y="47"/>
                  </a:lnTo>
                  <a:lnTo>
                    <a:pt x="112" y="29"/>
                  </a:lnTo>
                  <a:lnTo>
                    <a:pt x="97" y="0"/>
                  </a:lnTo>
                  <a:lnTo>
                    <a:pt x="69" y="12"/>
                  </a:lnTo>
                  <a:lnTo>
                    <a:pt x="75" y="26"/>
                  </a:lnTo>
                  <a:lnTo>
                    <a:pt x="58" y="29"/>
                  </a:lnTo>
                  <a:lnTo>
                    <a:pt x="36" y="18"/>
                  </a:lnTo>
                  <a:lnTo>
                    <a:pt x="25" y="6"/>
                  </a:lnTo>
                  <a:lnTo>
                    <a:pt x="16" y="1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9" name="Freeform 242"/>
            <p:cNvSpPr>
              <a:spLocks/>
            </p:cNvSpPr>
            <p:nvPr/>
          </p:nvSpPr>
          <p:spPr bwMode="auto">
            <a:xfrm>
              <a:off x="3415" y="1637"/>
              <a:ext cx="290" cy="318"/>
            </a:xfrm>
            <a:custGeom>
              <a:avLst/>
              <a:gdLst>
                <a:gd name="T0" fmla="*/ 260 w 296"/>
                <a:gd name="T1" fmla="*/ 324 h 324"/>
                <a:gd name="T2" fmla="*/ 236 w 296"/>
                <a:gd name="T3" fmla="*/ 315 h 324"/>
                <a:gd name="T4" fmla="*/ 218 w 296"/>
                <a:gd name="T5" fmla="*/ 285 h 324"/>
                <a:gd name="T6" fmla="*/ 198 w 296"/>
                <a:gd name="T7" fmla="*/ 303 h 324"/>
                <a:gd name="T8" fmla="*/ 159 w 296"/>
                <a:gd name="T9" fmla="*/ 297 h 324"/>
                <a:gd name="T10" fmla="*/ 123 w 296"/>
                <a:gd name="T11" fmla="*/ 276 h 324"/>
                <a:gd name="T12" fmla="*/ 92 w 296"/>
                <a:gd name="T13" fmla="*/ 223 h 324"/>
                <a:gd name="T14" fmla="*/ 65 w 296"/>
                <a:gd name="T15" fmla="*/ 204 h 324"/>
                <a:gd name="T16" fmla="*/ 38 w 296"/>
                <a:gd name="T17" fmla="*/ 150 h 324"/>
                <a:gd name="T18" fmla="*/ 17 w 296"/>
                <a:gd name="T19" fmla="*/ 118 h 324"/>
                <a:gd name="T20" fmla="*/ 24 w 296"/>
                <a:gd name="T21" fmla="*/ 90 h 324"/>
                <a:gd name="T22" fmla="*/ 8 w 296"/>
                <a:gd name="T23" fmla="*/ 79 h 324"/>
                <a:gd name="T24" fmla="*/ 0 w 296"/>
                <a:gd name="T25" fmla="*/ 66 h 324"/>
                <a:gd name="T26" fmla="*/ 8 w 296"/>
                <a:gd name="T27" fmla="*/ 55 h 324"/>
                <a:gd name="T28" fmla="*/ 5 w 296"/>
                <a:gd name="T29" fmla="*/ 24 h 324"/>
                <a:gd name="T30" fmla="*/ 6 w 296"/>
                <a:gd name="T31" fmla="*/ 7 h 324"/>
                <a:gd name="T32" fmla="*/ 15 w 296"/>
                <a:gd name="T33" fmla="*/ 0 h 324"/>
                <a:gd name="T34" fmla="*/ 21 w 296"/>
                <a:gd name="T35" fmla="*/ 16 h 324"/>
                <a:gd name="T36" fmla="*/ 42 w 296"/>
                <a:gd name="T37" fmla="*/ 6 h 324"/>
                <a:gd name="T38" fmla="*/ 54 w 296"/>
                <a:gd name="T39" fmla="*/ 13 h 324"/>
                <a:gd name="T40" fmla="*/ 65 w 296"/>
                <a:gd name="T41" fmla="*/ 24 h 324"/>
                <a:gd name="T42" fmla="*/ 65 w 296"/>
                <a:gd name="T43" fmla="*/ 48 h 324"/>
                <a:gd name="T44" fmla="*/ 90 w 296"/>
                <a:gd name="T45" fmla="*/ 55 h 324"/>
                <a:gd name="T46" fmla="*/ 102 w 296"/>
                <a:gd name="T47" fmla="*/ 64 h 324"/>
                <a:gd name="T48" fmla="*/ 129 w 296"/>
                <a:gd name="T49" fmla="*/ 64 h 324"/>
                <a:gd name="T50" fmla="*/ 143 w 296"/>
                <a:gd name="T51" fmla="*/ 70 h 324"/>
                <a:gd name="T52" fmla="*/ 149 w 296"/>
                <a:gd name="T53" fmla="*/ 48 h 324"/>
                <a:gd name="T54" fmla="*/ 168 w 296"/>
                <a:gd name="T55" fmla="*/ 31 h 324"/>
                <a:gd name="T56" fmla="*/ 197 w 296"/>
                <a:gd name="T57" fmla="*/ 30 h 324"/>
                <a:gd name="T58" fmla="*/ 242 w 296"/>
                <a:gd name="T59" fmla="*/ 39 h 324"/>
                <a:gd name="T60" fmla="*/ 269 w 296"/>
                <a:gd name="T61" fmla="*/ 69 h 324"/>
                <a:gd name="T62" fmla="*/ 276 w 296"/>
                <a:gd name="T63" fmla="*/ 96 h 324"/>
                <a:gd name="T64" fmla="*/ 260 w 296"/>
                <a:gd name="T65" fmla="*/ 112 h 324"/>
                <a:gd name="T66" fmla="*/ 251 w 296"/>
                <a:gd name="T67" fmla="*/ 139 h 324"/>
                <a:gd name="T68" fmla="*/ 263 w 296"/>
                <a:gd name="T69" fmla="*/ 163 h 324"/>
                <a:gd name="T70" fmla="*/ 267 w 296"/>
                <a:gd name="T71" fmla="*/ 181 h 324"/>
                <a:gd name="T72" fmla="*/ 281 w 296"/>
                <a:gd name="T73" fmla="*/ 186 h 324"/>
                <a:gd name="T74" fmla="*/ 272 w 296"/>
                <a:gd name="T75" fmla="*/ 204 h 324"/>
                <a:gd name="T76" fmla="*/ 273 w 296"/>
                <a:gd name="T77" fmla="*/ 226 h 324"/>
                <a:gd name="T78" fmla="*/ 279 w 296"/>
                <a:gd name="T79" fmla="*/ 253 h 324"/>
                <a:gd name="T80" fmla="*/ 296 w 296"/>
                <a:gd name="T81" fmla="*/ 274 h 324"/>
                <a:gd name="T82" fmla="*/ 296 w 296"/>
                <a:gd name="T83" fmla="*/ 289 h 324"/>
                <a:gd name="T84" fmla="*/ 276 w 296"/>
                <a:gd name="T85" fmla="*/ 292 h 324"/>
                <a:gd name="T86" fmla="*/ 264 w 296"/>
                <a:gd name="T87" fmla="*/ 304 h 324"/>
                <a:gd name="T88" fmla="*/ 260 w 296"/>
                <a:gd name="T89" fmla="*/ 32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6" h="324">
                  <a:moveTo>
                    <a:pt x="260" y="324"/>
                  </a:moveTo>
                  <a:lnTo>
                    <a:pt x="236" y="315"/>
                  </a:lnTo>
                  <a:lnTo>
                    <a:pt x="218" y="285"/>
                  </a:lnTo>
                  <a:lnTo>
                    <a:pt x="198" y="303"/>
                  </a:lnTo>
                  <a:lnTo>
                    <a:pt x="159" y="297"/>
                  </a:lnTo>
                  <a:lnTo>
                    <a:pt x="123" y="276"/>
                  </a:lnTo>
                  <a:lnTo>
                    <a:pt x="92" y="223"/>
                  </a:lnTo>
                  <a:lnTo>
                    <a:pt x="65" y="204"/>
                  </a:lnTo>
                  <a:lnTo>
                    <a:pt x="38" y="150"/>
                  </a:lnTo>
                  <a:lnTo>
                    <a:pt x="17" y="118"/>
                  </a:lnTo>
                  <a:lnTo>
                    <a:pt x="24" y="90"/>
                  </a:lnTo>
                  <a:lnTo>
                    <a:pt x="8" y="79"/>
                  </a:lnTo>
                  <a:lnTo>
                    <a:pt x="0" y="66"/>
                  </a:lnTo>
                  <a:lnTo>
                    <a:pt x="8" y="55"/>
                  </a:lnTo>
                  <a:lnTo>
                    <a:pt x="5" y="24"/>
                  </a:lnTo>
                  <a:lnTo>
                    <a:pt x="6" y="7"/>
                  </a:lnTo>
                  <a:lnTo>
                    <a:pt x="15" y="0"/>
                  </a:lnTo>
                  <a:lnTo>
                    <a:pt x="21" y="16"/>
                  </a:lnTo>
                  <a:lnTo>
                    <a:pt x="42" y="6"/>
                  </a:lnTo>
                  <a:lnTo>
                    <a:pt x="54" y="13"/>
                  </a:lnTo>
                  <a:lnTo>
                    <a:pt x="65" y="24"/>
                  </a:lnTo>
                  <a:lnTo>
                    <a:pt x="65" y="48"/>
                  </a:lnTo>
                  <a:lnTo>
                    <a:pt x="90" y="55"/>
                  </a:lnTo>
                  <a:lnTo>
                    <a:pt x="102" y="64"/>
                  </a:lnTo>
                  <a:lnTo>
                    <a:pt x="129" y="64"/>
                  </a:lnTo>
                  <a:lnTo>
                    <a:pt x="143" y="70"/>
                  </a:lnTo>
                  <a:lnTo>
                    <a:pt x="149" y="48"/>
                  </a:lnTo>
                  <a:lnTo>
                    <a:pt x="168" y="31"/>
                  </a:lnTo>
                  <a:lnTo>
                    <a:pt x="197" y="30"/>
                  </a:lnTo>
                  <a:lnTo>
                    <a:pt x="242" y="39"/>
                  </a:lnTo>
                  <a:lnTo>
                    <a:pt x="269" y="69"/>
                  </a:lnTo>
                  <a:lnTo>
                    <a:pt x="276" y="96"/>
                  </a:lnTo>
                  <a:lnTo>
                    <a:pt x="260" y="112"/>
                  </a:lnTo>
                  <a:lnTo>
                    <a:pt x="251" y="139"/>
                  </a:lnTo>
                  <a:lnTo>
                    <a:pt x="263" y="163"/>
                  </a:lnTo>
                  <a:lnTo>
                    <a:pt x="267" y="181"/>
                  </a:lnTo>
                  <a:lnTo>
                    <a:pt x="281" y="186"/>
                  </a:lnTo>
                  <a:lnTo>
                    <a:pt x="272" y="204"/>
                  </a:lnTo>
                  <a:lnTo>
                    <a:pt x="273" y="226"/>
                  </a:lnTo>
                  <a:lnTo>
                    <a:pt x="279" y="253"/>
                  </a:lnTo>
                  <a:lnTo>
                    <a:pt x="296" y="274"/>
                  </a:lnTo>
                  <a:lnTo>
                    <a:pt x="296" y="289"/>
                  </a:lnTo>
                  <a:lnTo>
                    <a:pt x="276" y="292"/>
                  </a:lnTo>
                  <a:lnTo>
                    <a:pt x="264" y="304"/>
                  </a:lnTo>
                  <a:lnTo>
                    <a:pt x="260" y="32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0" name="Freeform 243"/>
            <p:cNvSpPr>
              <a:spLocks/>
            </p:cNvSpPr>
            <p:nvPr/>
          </p:nvSpPr>
          <p:spPr bwMode="auto">
            <a:xfrm>
              <a:off x="3344" y="1541"/>
              <a:ext cx="109" cy="59"/>
            </a:xfrm>
            <a:custGeom>
              <a:avLst/>
              <a:gdLst>
                <a:gd name="T0" fmla="*/ 0 w 111"/>
                <a:gd name="T1" fmla="*/ 10 h 60"/>
                <a:gd name="T2" fmla="*/ 14 w 111"/>
                <a:gd name="T3" fmla="*/ 24 h 60"/>
                <a:gd name="T4" fmla="*/ 18 w 111"/>
                <a:gd name="T5" fmla="*/ 39 h 60"/>
                <a:gd name="T6" fmla="*/ 26 w 111"/>
                <a:gd name="T7" fmla="*/ 54 h 60"/>
                <a:gd name="T8" fmla="*/ 41 w 111"/>
                <a:gd name="T9" fmla="*/ 46 h 60"/>
                <a:gd name="T10" fmla="*/ 51 w 111"/>
                <a:gd name="T11" fmla="*/ 51 h 60"/>
                <a:gd name="T12" fmla="*/ 68 w 111"/>
                <a:gd name="T13" fmla="*/ 51 h 60"/>
                <a:gd name="T14" fmla="*/ 74 w 111"/>
                <a:gd name="T15" fmla="*/ 60 h 60"/>
                <a:gd name="T16" fmla="*/ 87 w 111"/>
                <a:gd name="T17" fmla="*/ 49 h 60"/>
                <a:gd name="T18" fmla="*/ 102 w 111"/>
                <a:gd name="T19" fmla="*/ 54 h 60"/>
                <a:gd name="T20" fmla="*/ 111 w 111"/>
                <a:gd name="T21" fmla="*/ 43 h 60"/>
                <a:gd name="T22" fmla="*/ 96 w 111"/>
                <a:gd name="T23" fmla="*/ 33 h 60"/>
                <a:gd name="T24" fmla="*/ 83 w 111"/>
                <a:gd name="T25" fmla="*/ 1 h 60"/>
                <a:gd name="T26" fmla="*/ 54 w 111"/>
                <a:gd name="T27" fmla="*/ 19 h 60"/>
                <a:gd name="T28" fmla="*/ 33 w 111"/>
                <a:gd name="T29" fmla="*/ 1 h 60"/>
                <a:gd name="T30" fmla="*/ 17 w 111"/>
                <a:gd name="T31" fmla="*/ 0 h 60"/>
                <a:gd name="T32" fmla="*/ 0 w 111"/>
                <a:gd name="T33" fmla="*/ 1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1" h="60">
                  <a:moveTo>
                    <a:pt x="0" y="10"/>
                  </a:moveTo>
                  <a:lnTo>
                    <a:pt x="14" y="24"/>
                  </a:lnTo>
                  <a:lnTo>
                    <a:pt x="18" y="39"/>
                  </a:lnTo>
                  <a:lnTo>
                    <a:pt x="26" y="54"/>
                  </a:lnTo>
                  <a:lnTo>
                    <a:pt x="41" y="46"/>
                  </a:lnTo>
                  <a:lnTo>
                    <a:pt x="51" y="51"/>
                  </a:lnTo>
                  <a:lnTo>
                    <a:pt x="68" y="51"/>
                  </a:lnTo>
                  <a:lnTo>
                    <a:pt x="74" y="60"/>
                  </a:lnTo>
                  <a:lnTo>
                    <a:pt x="87" y="49"/>
                  </a:lnTo>
                  <a:lnTo>
                    <a:pt x="102" y="54"/>
                  </a:lnTo>
                  <a:lnTo>
                    <a:pt x="111" y="43"/>
                  </a:lnTo>
                  <a:lnTo>
                    <a:pt x="96" y="33"/>
                  </a:lnTo>
                  <a:lnTo>
                    <a:pt x="83" y="1"/>
                  </a:lnTo>
                  <a:lnTo>
                    <a:pt x="54" y="19"/>
                  </a:lnTo>
                  <a:lnTo>
                    <a:pt x="33" y="1"/>
                  </a:lnTo>
                  <a:lnTo>
                    <a:pt x="17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1" name="Freeform 244"/>
            <p:cNvSpPr>
              <a:spLocks/>
            </p:cNvSpPr>
            <p:nvPr/>
          </p:nvSpPr>
          <p:spPr bwMode="auto">
            <a:xfrm>
              <a:off x="3409" y="1594"/>
              <a:ext cx="49" cy="58"/>
            </a:xfrm>
            <a:custGeom>
              <a:avLst/>
              <a:gdLst>
                <a:gd name="T0" fmla="*/ 18 w 50"/>
                <a:gd name="T1" fmla="*/ 0 h 59"/>
                <a:gd name="T2" fmla="*/ 32 w 50"/>
                <a:gd name="T3" fmla="*/ 18 h 59"/>
                <a:gd name="T4" fmla="*/ 47 w 50"/>
                <a:gd name="T5" fmla="*/ 30 h 59"/>
                <a:gd name="T6" fmla="*/ 50 w 50"/>
                <a:gd name="T7" fmla="*/ 51 h 59"/>
                <a:gd name="T8" fmla="*/ 29 w 50"/>
                <a:gd name="T9" fmla="*/ 59 h 59"/>
                <a:gd name="T10" fmla="*/ 20 w 50"/>
                <a:gd name="T11" fmla="*/ 45 h 59"/>
                <a:gd name="T12" fmla="*/ 27 w 50"/>
                <a:gd name="T13" fmla="*/ 32 h 59"/>
                <a:gd name="T14" fmla="*/ 0 w 50"/>
                <a:gd name="T15" fmla="*/ 23 h 59"/>
                <a:gd name="T16" fmla="*/ 8 w 50"/>
                <a:gd name="T17" fmla="*/ 5 h 59"/>
                <a:gd name="T18" fmla="*/ 18 w 50"/>
                <a:gd name="T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59">
                  <a:moveTo>
                    <a:pt x="18" y="0"/>
                  </a:moveTo>
                  <a:lnTo>
                    <a:pt x="32" y="18"/>
                  </a:lnTo>
                  <a:lnTo>
                    <a:pt x="47" y="30"/>
                  </a:lnTo>
                  <a:lnTo>
                    <a:pt x="50" y="51"/>
                  </a:lnTo>
                  <a:lnTo>
                    <a:pt x="29" y="59"/>
                  </a:lnTo>
                  <a:lnTo>
                    <a:pt x="20" y="45"/>
                  </a:lnTo>
                  <a:lnTo>
                    <a:pt x="27" y="32"/>
                  </a:lnTo>
                  <a:lnTo>
                    <a:pt x="0" y="23"/>
                  </a:lnTo>
                  <a:lnTo>
                    <a:pt x="8" y="5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2" name="Freeform 245"/>
            <p:cNvSpPr>
              <a:spLocks/>
            </p:cNvSpPr>
            <p:nvPr/>
          </p:nvSpPr>
          <p:spPr bwMode="auto">
            <a:xfrm>
              <a:off x="3428" y="1582"/>
              <a:ext cx="63" cy="79"/>
            </a:xfrm>
            <a:custGeom>
              <a:avLst/>
              <a:gdLst>
                <a:gd name="T0" fmla="*/ 48 w 64"/>
                <a:gd name="T1" fmla="*/ 16 h 81"/>
                <a:gd name="T2" fmla="*/ 64 w 64"/>
                <a:gd name="T3" fmla="*/ 31 h 81"/>
                <a:gd name="T4" fmla="*/ 52 w 64"/>
                <a:gd name="T5" fmla="*/ 46 h 81"/>
                <a:gd name="T6" fmla="*/ 57 w 64"/>
                <a:gd name="T7" fmla="*/ 64 h 81"/>
                <a:gd name="T8" fmla="*/ 51 w 64"/>
                <a:gd name="T9" fmla="*/ 81 h 81"/>
                <a:gd name="T10" fmla="*/ 30 w 64"/>
                <a:gd name="T11" fmla="*/ 63 h 81"/>
                <a:gd name="T12" fmla="*/ 30 w 64"/>
                <a:gd name="T13" fmla="*/ 45 h 81"/>
                <a:gd name="T14" fmla="*/ 13 w 64"/>
                <a:gd name="T15" fmla="*/ 33 h 81"/>
                <a:gd name="T16" fmla="*/ 0 w 64"/>
                <a:gd name="T17" fmla="*/ 12 h 81"/>
                <a:gd name="T18" fmla="*/ 19 w 64"/>
                <a:gd name="T19" fmla="*/ 9 h 81"/>
                <a:gd name="T20" fmla="*/ 25 w 64"/>
                <a:gd name="T21" fmla="*/ 0 h 81"/>
                <a:gd name="T22" fmla="*/ 48 w 64"/>
                <a:gd name="T2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4" h="81">
                  <a:moveTo>
                    <a:pt x="48" y="16"/>
                  </a:moveTo>
                  <a:lnTo>
                    <a:pt x="64" y="31"/>
                  </a:lnTo>
                  <a:lnTo>
                    <a:pt x="52" y="46"/>
                  </a:lnTo>
                  <a:lnTo>
                    <a:pt x="57" y="64"/>
                  </a:lnTo>
                  <a:lnTo>
                    <a:pt x="51" y="81"/>
                  </a:lnTo>
                  <a:lnTo>
                    <a:pt x="30" y="63"/>
                  </a:lnTo>
                  <a:lnTo>
                    <a:pt x="30" y="45"/>
                  </a:lnTo>
                  <a:lnTo>
                    <a:pt x="13" y="33"/>
                  </a:lnTo>
                  <a:lnTo>
                    <a:pt x="0" y="12"/>
                  </a:lnTo>
                  <a:lnTo>
                    <a:pt x="19" y="9"/>
                  </a:lnTo>
                  <a:lnTo>
                    <a:pt x="25" y="0"/>
                  </a:lnTo>
                  <a:lnTo>
                    <a:pt x="48" y="1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3" name="Freeform 246"/>
            <p:cNvSpPr>
              <a:spLocks/>
            </p:cNvSpPr>
            <p:nvPr/>
          </p:nvSpPr>
          <p:spPr bwMode="auto">
            <a:xfrm>
              <a:off x="3671" y="1697"/>
              <a:ext cx="233" cy="290"/>
            </a:xfrm>
            <a:custGeom>
              <a:avLst/>
              <a:gdLst>
                <a:gd name="T0" fmla="*/ 0 w 239"/>
                <a:gd name="T1" fmla="*/ 264 h 297"/>
                <a:gd name="T2" fmla="*/ 47 w 239"/>
                <a:gd name="T3" fmla="*/ 256 h 297"/>
                <a:gd name="T4" fmla="*/ 74 w 239"/>
                <a:gd name="T5" fmla="*/ 264 h 297"/>
                <a:gd name="T6" fmla="*/ 108 w 239"/>
                <a:gd name="T7" fmla="*/ 297 h 297"/>
                <a:gd name="T8" fmla="*/ 120 w 239"/>
                <a:gd name="T9" fmla="*/ 274 h 297"/>
                <a:gd name="T10" fmla="*/ 137 w 239"/>
                <a:gd name="T11" fmla="*/ 271 h 297"/>
                <a:gd name="T12" fmla="*/ 129 w 239"/>
                <a:gd name="T13" fmla="*/ 249 h 297"/>
                <a:gd name="T14" fmla="*/ 122 w 239"/>
                <a:gd name="T15" fmla="*/ 229 h 297"/>
                <a:gd name="T16" fmla="*/ 149 w 239"/>
                <a:gd name="T17" fmla="*/ 208 h 297"/>
                <a:gd name="T18" fmla="*/ 176 w 239"/>
                <a:gd name="T19" fmla="*/ 175 h 297"/>
                <a:gd name="T20" fmla="*/ 194 w 239"/>
                <a:gd name="T21" fmla="*/ 148 h 297"/>
                <a:gd name="T22" fmla="*/ 194 w 239"/>
                <a:gd name="T23" fmla="*/ 138 h 297"/>
                <a:gd name="T24" fmla="*/ 206 w 239"/>
                <a:gd name="T25" fmla="*/ 123 h 297"/>
                <a:gd name="T26" fmla="*/ 189 w 239"/>
                <a:gd name="T27" fmla="*/ 103 h 297"/>
                <a:gd name="T28" fmla="*/ 180 w 239"/>
                <a:gd name="T29" fmla="*/ 76 h 297"/>
                <a:gd name="T30" fmla="*/ 207 w 239"/>
                <a:gd name="T31" fmla="*/ 64 h 297"/>
                <a:gd name="T32" fmla="*/ 239 w 239"/>
                <a:gd name="T33" fmla="*/ 45 h 297"/>
                <a:gd name="T34" fmla="*/ 239 w 239"/>
                <a:gd name="T35" fmla="*/ 27 h 297"/>
                <a:gd name="T36" fmla="*/ 207 w 239"/>
                <a:gd name="T37" fmla="*/ 0 h 297"/>
                <a:gd name="T38" fmla="*/ 170 w 239"/>
                <a:gd name="T39" fmla="*/ 16 h 297"/>
                <a:gd name="T40" fmla="*/ 143 w 239"/>
                <a:gd name="T41" fmla="*/ 33 h 297"/>
                <a:gd name="T42" fmla="*/ 140 w 239"/>
                <a:gd name="T43" fmla="*/ 61 h 297"/>
                <a:gd name="T44" fmla="*/ 123 w 239"/>
                <a:gd name="T45" fmla="*/ 63 h 297"/>
                <a:gd name="T46" fmla="*/ 126 w 239"/>
                <a:gd name="T47" fmla="*/ 84 h 297"/>
                <a:gd name="T48" fmla="*/ 125 w 239"/>
                <a:gd name="T49" fmla="*/ 100 h 297"/>
                <a:gd name="T50" fmla="*/ 98 w 239"/>
                <a:gd name="T51" fmla="*/ 100 h 297"/>
                <a:gd name="T52" fmla="*/ 98 w 239"/>
                <a:gd name="T53" fmla="*/ 121 h 297"/>
                <a:gd name="T54" fmla="*/ 71 w 239"/>
                <a:gd name="T55" fmla="*/ 139 h 297"/>
                <a:gd name="T56" fmla="*/ 65 w 239"/>
                <a:gd name="T57" fmla="*/ 153 h 297"/>
                <a:gd name="T58" fmla="*/ 45 w 239"/>
                <a:gd name="T59" fmla="*/ 163 h 297"/>
                <a:gd name="T60" fmla="*/ 12 w 239"/>
                <a:gd name="T61" fmla="*/ 159 h 297"/>
                <a:gd name="T62" fmla="*/ 18 w 239"/>
                <a:gd name="T63" fmla="*/ 198 h 297"/>
                <a:gd name="T64" fmla="*/ 38 w 239"/>
                <a:gd name="T65" fmla="*/ 216 h 297"/>
                <a:gd name="T66" fmla="*/ 32 w 239"/>
                <a:gd name="T67" fmla="*/ 232 h 297"/>
                <a:gd name="T68" fmla="*/ 15 w 239"/>
                <a:gd name="T69" fmla="*/ 234 h 297"/>
                <a:gd name="T70" fmla="*/ 2 w 239"/>
                <a:gd name="T71" fmla="*/ 252 h 297"/>
                <a:gd name="T72" fmla="*/ 0 w 239"/>
                <a:gd name="T73" fmla="*/ 264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9" h="297">
                  <a:moveTo>
                    <a:pt x="0" y="264"/>
                  </a:moveTo>
                  <a:lnTo>
                    <a:pt x="47" y="256"/>
                  </a:lnTo>
                  <a:lnTo>
                    <a:pt x="74" y="264"/>
                  </a:lnTo>
                  <a:lnTo>
                    <a:pt x="108" y="297"/>
                  </a:lnTo>
                  <a:lnTo>
                    <a:pt x="120" y="274"/>
                  </a:lnTo>
                  <a:lnTo>
                    <a:pt x="137" y="271"/>
                  </a:lnTo>
                  <a:lnTo>
                    <a:pt x="129" y="249"/>
                  </a:lnTo>
                  <a:lnTo>
                    <a:pt x="122" y="229"/>
                  </a:lnTo>
                  <a:lnTo>
                    <a:pt x="149" y="208"/>
                  </a:lnTo>
                  <a:lnTo>
                    <a:pt x="176" y="175"/>
                  </a:lnTo>
                  <a:lnTo>
                    <a:pt x="194" y="148"/>
                  </a:lnTo>
                  <a:lnTo>
                    <a:pt x="194" y="138"/>
                  </a:lnTo>
                  <a:lnTo>
                    <a:pt x="206" y="123"/>
                  </a:lnTo>
                  <a:lnTo>
                    <a:pt x="189" y="103"/>
                  </a:lnTo>
                  <a:lnTo>
                    <a:pt x="180" y="76"/>
                  </a:lnTo>
                  <a:lnTo>
                    <a:pt x="207" y="64"/>
                  </a:lnTo>
                  <a:lnTo>
                    <a:pt x="239" y="45"/>
                  </a:lnTo>
                  <a:lnTo>
                    <a:pt x="239" y="27"/>
                  </a:lnTo>
                  <a:lnTo>
                    <a:pt x="207" y="0"/>
                  </a:lnTo>
                  <a:lnTo>
                    <a:pt x="170" y="16"/>
                  </a:lnTo>
                  <a:lnTo>
                    <a:pt x="143" y="33"/>
                  </a:lnTo>
                  <a:lnTo>
                    <a:pt x="140" y="61"/>
                  </a:lnTo>
                  <a:lnTo>
                    <a:pt x="123" y="63"/>
                  </a:lnTo>
                  <a:lnTo>
                    <a:pt x="126" y="84"/>
                  </a:lnTo>
                  <a:lnTo>
                    <a:pt x="125" y="100"/>
                  </a:lnTo>
                  <a:lnTo>
                    <a:pt x="98" y="100"/>
                  </a:lnTo>
                  <a:lnTo>
                    <a:pt x="98" y="121"/>
                  </a:lnTo>
                  <a:lnTo>
                    <a:pt x="71" y="139"/>
                  </a:lnTo>
                  <a:lnTo>
                    <a:pt x="65" y="153"/>
                  </a:lnTo>
                  <a:lnTo>
                    <a:pt x="45" y="163"/>
                  </a:lnTo>
                  <a:lnTo>
                    <a:pt x="12" y="159"/>
                  </a:lnTo>
                  <a:lnTo>
                    <a:pt x="18" y="198"/>
                  </a:lnTo>
                  <a:lnTo>
                    <a:pt x="38" y="216"/>
                  </a:lnTo>
                  <a:lnTo>
                    <a:pt x="32" y="232"/>
                  </a:lnTo>
                  <a:lnTo>
                    <a:pt x="15" y="234"/>
                  </a:lnTo>
                  <a:lnTo>
                    <a:pt x="2" y="252"/>
                  </a:lnTo>
                  <a:lnTo>
                    <a:pt x="0" y="26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4" name="Freeform 247"/>
            <p:cNvSpPr>
              <a:spLocks/>
            </p:cNvSpPr>
            <p:nvPr/>
          </p:nvSpPr>
          <p:spPr bwMode="auto">
            <a:xfrm>
              <a:off x="3661" y="1682"/>
              <a:ext cx="156" cy="176"/>
            </a:xfrm>
            <a:custGeom>
              <a:avLst/>
              <a:gdLst>
                <a:gd name="T0" fmla="*/ 123 w 159"/>
                <a:gd name="T1" fmla="*/ 4 h 180"/>
                <a:gd name="T2" fmla="*/ 141 w 159"/>
                <a:gd name="T3" fmla="*/ 0 h 180"/>
                <a:gd name="T4" fmla="*/ 148 w 159"/>
                <a:gd name="T5" fmla="*/ 12 h 180"/>
                <a:gd name="T6" fmla="*/ 142 w 159"/>
                <a:gd name="T7" fmla="*/ 28 h 180"/>
                <a:gd name="T8" fmla="*/ 159 w 159"/>
                <a:gd name="T9" fmla="*/ 42 h 180"/>
                <a:gd name="T10" fmla="*/ 151 w 159"/>
                <a:gd name="T11" fmla="*/ 51 h 180"/>
                <a:gd name="T12" fmla="*/ 148 w 159"/>
                <a:gd name="T13" fmla="*/ 78 h 180"/>
                <a:gd name="T14" fmla="*/ 132 w 159"/>
                <a:gd name="T15" fmla="*/ 78 h 180"/>
                <a:gd name="T16" fmla="*/ 136 w 159"/>
                <a:gd name="T17" fmla="*/ 97 h 180"/>
                <a:gd name="T18" fmla="*/ 135 w 159"/>
                <a:gd name="T19" fmla="*/ 118 h 180"/>
                <a:gd name="T20" fmla="*/ 108 w 159"/>
                <a:gd name="T21" fmla="*/ 117 h 180"/>
                <a:gd name="T22" fmla="*/ 108 w 159"/>
                <a:gd name="T23" fmla="*/ 141 h 180"/>
                <a:gd name="T24" fmla="*/ 82 w 159"/>
                <a:gd name="T25" fmla="*/ 154 h 180"/>
                <a:gd name="T26" fmla="*/ 75 w 159"/>
                <a:gd name="T27" fmla="*/ 169 h 180"/>
                <a:gd name="T28" fmla="*/ 51 w 159"/>
                <a:gd name="T29" fmla="*/ 180 h 180"/>
                <a:gd name="T30" fmla="*/ 21 w 159"/>
                <a:gd name="T31" fmla="*/ 174 h 180"/>
                <a:gd name="T32" fmla="*/ 22 w 159"/>
                <a:gd name="T33" fmla="*/ 157 h 180"/>
                <a:gd name="T34" fmla="*/ 31 w 159"/>
                <a:gd name="T35" fmla="*/ 139 h 180"/>
                <a:gd name="T36" fmla="*/ 15 w 159"/>
                <a:gd name="T37" fmla="*/ 135 h 180"/>
                <a:gd name="T38" fmla="*/ 10 w 159"/>
                <a:gd name="T39" fmla="*/ 112 h 180"/>
                <a:gd name="T40" fmla="*/ 0 w 159"/>
                <a:gd name="T41" fmla="*/ 96 h 180"/>
                <a:gd name="T42" fmla="*/ 7 w 159"/>
                <a:gd name="T43" fmla="*/ 69 h 180"/>
                <a:gd name="T44" fmla="*/ 24 w 159"/>
                <a:gd name="T45" fmla="*/ 52 h 180"/>
                <a:gd name="T46" fmla="*/ 48 w 159"/>
                <a:gd name="T47" fmla="*/ 51 h 180"/>
                <a:gd name="T48" fmla="*/ 58 w 159"/>
                <a:gd name="T49" fmla="*/ 24 h 180"/>
                <a:gd name="T50" fmla="*/ 61 w 159"/>
                <a:gd name="T51" fmla="*/ 1 h 180"/>
                <a:gd name="T52" fmla="*/ 84 w 159"/>
                <a:gd name="T53" fmla="*/ 1 h 180"/>
                <a:gd name="T54" fmla="*/ 103 w 159"/>
                <a:gd name="T55" fmla="*/ 12 h 180"/>
                <a:gd name="T56" fmla="*/ 123 w 159"/>
                <a:gd name="T57" fmla="*/ 4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59" h="180">
                  <a:moveTo>
                    <a:pt x="123" y="4"/>
                  </a:moveTo>
                  <a:lnTo>
                    <a:pt x="141" y="0"/>
                  </a:lnTo>
                  <a:lnTo>
                    <a:pt x="148" y="12"/>
                  </a:lnTo>
                  <a:lnTo>
                    <a:pt x="142" y="28"/>
                  </a:lnTo>
                  <a:lnTo>
                    <a:pt x="159" y="42"/>
                  </a:lnTo>
                  <a:lnTo>
                    <a:pt x="151" y="51"/>
                  </a:lnTo>
                  <a:lnTo>
                    <a:pt x="148" y="78"/>
                  </a:lnTo>
                  <a:lnTo>
                    <a:pt x="132" y="78"/>
                  </a:lnTo>
                  <a:lnTo>
                    <a:pt x="136" y="97"/>
                  </a:lnTo>
                  <a:lnTo>
                    <a:pt x="135" y="118"/>
                  </a:lnTo>
                  <a:lnTo>
                    <a:pt x="108" y="117"/>
                  </a:lnTo>
                  <a:lnTo>
                    <a:pt x="108" y="141"/>
                  </a:lnTo>
                  <a:lnTo>
                    <a:pt x="82" y="154"/>
                  </a:lnTo>
                  <a:lnTo>
                    <a:pt x="75" y="169"/>
                  </a:lnTo>
                  <a:lnTo>
                    <a:pt x="51" y="180"/>
                  </a:lnTo>
                  <a:lnTo>
                    <a:pt x="21" y="174"/>
                  </a:lnTo>
                  <a:lnTo>
                    <a:pt x="22" y="157"/>
                  </a:lnTo>
                  <a:lnTo>
                    <a:pt x="31" y="139"/>
                  </a:lnTo>
                  <a:lnTo>
                    <a:pt x="15" y="135"/>
                  </a:lnTo>
                  <a:lnTo>
                    <a:pt x="10" y="112"/>
                  </a:lnTo>
                  <a:lnTo>
                    <a:pt x="0" y="96"/>
                  </a:lnTo>
                  <a:lnTo>
                    <a:pt x="7" y="69"/>
                  </a:lnTo>
                  <a:lnTo>
                    <a:pt x="24" y="52"/>
                  </a:lnTo>
                  <a:lnTo>
                    <a:pt x="48" y="51"/>
                  </a:lnTo>
                  <a:lnTo>
                    <a:pt x="58" y="24"/>
                  </a:lnTo>
                  <a:lnTo>
                    <a:pt x="61" y="1"/>
                  </a:lnTo>
                  <a:lnTo>
                    <a:pt x="84" y="1"/>
                  </a:lnTo>
                  <a:lnTo>
                    <a:pt x="103" y="12"/>
                  </a:lnTo>
                  <a:lnTo>
                    <a:pt x="123" y="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5" name="Freeform 248"/>
            <p:cNvSpPr>
              <a:spLocks/>
            </p:cNvSpPr>
            <p:nvPr/>
          </p:nvSpPr>
          <p:spPr bwMode="auto">
            <a:xfrm>
              <a:off x="3764" y="1602"/>
              <a:ext cx="111" cy="121"/>
            </a:xfrm>
            <a:custGeom>
              <a:avLst/>
              <a:gdLst>
                <a:gd name="T0" fmla="*/ 114 w 114"/>
                <a:gd name="T1" fmla="*/ 96 h 123"/>
                <a:gd name="T2" fmla="*/ 109 w 114"/>
                <a:gd name="T3" fmla="*/ 55 h 123"/>
                <a:gd name="T4" fmla="*/ 94 w 114"/>
                <a:gd name="T5" fmla="*/ 51 h 123"/>
                <a:gd name="T6" fmla="*/ 87 w 114"/>
                <a:gd name="T7" fmla="*/ 34 h 123"/>
                <a:gd name="T8" fmla="*/ 60 w 114"/>
                <a:gd name="T9" fmla="*/ 40 h 123"/>
                <a:gd name="T10" fmla="*/ 49 w 114"/>
                <a:gd name="T11" fmla="*/ 33 h 123"/>
                <a:gd name="T12" fmla="*/ 45 w 114"/>
                <a:gd name="T13" fmla="*/ 19 h 123"/>
                <a:gd name="T14" fmla="*/ 45 w 114"/>
                <a:gd name="T15" fmla="*/ 0 h 123"/>
                <a:gd name="T16" fmla="*/ 31 w 114"/>
                <a:gd name="T17" fmla="*/ 0 h 123"/>
                <a:gd name="T18" fmla="*/ 22 w 114"/>
                <a:gd name="T19" fmla="*/ 37 h 123"/>
                <a:gd name="T20" fmla="*/ 0 w 114"/>
                <a:gd name="T21" fmla="*/ 40 h 123"/>
                <a:gd name="T22" fmla="*/ 22 w 114"/>
                <a:gd name="T23" fmla="*/ 67 h 123"/>
                <a:gd name="T24" fmla="*/ 15 w 114"/>
                <a:gd name="T25" fmla="*/ 91 h 123"/>
                <a:gd name="T26" fmla="*/ 39 w 114"/>
                <a:gd name="T27" fmla="*/ 79 h 123"/>
                <a:gd name="T28" fmla="*/ 45 w 114"/>
                <a:gd name="T29" fmla="*/ 96 h 123"/>
                <a:gd name="T30" fmla="*/ 37 w 114"/>
                <a:gd name="T31" fmla="*/ 112 h 123"/>
                <a:gd name="T32" fmla="*/ 55 w 114"/>
                <a:gd name="T33" fmla="*/ 123 h 123"/>
                <a:gd name="T34" fmla="*/ 114 w 114"/>
                <a:gd name="T35" fmla="*/ 96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4" h="123">
                  <a:moveTo>
                    <a:pt x="114" y="96"/>
                  </a:moveTo>
                  <a:lnTo>
                    <a:pt x="109" y="55"/>
                  </a:lnTo>
                  <a:lnTo>
                    <a:pt x="94" y="51"/>
                  </a:lnTo>
                  <a:lnTo>
                    <a:pt x="87" y="34"/>
                  </a:lnTo>
                  <a:lnTo>
                    <a:pt x="60" y="40"/>
                  </a:lnTo>
                  <a:lnTo>
                    <a:pt x="49" y="33"/>
                  </a:lnTo>
                  <a:lnTo>
                    <a:pt x="45" y="19"/>
                  </a:lnTo>
                  <a:lnTo>
                    <a:pt x="45" y="0"/>
                  </a:lnTo>
                  <a:lnTo>
                    <a:pt x="31" y="0"/>
                  </a:lnTo>
                  <a:lnTo>
                    <a:pt x="22" y="37"/>
                  </a:lnTo>
                  <a:lnTo>
                    <a:pt x="0" y="40"/>
                  </a:lnTo>
                  <a:lnTo>
                    <a:pt x="22" y="67"/>
                  </a:lnTo>
                  <a:lnTo>
                    <a:pt x="15" y="91"/>
                  </a:lnTo>
                  <a:lnTo>
                    <a:pt x="39" y="79"/>
                  </a:lnTo>
                  <a:lnTo>
                    <a:pt x="45" y="96"/>
                  </a:lnTo>
                  <a:lnTo>
                    <a:pt x="37" y="112"/>
                  </a:lnTo>
                  <a:lnTo>
                    <a:pt x="55" y="123"/>
                  </a:lnTo>
                  <a:lnTo>
                    <a:pt x="114" y="96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6" name="Freeform 249"/>
            <p:cNvSpPr>
              <a:spLocks/>
            </p:cNvSpPr>
            <p:nvPr/>
          </p:nvSpPr>
          <p:spPr bwMode="auto">
            <a:xfrm>
              <a:off x="3807" y="1551"/>
              <a:ext cx="154" cy="93"/>
            </a:xfrm>
            <a:custGeom>
              <a:avLst/>
              <a:gdLst>
                <a:gd name="T0" fmla="*/ 87 w 304"/>
                <a:gd name="T1" fmla="*/ 180 h 184"/>
                <a:gd name="T2" fmla="*/ 128 w 304"/>
                <a:gd name="T3" fmla="*/ 139 h 184"/>
                <a:gd name="T4" fmla="*/ 163 w 304"/>
                <a:gd name="T5" fmla="*/ 151 h 184"/>
                <a:gd name="T6" fmla="*/ 186 w 304"/>
                <a:gd name="T7" fmla="*/ 138 h 184"/>
                <a:gd name="T8" fmla="*/ 194 w 304"/>
                <a:gd name="T9" fmla="*/ 99 h 184"/>
                <a:gd name="T10" fmla="*/ 228 w 304"/>
                <a:gd name="T11" fmla="*/ 93 h 184"/>
                <a:gd name="T12" fmla="*/ 279 w 304"/>
                <a:gd name="T13" fmla="*/ 62 h 184"/>
                <a:gd name="T14" fmla="*/ 304 w 304"/>
                <a:gd name="T15" fmla="*/ 27 h 184"/>
                <a:gd name="T16" fmla="*/ 263 w 304"/>
                <a:gd name="T17" fmla="*/ 15 h 184"/>
                <a:gd name="T18" fmla="*/ 229 w 304"/>
                <a:gd name="T19" fmla="*/ 0 h 184"/>
                <a:gd name="T20" fmla="*/ 180 w 304"/>
                <a:gd name="T21" fmla="*/ 10 h 184"/>
                <a:gd name="T22" fmla="*/ 153 w 304"/>
                <a:gd name="T23" fmla="*/ 27 h 184"/>
                <a:gd name="T24" fmla="*/ 130 w 304"/>
                <a:gd name="T25" fmla="*/ 0 h 184"/>
                <a:gd name="T26" fmla="*/ 81 w 304"/>
                <a:gd name="T27" fmla="*/ 39 h 184"/>
                <a:gd name="T28" fmla="*/ 46 w 304"/>
                <a:gd name="T29" fmla="*/ 0 h 184"/>
                <a:gd name="T30" fmla="*/ 14 w 304"/>
                <a:gd name="T31" fmla="*/ 45 h 184"/>
                <a:gd name="T32" fmla="*/ 19 w 304"/>
                <a:gd name="T33" fmla="*/ 79 h 184"/>
                <a:gd name="T34" fmla="*/ 81 w 304"/>
                <a:gd name="T35" fmla="*/ 105 h 184"/>
                <a:gd name="T36" fmla="*/ 52 w 304"/>
                <a:gd name="T37" fmla="*/ 139 h 184"/>
                <a:gd name="T38" fmla="*/ 0 w 304"/>
                <a:gd name="T39" fmla="*/ 139 h 184"/>
                <a:gd name="T40" fmla="*/ 12 w 304"/>
                <a:gd name="T41" fmla="*/ 172 h 184"/>
                <a:gd name="T42" fmla="*/ 37 w 304"/>
                <a:gd name="T43" fmla="*/ 184 h 184"/>
                <a:gd name="T44" fmla="*/ 64 w 304"/>
                <a:gd name="T45" fmla="*/ 167 h 184"/>
                <a:gd name="T46" fmla="*/ 87 w 304"/>
                <a:gd name="T47" fmla="*/ 18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04" h="184">
                  <a:moveTo>
                    <a:pt x="87" y="180"/>
                  </a:moveTo>
                  <a:lnTo>
                    <a:pt x="128" y="139"/>
                  </a:lnTo>
                  <a:lnTo>
                    <a:pt x="163" y="151"/>
                  </a:lnTo>
                  <a:lnTo>
                    <a:pt x="186" y="138"/>
                  </a:lnTo>
                  <a:lnTo>
                    <a:pt x="194" y="99"/>
                  </a:lnTo>
                  <a:lnTo>
                    <a:pt x="228" y="93"/>
                  </a:lnTo>
                  <a:lnTo>
                    <a:pt x="279" y="62"/>
                  </a:lnTo>
                  <a:lnTo>
                    <a:pt x="304" y="27"/>
                  </a:lnTo>
                  <a:lnTo>
                    <a:pt x="263" y="15"/>
                  </a:lnTo>
                  <a:lnTo>
                    <a:pt x="229" y="0"/>
                  </a:lnTo>
                  <a:lnTo>
                    <a:pt x="180" y="10"/>
                  </a:lnTo>
                  <a:lnTo>
                    <a:pt x="153" y="27"/>
                  </a:lnTo>
                  <a:lnTo>
                    <a:pt x="130" y="0"/>
                  </a:lnTo>
                  <a:lnTo>
                    <a:pt x="81" y="39"/>
                  </a:lnTo>
                  <a:lnTo>
                    <a:pt x="46" y="0"/>
                  </a:lnTo>
                  <a:lnTo>
                    <a:pt x="14" y="45"/>
                  </a:lnTo>
                  <a:lnTo>
                    <a:pt x="19" y="79"/>
                  </a:lnTo>
                  <a:lnTo>
                    <a:pt x="81" y="105"/>
                  </a:lnTo>
                  <a:lnTo>
                    <a:pt x="52" y="139"/>
                  </a:lnTo>
                  <a:lnTo>
                    <a:pt x="0" y="139"/>
                  </a:lnTo>
                  <a:lnTo>
                    <a:pt x="12" y="172"/>
                  </a:lnTo>
                  <a:lnTo>
                    <a:pt x="37" y="184"/>
                  </a:lnTo>
                  <a:lnTo>
                    <a:pt x="64" y="167"/>
                  </a:lnTo>
                  <a:lnTo>
                    <a:pt x="87" y="18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7" name="Freeform 250"/>
            <p:cNvSpPr>
              <a:spLocks/>
            </p:cNvSpPr>
            <p:nvPr/>
          </p:nvSpPr>
          <p:spPr bwMode="auto">
            <a:xfrm>
              <a:off x="4090" y="1339"/>
              <a:ext cx="489" cy="252"/>
            </a:xfrm>
            <a:custGeom>
              <a:avLst/>
              <a:gdLst>
                <a:gd name="T0" fmla="*/ 3 w 498"/>
                <a:gd name="T1" fmla="*/ 77 h 257"/>
                <a:gd name="T2" fmla="*/ 0 w 498"/>
                <a:gd name="T3" fmla="*/ 96 h 257"/>
                <a:gd name="T4" fmla="*/ 8 w 498"/>
                <a:gd name="T5" fmla="*/ 113 h 257"/>
                <a:gd name="T6" fmla="*/ 35 w 498"/>
                <a:gd name="T7" fmla="*/ 113 h 257"/>
                <a:gd name="T8" fmla="*/ 56 w 498"/>
                <a:gd name="T9" fmla="*/ 143 h 257"/>
                <a:gd name="T10" fmla="*/ 59 w 498"/>
                <a:gd name="T11" fmla="*/ 180 h 257"/>
                <a:gd name="T12" fmla="*/ 92 w 498"/>
                <a:gd name="T13" fmla="*/ 185 h 257"/>
                <a:gd name="T14" fmla="*/ 122 w 498"/>
                <a:gd name="T15" fmla="*/ 215 h 257"/>
                <a:gd name="T16" fmla="*/ 138 w 498"/>
                <a:gd name="T17" fmla="*/ 231 h 257"/>
                <a:gd name="T18" fmla="*/ 173 w 498"/>
                <a:gd name="T19" fmla="*/ 239 h 257"/>
                <a:gd name="T20" fmla="*/ 215 w 498"/>
                <a:gd name="T21" fmla="*/ 239 h 257"/>
                <a:gd name="T22" fmla="*/ 233 w 498"/>
                <a:gd name="T23" fmla="*/ 257 h 257"/>
                <a:gd name="T24" fmla="*/ 254 w 498"/>
                <a:gd name="T25" fmla="*/ 257 h 257"/>
                <a:gd name="T26" fmla="*/ 279 w 498"/>
                <a:gd name="T27" fmla="*/ 246 h 257"/>
                <a:gd name="T28" fmla="*/ 305 w 498"/>
                <a:gd name="T29" fmla="*/ 237 h 257"/>
                <a:gd name="T30" fmla="*/ 342 w 498"/>
                <a:gd name="T31" fmla="*/ 237 h 257"/>
                <a:gd name="T32" fmla="*/ 363 w 498"/>
                <a:gd name="T33" fmla="*/ 221 h 257"/>
                <a:gd name="T34" fmla="*/ 360 w 498"/>
                <a:gd name="T35" fmla="*/ 191 h 257"/>
                <a:gd name="T36" fmla="*/ 365 w 498"/>
                <a:gd name="T37" fmla="*/ 176 h 257"/>
                <a:gd name="T38" fmla="*/ 383 w 498"/>
                <a:gd name="T39" fmla="*/ 189 h 257"/>
                <a:gd name="T40" fmla="*/ 405 w 498"/>
                <a:gd name="T41" fmla="*/ 171 h 257"/>
                <a:gd name="T42" fmla="*/ 429 w 498"/>
                <a:gd name="T43" fmla="*/ 161 h 257"/>
                <a:gd name="T44" fmla="*/ 467 w 498"/>
                <a:gd name="T45" fmla="*/ 141 h 257"/>
                <a:gd name="T46" fmla="*/ 491 w 498"/>
                <a:gd name="T47" fmla="*/ 132 h 257"/>
                <a:gd name="T48" fmla="*/ 498 w 498"/>
                <a:gd name="T49" fmla="*/ 117 h 257"/>
                <a:gd name="T50" fmla="*/ 467 w 498"/>
                <a:gd name="T51" fmla="*/ 99 h 257"/>
                <a:gd name="T52" fmla="*/ 440 w 498"/>
                <a:gd name="T53" fmla="*/ 117 h 257"/>
                <a:gd name="T54" fmla="*/ 431 w 498"/>
                <a:gd name="T55" fmla="*/ 105 h 257"/>
                <a:gd name="T56" fmla="*/ 438 w 498"/>
                <a:gd name="T57" fmla="*/ 83 h 257"/>
                <a:gd name="T58" fmla="*/ 438 w 498"/>
                <a:gd name="T59" fmla="*/ 57 h 257"/>
                <a:gd name="T60" fmla="*/ 408 w 498"/>
                <a:gd name="T61" fmla="*/ 50 h 257"/>
                <a:gd name="T62" fmla="*/ 380 w 498"/>
                <a:gd name="T63" fmla="*/ 63 h 257"/>
                <a:gd name="T64" fmla="*/ 327 w 498"/>
                <a:gd name="T65" fmla="*/ 72 h 257"/>
                <a:gd name="T66" fmla="*/ 233 w 498"/>
                <a:gd name="T67" fmla="*/ 42 h 257"/>
                <a:gd name="T68" fmla="*/ 195 w 498"/>
                <a:gd name="T69" fmla="*/ 8 h 257"/>
                <a:gd name="T70" fmla="*/ 165 w 498"/>
                <a:gd name="T71" fmla="*/ 0 h 257"/>
                <a:gd name="T72" fmla="*/ 143 w 498"/>
                <a:gd name="T73" fmla="*/ 21 h 257"/>
                <a:gd name="T74" fmla="*/ 156 w 498"/>
                <a:gd name="T75" fmla="*/ 50 h 257"/>
                <a:gd name="T76" fmla="*/ 111 w 498"/>
                <a:gd name="T77" fmla="*/ 50 h 257"/>
                <a:gd name="T78" fmla="*/ 80 w 498"/>
                <a:gd name="T79" fmla="*/ 32 h 257"/>
                <a:gd name="T80" fmla="*/ 44 w 498"/>
                <a:gd name="T81" fmla="*/ 29 h 257"/>
                <a:gd name="T82" fmla="*/ 18 w 498"/>
                <a:gd name="T83" fmla="*/ 50 h 257"/>
                <a:gd name="T84" fmla="*/ 3 w 498"/>
                <a:gd name="T85" fmla="*/ 7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8" h="257">
                  <a:moveTo>
                    <a:pt x="3" y="77"/>
                  </a:moveTo>
                  <a:lnTo>
                    <a:pt x="0" y="96"/>
                  </a:lnTo>
                  <a:lnTo>
                    <a:pt x="8" y="113"/>
                  </a:lnTo>
                  <a:lnTo>
                    <a:pt x="35" y="113"/>
                  </a:lnTo>
                  <a:lnTo>
                    <a:pt x="56" y="143"/>
                  </a:lnTo>
                  <a:lnTo>
                    <a:pt x="59" y="180"/>
                  </a:lnTo>
                  <a:lnTo>
                    <a:pt x="92" y="185"/>
                  </a:lnTo>
                  <a:lnTo>
                    <a:pt x="122" y="215"/>
                  </a:lnTo>
                  <a:lnTo>
                    <a:pt x="138" y="231"/>
                  </a:lnTo>
                  <a:lnTo>
                    <a:pt x="173" y="239"/>
                  </a:lnTo>
                  <a:lnTo>
                    <a:pt x="215" y="239"/>
                  </a:lnTo>
                  <a:lnTo>
                    <a:pt x="233" y="257"/>
                  </a:lnTo>
                  <a:lnTo>
                    <a:pt x="254" y="257"/>
                  </a:lnTo>
                  <a:lnTo>
                    <a:pt x="279" y="246"/>
                  </a:lnTo>
                  <a:lnTo>
                    <a:pt x="305" y="237"/>
                  </a:lnTo>
                  <a:lnTo>
                    <a:pt x="342" y="237"/>
                  </a:lnTo>
                  <a:lnTo>
                    <a:pt x="363" y="221"/>
                  </a:lnTo>
                  <a:lnTo>
                    <a:pt x="360" y="191"/>
                  </a:lnTo>
                  <a:lnTo>
                    <a:pt x="365" y="176"/>
                  </a:lnTo>
                  <a:lnTo>
                    <a:pt x="383" y="189"/>
                  </a:lnTo>
                  <a:lnTo>
                    <a:pt x="405" y="171"/>
                  </a:lnTo>
                  <a:lnTo>
                    <a:pt x="429" y="161"/>
                  </a:lnTo>
                  <a:lnTo>
                    <a:pt x="467" y="141"/>
                  </a:lnTo>
                  <a:lnTo>
                    <a:pt x="491" y="132"/>
                  </a:lnTo>
                  <a:lnTo>
                    <a:pt x="498" y="117"/>
                  </a:lnTo>
                  <a:lnTo>
                    <a:pt x="467" y="99"/>
                  </a:lnTo>
                  <a:lnTo>
                    <a:pt x="440" y="117"/>
                  </a:lnTo>
                  <a:lnTo>
                    <a:pt x="431" y="105"/>
                  </a:lnTo>
                  <a:lnTo>
                    <a:pt x="438" y="83"/>
                  </a:lnTo>
                  <a:lnTo>
                    <a:pt x="438" y="57"/>
                  </a:lnTo>
                  <a:lnTo>
                    <a:pt x="408" y="50"/>
                  </a:lnTo>
                  <a:lnTo>
                    <a:pt x="380" y="63"/>
                  </a:lnTo>
                  <a:lnTo>
                    <a:pt x="327" y="72"/>
                  </a:lnTo>
                  <a:lnTo>
                    <a:pt x="233" y="42"/>
                  </a:lnTo>
                  <a:lnTo>
                    <a:pt x="195" y="8"/>
                  </a:lnTo>
                  <a:lnTo>
                    <a:pt x="165" y="0"/>
                  </a:lnTo>
                  <a:lnTo>
                    <a:pt x="143" y="21"/>
                  </a:lnTo>
                  <a:lnTo>
                    <a:pt x="156" y="50"/>
                  </a:lnTo>
                  <a:lnTo>
                    <a:pt x="111" y="50"/>
                  </a:lnTo>
                  <a:lnTo>
                    <a:pt x="80" y="32"/>
                  </a:lnTo>
                  <a:lnTo>
                    <a:pt x="44" y="29"/>
                  </a:lnTo>
                  <a:lnTo>
                    <a:pt x="18" y="50"/>
                  </a:lnTo>
                  <a:lnTo>
                    <a:pt x="3" y="7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8" name="Freeform 251"/>
            <p:cNvSpPr>
              <a:spLocks/>
            </p:cNvSpPr>
            <p:nvPr/>
          </p:nvSpPr>
          <p:spPr bwMode="auto">
            <a:xfrm>
              <a:off x="3265" y="1746"/>
              <a:ext cx="32" cy="50"/>
            </a:xfrm>
            <a:custGeom>
              <a:avLst/>
              <a:gdLst>
                <a:gd name="T0" fmla="*/ 0 w 33"/>
                <a:gd name="T1" fmla="*/ 43 h 51"/>
                <a:gd name="T2" fmla="*/ 12 w 33"/>
                <a:gd name="T3" fmla="*/ 1 h 51"/>
                <a:gd name="T4" fmla="*/ 33 w 33"/>
                <a:gd name="T5" fmla="*/ 0 h 51"/>
                <a:gd name="T6" fmla="*/ 26 w 33"/>
                <a:gd name="T7" fmla="*/ 30 h 51"/>
                <a:gd name="T8" fmla="*/ 12 w 33"/>
                <a:gd name="T9" fmla="*/ 51 h 51"/>
                <a:gd name="T10" fmla="*/ 0 w 33"/>
                <a:gd name="T11" fmla="*/ 43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51">
                  <a:moveTo>
                    <a:pt x="0" y="43"/>
                  </a:moveTo>
                  <a:lnTo>
                    <a:pt x="12" y="1"/>
                  </a:lnTo>
                  <a:lnTo>
                    <a:pt x="33" y="0"/>
                  </a:lnTo>
                  <a:lnTo>
                    <a:pt x="26" y="30"/>
                  </a:lnTo>
                  <a:lnTo>
                    <a:pt x="12" y="51"/>
                  </a:lnTo>
                  <a:lnTo>
                    <a:pt x="0" y="4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9" name="Freeform 252"/>
            <p:cNvSpPr>
              <a:spLocks/>
            </p:cNvSpPr>
            <p:nvPr/>
          </p:nvSpPr>
          <p:spPr bwMode="auto">
            <a:xfrm>
              <a:off x="3273" y="1682"/>
              <a:ext cx="109" cy="114"/>
            </a:xfrm>
            <a:custGeom>
              <a:avLst/>
              <a:gdLst>
                <a:gd name="T0" fmla="*/ 4 w 112"/>
                <a:gd name="T1" fmla="*/ 70 h 117"/>
                <a:gd name="T2" fmla="*/ 4 w 112"/>
                <a:gd name="T3" fmla="*/ 43 h 117"/>
                <a:gd name="T4" fmla="*/ 0 w 112"/>
                <a:gd name="T5" fmla="*/ 21 h 117"/>
                <a:gd name="T6" fmla="*/ 13 w 112"/>
                <a:gd name="T7" fmla="*/ 24 h 117"/>
                <a:gd name="T8" fmla="*/ 16 w 112"/>
                <a:gd name="T9" fmla="*/ 43 h 117"/>
                <a:gd name="T10" fmla="*/ 30 w 112"/>
                <a:gd name="T11" fmla="*/ 31 h 117"/>
                <a:gd name="T12" fmla="*/ 36 w 112"/>
                <a:gd name="T13" fmla="*/ 19 h 117"/>
                <a:gd name="T14" fmla="*/ 63 w 112"/>
                <a:gd name="T15" fmla="*/ 16 h 117"/>
                <a:gd name="T16" fmla="*/ 90 w 112"/>
                <a:gd name="T17" fmla="*/ 7 h 117"/>
                <a:gd name="T18" fmla="*/ 112 w 112"/>
                <a:gd name="T19" fmla="*/ 0 h 117"/>
                <a:gd name="T20" fmla="*/ 103 w 112"/>
                <a:gd name="T21" fmla="*/ 22 h 117"/>
                <a:gd name="T22" fmla="*/ 96 w 112"/>
                <a:gd name="T23" fmla="*/ 43 h 117"/>
                <a:gd name="T24" fmla="*/ 90 w 112"/>
                <a:gd name="T25" fmla="*/ 76 h 117"/>
                <a:gd name="T26" fmla="*/ 58 w 112"/>
                <a:gd name="T27" fmla="*/ 96 h 117"/>
                <a:gd name="T28" fmla="*/ 48 w 112"/>
                <a:gd name="T29" fmla="*/ 106 h 117"/>
                <a:gd name="T30" fmla="*/ 27 w 112"/>
                <a:gd name="T31" fmla="*/ 117 h 117"/>
                <a:gd name="T32" fmla="*/ 6 w 112"/>
                <a:gd name="T33" fmla="*/ 115 h 117"/>
                <a:gd name="T34" fmla="*/ 19 w 112"/>
                <a:gd name="T35" fmla="*/ 93 h 117"/>
                <a:gd name="T36" fmla="*/ 24 w 112"/>
                <a:gd name="T37" fmla="*/ 66 h 117"/>
                <a:gd name="T38" fmla="*/ 4 w 112"/>
                <a:gd name="T39" fmla="*/ 7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2" h="117">
                  <a:moveTo>
                    <a:pt x="4" y="70"/>
                  </a:moveTo>
                  <a:lnTo>
                    <a:pt x="4" y="43"/>
                  </a:lnTo>
                  <a:lnTo>
                    <a:pt x="0" y="21"/>
                  </a:lnTo>
                  <a:lnTo>
                    <a:pt x="13" y="24"/>
                  </a:lnTo>
                  <a:lnTo>
                    <a:pt x="16" y="43"/>
                  </a:lnTo>
                  <a:lnTo>
                    <a:pt x="30" y="31"/>
                  </a:lnTo>
                  <a:lnTo>
                    <a:pt x="36" y="19"/>
                  </a:lnTo>
                  <a:lnTo>
                    <a:pt x="63" y="16"/>
                  </a:lnTo>
                  <a:lnTo>
                    <a:pt x="90" y="7"/>
                  </a:lnTo>
                  <a:lnTo>
                    <a:pt x="112" y="0"/>
                  </a:lnTo>
                  <a:lnTo>
                    <a:pt x="103" y="22"/>
                  </a:lnTo>
                  <a:lnTo>
                    <a:pt x="96" y="43"/>
                  </a:lnTo>
                  <a:lnTo>
                    <a:pt x="90" y="76"/>
                  </a:lnTo>
                  <a:lnTo>
                    <a:pt x="58" y="96"/>
                  </a:lnTo>
                  <a:lnTo>
                    <a:pt x="48" y="106"/>
                  </a:lnTo>
                  <a:lnTo>
                    <a:pt x="27" y="117"/>
                  </a:lnTo>
                  <a:lnTo>
                    <a:pt x="6" y="115"/>
                  </a:lnTo>
                  <a:lnTo>
                    <a:pt x="19" y="93"/>
                  </a:lnTo>
                  <a:lnTo>
                    <a:pt x="24" y="66"/>
                  </a:lnTo>
                  <a:lnTo>
                    <a:pt x="4" y="7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0" name="Freeform 253"/>
            <p:cNvSpPr>
              <a:spLocks/>
            </p:cNvSpPr>
            <p:nvPr/>
          </p:nvSpPr>
          <p:spPr bwMode="auto">
            <a:xfrm>
              <a:off x="3320" y="1685"/>
              <a:ext cx="159" cy="184"/>
            </a:xfrm>
            <a:custGeom>
              <a:avLst/>
              <a:gdLst>
                <a:gd name="T0" fmla="*/ 111 w 163"/>
                <a:gd name="T1" fmla="*/ 189 h 189"/>
                <a:gd name="T2" fmla="*/ 126 w 163"/>
                <a:gd name="T3" fmla="*/ 166 h 189"/>
                <a:gd name="T4" fmla="*/ 142 w 163"/>
                <a:gd name="T5" fmla="*/ 157 h 189"/>
                <a:gd name="T6" fmla="*/ 163 w 163"/>
                <a:gd name="T7" fmla="*/ 157 h 189"/>
                <a:gd name="T8" fmla="*/ 138 w 163"/>
                <a:gd name="T9" fmla="*/ 103 h 189"/>
                <a:gd name="T10" fmla="*/ 115 w 163"/>
                <a:gd name="T11" fmla="*/ 72 h 189"/>
                <a:gd name="T12" fmla="*/ 121 w 163"/>
                <a:gd name="T13" fmla="*/ 40 h 189"/>
                <a:gd name="T14" fmla="*/ 108 w 163"/>
                <a:gd name="T15" fmla="*/ 34 h 189"/>
                <a:gd name="T16" fmla="*/ 94 w 163"/>
                <a:gd name="T17" fmla="*/ 18 h 189"/>
                <a:gd name="T18" fmla="*/ 106 w 163"/>
                <a:gd name="T19" fmla="*/ 7 h 189"/>
                <a:gd name="T20" fmla="*/ 91 w 163"/>
                <a:gd name="T21" fmla="*/ 0 h 189"/>
                <a:gd name="T22" fmla="*/ 64 w 163"/>
                <a:gd name="T23" fmla="*/ 4 h 189"/>
                <a:gd name="T24" fmla="*/ 48 w 163"/>
                <a:gd name="T25" fmla="*/ 36 h 189"/>
                <a:gd name="T26" fmla="*/ 43 w 163"/>
                <a:gd name="T27" fmla="*/ 73 h 189"/>
                <a:gd name="T28" fmla="*/ 16 w 163"/>
                <a:gd name="T29" fmla="*/ 90 h 189"/>
                <a:gd name="T30" fmla="*/ 0 w 163"/>
                <a:gd name="T31" fmla="*/ 103 h 189"/>
                <a:gd name="T32" fmla="*/ 12 w 163"/>
                <a:gd name="T33" fmla="*/ 130 h 189"/>
                <a:gd name="T34" fmla="*/ 46 w 163"/>
                <a:gd name="T35" fmla="*/ 150 h 189"/>
                <a:gd name="T36" fmla="*/ 67 w 163"/>
                <a:gd name="T37" fmla="*/ 163 h 189"/>
                <a:gd name="T38" fmla="*/ 111 w 163"/>
                <a:gd name="T3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3" h="189">
                  <a:moveTo>
                    <a:pt x="111" y="189"/>
                  </a:moveTo>
                  <a:lnTo>
                    <a:pt x="126" y="166"/>
                  </a:lnTo>
                  <a:lnTo>
                    <a:pt x="142" y="157"/>
                  </a:lnTo>
                  <a:lnTo>
                    <a:pt x="163" y="157"/>
                  </a:lnTo>
                  <a:lnTo>
                    <a:pt x="138" y="103"/>
                  </a:lnTo>
                  <a:lnTo>
                    <a:pt x="115" y="72"/>
                  </a:lnTo>
                  <a:lnTo>
                    <a:pt x="121" y="40"/>
                  </a:lnTo>
                  <a:lnTo>
                    <a:pt x="108" y="34"/>
                  </a:lnTo>
                  <a:lnTo>
                    <a:pt x="94" y="18"/>
                  </a:lnTo>
                  <a:lnTo>
                    <a:pt x="106" y="7"/>
                  </a:lnTo>
                  <a:lnTo>
                    <a:pt x="91" y="0"/>
                  </a:lnTo>
                  <a:lnTo>
                    <a:pt x="64" y="4"/>
                  </a:lnTo>
                  <a:lnTo>
                    <a:pt x="48" y="36"/>
                  </a:lnTo>
                  <a:lnTo>
                    <a:pt x="43" y="73"/>
                  </a:lnTo>
                  <a:lnTo>
                    <a:pt x="16" y="90"/>
                  </a:lnTo>
                  <a:lnTo>
                    <a:pt x="0" y="103"/>
                  </a:lnTo>
                  <a:lnTo>
                    <a:pt x="12" y="130"/>
                  </a:lnTo>
                  <a:lnTo>
                    <a:pt x="46" y="150"/>
                  </a:lnTo>
                  <a:lnTo>
                    <a:pt x="67" y="163"/>
                  </a:lnTo>
                  <a:lnTo>
                    <a:pt x="111" y="18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1" name="Freeform 254"/>
            <p:cNvSpPr>
              <a:spLocks/>
            </p:cNvSpPr>
            <p:nvPr/>
          </p:nvSpPr>
          <p:spPr bwMode="auto">
            <a:xfrm>
              <a:off x="3428" y="1838"/>
              <a:ext cx="39" cy="44"/>
            </a:xfrm>
            <a:custGeom>
              <a:avLst/>
              <a:gdLst>
                <a:gd name="T0" fmla="*/ 31 w 39"/>
                <a:gd name="T1" fmla="*/ 0 h 45"/>
                <a:gd name="T2" fmla="*/ 39 w 39"/>
                <a:gd name="T3" fmla="*/ 44 h 45"/>
                <a:gd name="T4" fmla="*/ 21 w 39"/>
                <a:gd name="T5" fmla="*/ 45 h 45"/>
                <a:gd name="T6" fmla="*/ 0 w 39"/>
                <a:gd name="T7" fmla="*/ 33 h 45"/>
                <a:gd name="T8" fmla="*/ 15 w 39"/>
                <a:gd name="T9" fmla="*/ 9 h 45"/>
                <a:gd name="T10" fmla="*/ 31 w 39"/>
                <a:gd name="T1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45">
                  <a:moveTo>
                    <a:pt x="31" y="0"/>
                  </a:moveTo>
                  <a:lnTo>
                    <a:pt x="39" y="44"/>
                  </a:lnTo>
                  <a:lnTo>
                    <a:pt x="21" y="45"/>
                  </a:lnTo>
                  <a:lnTo>
                    <a:pt x="0" y="33"/>
                  </a:lnTo>
                  <a:lnTo>
                    <a:pt x="15" y="9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2" name="Freeform 255"/>
            <p:cNvSpPr>
              <a:spLocks/>
            </p:cNvSpPr>
            <p:nvPr/>
          </p:nvSpPr>
          <p:spPr bwMode="auto">
            <a:xfrm>
              <a:off x="3217" y="1732"/>
              <a:ext cx="36" cy="23"/>
            </a:xfrm>
            <a:custGeom>
              <a:avLst/>
              <a:gdLst>
                <a:gd name="T0" fmla="*/ 37 w 37"/>
                <a:gd name="T1" fmla="*/ 0 h 23"/>
                <a:gd name="T2" fmla="*/ 0 w 37"/>
                <a:gd name="T3" fmla="*/ 6 h 23"/>
                <a:gd name="T4" fmla="*/ 12 w 37"/>
                <a:gd name="T5" fmla="*/ 23 h 23"/>
                <a:gd name="T6" fmla="*/ 22 w 37"/>
                <a:gd name="T7" fmla="*/ 17 h 23"/>
                <a:gd name="T8" fmla="*/ 37 w 37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7" y="0"/>
                  </a:moveTo>
                  <a:lnTo>
                    <a:pt x="0" y="6"/>
                  </a:lnTo>
                  <a:lnTo>
                    <a:pt x="12" y="23"/>
                  </a:lnTo>
                  <a:lnTo>
                    <a:pt x="22" y="17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3" name="Freeform 256"/>
            <p:cNvSpPr>
              <a:spLocks/>
            </p:cNvSpPr>
            <p:nvPr/>
          </p:nvSpPr>
          <p:spPr bwMode="auto">
            <a:xfrm>
              <a:off x="3776" y="1714"/>
              <a:ext cx="450" cy="605"/>
            </a:xfrm>
            <a:custGeom>
              <a:avLst/>
              <a:gdLst>
                <a:gd name="T0" fmla="*/ 156 w 459"/>
                <a:gd name="T1" fmla="*/ 0 h 618"/>
                <a:gd name="T2" fmla="*/ 156 w 459"/>
                <a:gd name="T3" fmla="*/ 61 h 618"/>
                <a:gd name="T4" fmla="*/ 177 w 459"/>
                <a:gd name="T5" fmla="*/ 94 h 618"/>
                <a:gd name="T6" fmla="*/ 201 w 459"/>
                <a:gd name="T7" fmla="*/ 138 h 618"/>
                <a:gd name="T8" fmla="*/ 210 w 459"/>
                <a:gd name="T9" fmla="*/ 184 h 618"/>
                <a:gd name="T10" fmla="*/ 254 w 459"/>
                <a:gd name="T11" fmla="*/ 213 h 618"/>
                <a:gd name="T12" fmla="*/ 321 w 459"/>
                <a:gd name="T13" fmla="*/ 229 h 618"/>
                <a:gd name="T14" fmla="*/ 329 w 459"/>
                <a:gd name="T15" fmla="*/ 190 h 618"/>
                <a:gd name="T16" fmla="*/ 380 w 459"/>
                <a:gd name="T17" fmla="*/ 210 h 618"/>
                <a:gd name="T18" fmla="*/ 417 w 459"/>
                <a:gd name="T19" fmla="*/ 171 h 618"/>
                <a:gd name="T20" fmla="*/ 459 w 459"/>
                <a:gd name="T21" fmla="*/ 202 h 618"/>
                <a:gd name="T22" fmla="*/ 438 w 459"/>
                <a:gd name="T23" fmla="*/ 238 h 618"/>
                <a:gd name="T24" fmla="*/ 413 w 459"/>
                <a:gd name="T25" fmla="*/ 292 h 618"/>
                <a:gd name="T26" fmla="*/ 395 w 459"/>
                <a:gd name="T27" fmla="*/ 330 h 618"/>
                <a:gd name="T28" fmla="*/ 368 w 459"/>
                <a:gd name="T29" fmla="*/ 304 h 618"/>
                <a:gd name="T30" fmla="*/ 360 w 459"/>
                <a:gd name="T31" fmla="*/ 262 h 618"/>
                <a:gd name="T32" fmla="*/ 338 w 459"/>
                <a:gd name="T33" fmla="*/ 231 h 618"/>
                <a:gd name="T34" fmla="*/ 324 w 459"/>
                <a:gd name="T35" fmla="*/ 249 h 618"/>
                <a:gd name="T36" fmla="*/ 314 w 459"/>
                <a:gd name="T37" fmla="*/ 279 h 618"/>
                <a:gd name="T38" fmla="*/ 323 w 459"/>
                <a:gd name="T39" fmla="*/ 307 h 618"/>
                <a:gd name="T40" fmla="*/ 306 w 459"/>
                <a:gd name="T41" fmla="*/ 328 h 618"/>
                <a:gd name="T42" fmla="*/ 290 w 459"/>
                <a:gd name="T43" fmla="*/ 357 h 618"/>
                <a:gd name="T44" fmla="*/ 261 w 459"/>
                <a:gd name="T45" fmla="*/ 372 h 618"/>
                <a:gd name="T46" fmla="*/ 231 w 459"/>
                <a:gd name="T47" fmla="*/ 420 h 618"/>
                <a:gd name="T48" fmla="*/ 210 w 459"/>
                <a:gd name="T49" fmla="*/ 438 h 618"/>
                <a:gd name="T50" fmla="*/ 180 w 459"/>
                <a:gd name="T51" fmla="*/ 478 h 618"/>
                <a:gd name="T52" fmla="*/ 173 w 459"/>
                <a:gd name="T53" fmla="*/ 550 h 618"/>
                <a:gd name="T54" fmla="*/ 162 w 459"/>
                <a:gd name="T55" fmla="*/ 585 h 618"/>
                <a:gd name="T56" fmla="*/ 122 w 459"/>
                <a:gd name="T57" fmla="*/ 586 h 618"/>
                <a:gd name="T58" fmla="*/ 90 w 459"/>
                <a:gd name="T59" fmla="*/ 487 h 618"/>
                <a:gd name="T60" fmla="*/ 77 w 459"/>
                <a:gd name="T61" fmla="*/ 444 h 618"/>
                <a:gd name="T62" fmla="*/ 68 w 459"/>
                <a:gd name="T63" fmla="*/ 373 h 618"/>
                <a:gd name="T64" fmla="*/ 71 w 459"/>
                <a:gd name="T65" fmla="*/ 349 h 618"/>
                <a:gd name="T66" fmla="*/ 66 w 459"/>
                <a:gd name="T67" fmla="*/ 306 h 618"/>
                <a:gd name="T68" fmla="*/ 57 w 459"/>
                <a:gd name="T69" fmla="*/ 343 h 618"/>
                <a:gd name="T70" fmla="*/ 8 w 459"/>
                <a:gd name="T71" fmla="*/ 312 h 618"/>
                <a:gd name="T72" fmla="*/ 44 w 459"/>
                <a:gd name="T73" fmla="*/ 286 h 618"/>
                <a:gd name="T74" fmla="*/ 8 w 459"/>
                <a:gd name="T75" fmla="*/ 292 h 618"/>
                <a:gd name="T76" fmla="*/ 14 w 459"/>
                <a:gd name="T77" fmla="*/ 255 h 618"/>
                <a:gd name="T78" fmla="*/ 15 w 459"/>
                <a:gd name="T79" fmla="*/ 213 h 618"/>
                <a:gd name="T80" fmla="*/ 84 w 459"/>
                <a:gd name="T81" fmla="*/ 135 h 618"/>
                <a:gd name="T82" fmla="*/ 99 w 459"/>
                <a:gd name="T83" fmla="*/ 108 h 618"/>
                <a:gd name="T84" fmla="*/ 74 w 459"/>
                <a:gd name="T85" fmla="*/ 58 h 618"/>
                <a:gd name="T86" fmla="*/ 129 w 459"/>
                <a:gd name="T87" fmla="*/ 25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9" h="618">
                  <a:moveTo>
                    <a:pt x="129" y="9"/>
                  </a:moveTo>
                  <a:lnTo>
                    <a:pt x="156" y="0"/>
                  </a:lnTo>
                  <a:lnTo>
                    <a:pt x="180" y="19"/>
                  </a:lnTo>
                  <a:lnTo>
                    <a:pt x="156" y="61"/>
                  </a:lnTo>
                  <a:lnTo>
                    <a:pt x="164" y="93"/>
                  </a:lnTo>
                  <a:lnTo>
                    <a:pt x="177" y="94"/>
                  </a:lnTo>
                  <a:lnTo>
                    <a:pt x="168" y="120"/>
                  </a:lnTo>
                  <a:lnTo>
                    <a:pt x="201" y="138"/>
                  </a:lnTo>
                  <a:lnTo>
                    <a:pt x="188" y="171"/>
                  </a:lnTo>
                  <a:lnTo>
                    <a:pt x="210" y="184"/>
                  </a:lnTo>
                  <a:lnTo>
                    <a:pt x="246" y="195"/>
                  </a:lnTo>
                  <a:lnTo>
                    <a:pt x="254" y="213"/>
                  </a:lnTo>
                  <a:lnTo>
                    <a:pt x="296" y="225"/>
                  </a:lnTo>
                  <a:lnTo>
                    <a:pt x="321" y="229"/>
                  </a:lnTo>
                  <a:lnTo>
                    <a:pt x="315" y="193"/>
                  </a:lnTo>
                  <a:lnTo>
                    <a:pt x="329" y="190"/>
                  </a:lnTo>
                  <a:lnTo>
                    <a:pt x="341" y="211"/>
                  </a:lnTo>
                  <a:lnTo>
                    <a:pt x="380" y="210"/>
                  </a:lnTo>
                  <a:lnTo>
                    <a:pt x="392" y="186"/>
                  </a:lnTo>
                  <a:lnTo>
                    <a:pt x="417" y="171"/>
                  </a:lnTo>
                  <a:lnTo>
                    <a:pt x="441" y="184"/>
                  </a:lnTo>
                  <a:lnTo>
                    <a:pt x="459" y="202"/>
                  </a:lnTo>
                  <a:lnTo>
                    <a:pt x="459" y="222"/>
                  </a:lnTo>
                  <a:lnTo>
                    <a:pt x="438" y="238"/>
                  </a:lnTo>
                  <a:lnTo>
                    <a:pt x="422" y="264"/>
                  </a:lnTo>
                  <a:lnTo>
                    <a:pt x="413" y="292"/>
                  </a:lnTo>
                  <a:lnTo>
                    <a:pt x="405" y="327"/>
                  </a:lnTo>
                  <a:lnTo>
                    <a:pt x="395" y="330"/>
                  </a:lnTo>
                  <a:lnTo>
                    <a:pt x="387" y="307"/>
                  </a:lnTo>
                  <a:lnTo>
                    <a:pt x="368" y="304"/>
                  </a:lnTo>
                  <a:lnTo>
                    <a:pt x="384" y="258"/>
                  </a:lnTo>
                  <a:lnTo>
                    <a:pt x="360" y="262"/>
                  </a:lnTo>
                  <a:lnTo>
                    <a:pt x="342" y="256"/>
                  </a:lnTo>
                  <a:lnTo>
                    <a:pt x="338" y="231"/>
                  </a:lnTo>
                  <a:lnTo>
                    <a:pt x="324" y="234"/>
                  </a:lnTo>
                  <a:lnTo>
                    <a:pt x="324" y="249"/>
                  </a:lnTo>
                  <a:lnTo>
                    <a:pt x="306" y="262"/>
                  </a:lnTo>
                  <a:lnTo>
                    <a:pt x="314" y="279"/>
                  </a:lnTo>
                  <a:lnTo>
                    <a:pt x="327" y="283"/>
                  </a:lnTo>
                  <a:lnTo>
                    <a:pt x="323" y="307"/>
                  </a:lnTo>
                  <a:lnTo>
                    <a:pt x="327" y="333"/>
                  </a:lnTo>
                  <a:lnTo>
                    <a:pt x="306" y="328"/>
                  </a:lnTo>
                  <a:lnTo>
                    <a:pt x="291" y="342"/>
                  </a:lnTo>
                  <a:lnTo>
                    <a:pt x="290" y="357"/>
                  </a:lnTo>
                  <a:lnTo>
                    <a:pt x="276" y="372"/>
                  </a:lnTo>
                  <a:lnTo>
                    <a:pt x="261" y="372"/>
                  </a:lnTo>
                  <a:lnTo>
                    <a:pt x="255" y="390"/>
                  </a:lnTo>
                  <a:lnTo>
                    <a:pt x="231" y="420"/>
                  </a:lnTo>
                  <a:lnTo>
                    <a:pt x="215" y="421"/>
                  </a:lnTo>
                  <a:lnTo>
                    <a:pt x="210" y="438"/>
                  </a:lnTo>
                  <a:lnTo>
                    <a:pt x="185" y="451"/>
                  </a:lnTo>
                  <a:lnTo>
                    <a:pt x="180" y="478"/>
                  </a:lnTo>
                  <a:lnTo>
                    <a:pt x="182" y="523"/>
                  </a:lnTo>
                  <a:lnTo>
                    <a:pt x="173" y="550"/>
                  </a:lnTo>
                  <a:lnTo>
                    <a:pt x="179" y="574"/>
                  </a:lnTo>
                  <a:lnTo>
                    <a:pt x="162" y="585"/>
                  </a:lnTo>
                  <a:lnTo>
                    <a:pt x="143" y="618"/>
                  </a:lnTo>
                  <a:lnTo>
                    <a:pt x="122" y="586"/>
                  </a:lnTo>
                  <a:lnTo>
                    <a:pt x="117" y="562"/>
                  </a:lnTo>
                  <a:lnTo>
                    <a:pt x="90" y="487"/>
                  </a:lnTo>
                  <a:lnTo>
                    <a:pt x="89" y="460"/>
                  </a:lnTo>
                  <a:lnTo>
                    <a:pt x="77" y="444"/>
                  </a:lnTo>
                  <a:lnTo>
                    <a:pt x="69" y="390"/>
                  </a:lnTo>
                  <a:lnTo>
                    <a:pt x="68" y="373"/>
                  </a:lnTo>
                  <a:lnTo>
                    <a:pt x="57" y="366"/>
                  </a:lnTo>
                  <a:lnTo>
                    <a:pt x="71" y="349"/>
                  </a:lnTo>
                  <a:lnTo>
                    <a:pt x="65" y="330"/>
                  </a:lnTo>
                  <a:lnTo>
                    <a:pt x="66" y="306"/>
                  </a:lnTo>
                  <a:lnTo>
                    <a:pt x="57" y="318"/>
                  </a:lnTo>
                  <a:lnTo>
                    <a:pt x="57" y="343"/>
                  </a:lnTo>
                  <a:lnTo>
                    <a:pt x="36" y="351"/>
                  </a:lnTo>
                  <a:lnTo>
                    <a:pt x="8" y="312"/>
                  </a:lnTo>
                  <a:lnTo>
                    <a:pt x="27" y="306"/>
                  </a:lnTo>
                  <a:lnTo>
                    <a:pt x="44" y="286"/>
                  </a:lnTo>
                  <a:lnTo>
                    <a:pt x="18" y="301"/>
                  </a:lnTo>
                  <a:lnTo>
                    <a:pt x="8" y="292"/>
                  </a:lnTo>
                  <a:lnTo>
                    <a:pt x="0" y="279"/>
                  </a:lnTo>
                  <a:lnTo>
                    <a:pt x="14" y="255"/>
                  </a:lnTo>
                  <a:lnTo>
                    <a:pt x="30" y="253"/>
                  </a:lnTo>
                  <a:lnTo>
                    <a:pt x="15" y="213"/>
                  </a:lnTo>
                  <a:lnTo>
                    <a:pt x="41" y="193"/>
                  </a:lnTo>
                  <a:lnTo>
                    <a:pt x="84" y="135"/>
                  </a:lnTo>
                  <a:lnTo>
                    <a:pt x="86" y="115"/>
                  </a:lnTo>
                  <a:lnTo>
                    <a:pt x="99" y="108"/>
                  </a:lnTo>
                  <a:lnTo>
                    <a:pt x="83" y="87"/>
                  </a:lnTo>
                  <a:lnTo>
                    <a:pt x="74" y="58"/>
                  </a:lnTo>
                  <a:lnTo>
                    <a:pt x="111" y="42"/>
                  </a:lnTo>
                  <a:lnTo>
                    <a:pt x="129" y="25"/>
                  </a:lnTo>
                  <a:lnTo>
                    <a:pt x="129" y="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4" name="Freeform 257"/>
            <p:cNvSpPr>
              <a:spLocks/>
            </p:cNvSpPr>
            <p:nvPr/>
          </p:nvSpPr>
          <p:spPr bwMode="auto">
            <a:xfrm>
              <a:off x="3958" y="1849"/>
              <a:ext cx="132" cy="89"/>
            </a:xfrm>
            <a:custGeom>
              <a:avLst/>
              <a:gdLst>
                <a:gd name="T0" fmla="*/ 15 w 134"/>
                <a:gd name="T1" fmla="*/ 3 h 90"/>
                <a:gd name="T2" fmla="*/ 33 w 134"/>
                <a:gd name="T3" fmla="*/ 0 h 90"/>
                <a:gd name="T4" fmla="*/ 53 w 134"/>
                <a:gd name="T5" fmla="*/ 18 h 90"/>
                <a:gd name="T6" fmla="*/ 74 w 134"/>
                <a:gd name="T7" fmla="*/ 18 h 90"/>
                <a:gd name="T8" fmla="*/ 75 w 134"/>
                <a:gd name="T9" fmla="*/ 30 h 90"/>
                <a:gd name="T10" fmla="*/ 105 w 134"/>
                <a:gd name="T11" fmla="*/ 52 h 90"/>
                <a:gd name="T12" fmla="*/ 131 w 134"/>
                <a:gd name="T13" fmla="*/ 57 h 90"/>
                <a:gd name="T14" fmla="*/ 134 w 134"/>
                <a:gd name="T15" fmla="*/ 90 h 90"/>
                <a:gd name="T16" fmla="*/ 113 w 134"/>
                <a:gd name="T17" fmla="*/ 87 h 90"/>
                <a:gd name="T18" fmla="*/ 68 w 134"/>
                <a:gd name="T19" fmla="*/ 75 h 90"/>
                <a:gd name="T20" fmla="*/ 62 w 134"/>
                <a:gd name="T21" fmla="*/ 57 h 90"/>
                <a:gd name="T22" fmla="*/ 27 w 134"/>
                <a:gd name="T23" fmla="*/ 48 h 90"/>
                <a:gd name="T24" fmla="*/ 0 w 134"/>
                <a:gd name="T25" fmla="*/ 33 h 90"/>
                <a:gd name="T26" fmla="*/ 15 w 134"/>
                <a:gd name="T27" fmla="*/ 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4" h="90">
                  <a:moveTo>
                    <a:pt x="15" y="3"/>
                  </a:moveTo>
                  <a:lnTo>
                    <a:pt x="33" y="0"/>
                  </a:lnTo>
                  <a:lnTo>
                    <a:pt x="53" y="18"/>
                  </a:lnTo>
                  <a:lnTo>
                    <a:pt x="74" y="18"/>
                  </a:lnTo>
                  <a:lnTo>
                    <a:pt x="75" y="30"/>
                  </a:lnTo>
                  <a:lnTo>
                    <a:pt x="105" y="52"/>
                  </a:lnTo>
                  <a:lnTo>
                    <a:pt x="131" y="57"/>
                  </a:lnTo>
                  <a:lnTo>
                    <a:pt x="134" y="90"/>
                  </a:lnTo>
                  <a:lnTo>
                    <a:pt x="113" y="87"/>
                  </a:lnTo>
                  <a:lnTo>
                    <a:pt x="68" y="75"/>
                  </a:lnTo>
                  <a:lnTo>
                    <a:pt x="62" y="57"/>
                  </a:lnTo>
                  <a:lnTo>
                    <a:pt x="27" y="48"/>
                  </a:lnTo>
                  <a:lnTo>
                    <a:pt x="0" y="33"/>
                  </a:lnTo>
                  <a:lnTo>
                    <a:pt x="15" y="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5" name="Freeform 258"/>
            <p:cNvSpPr>
              <a:spLocks/>
            </p:cNvSpPr>
            <p:nvPr/>
          </p:nvSpPr>
          <p:spPr bwMode="auto">
            <a:xfrm>
              <a:off x="4075" y="1940"/>
              <a:ext cx="88" cy="121"/>
            </a:xfrm>
            <a:custGeom>
              <a:avLst/>
              <a:gdLst>
                <a:gd name="T0" fmla="*/ 15 w 90"/>
                <a:gd name="T1" fmla="*/ 4 h 123"/>
                <a:gd name="T2" fmla="*/ 37 w 90"/>
                <a:gd name="T3" fmla="*/ 0 h 123"/>
                <a:gd name="T4" fmla="*/ 37 w 90"/>
                <a:gd name="T5" fmla="*/ 27 h 123"/>
                <a:gd name="T6" fmla="*/ 58 w 90"/>
                <a:gd name="T7" fmla="*/ 31 h 123"/>
                <a:gd name="T8" fmla="*/ 79 w 90"/>
                <a:gd name="T9" fmla="*/ 24 h 123"/>
                <a:gd name="T10" fmla="*/ 72 w 90"/>
                <a:gd name="T11" fmla="*/ 49 h 123"/>
                <a:gd name="T12" fmla="*/ 66 w 90"/>
                <a:gd name="T13" fmla="*/ 72 h 123"/>
                <a:gd name="T14" fmla="*/ 82 w 90"/>
                <a:gd name="T15" fmla="*/ 75 h 123"/>
                <a:gd name="T16" fmla="*/ 90 w 90"/>
                <a:gd name="T17" fmla="*/ 99 h 123"/>
                <a:gd name="T18" fmla="*/ 79 w 90"/>
                <a:gd name="T19" fmla="*/ 123 h 123"/>
                <a:gd name="T20" fmla="*/ 70 w 90"/>
                <a:gd name="T21" fmla="*/ 108 h 123"/>
                <a:gd name="T22" fmla="*/ 67 w 90"/>
                <a:gd name="T23" fmla="*/ 81 h 123"/>
                <a:gd name="T24" fmla="*/ 52 w 90"/>
                <a:gd name="T25" fmla="*/ 70 h 123"/>
                <a:gd name="T26" fmla="*/ 42 w 90"/>
                <a:gd name="T27" fmla="*/ 78 h 123"/>
                <a:gd name="T28" fmla="*/ 42 w 90"/>
                <a:gd name="T29" fmla="*/ 94 h 123"/>
                <a:gd name="T30" fmla="*/ 19 w 90"/>
                <a:gd name="T31" fmla="*/ 91 h 123"/>
                <a:gd name="T32" fmla="*/ 19 w 90"/>
                <a:gd name="T33" fmla="*/ 72 h 123"/>
                <a:gd name="T34" fmla="*/ 21 w 90"/>
                <a:gd name="T35" fmla="*/ 54 h 123"/>
                <a:gd name="T36" fmla="*/ 9 w 90"/>
                <a:gd name="T37" fmla="*/ 48 h 123"/>
                <a:gd name="T38" fmla="*/ 0 w 90"/>
                <a:gd name="T39" fmla="*/ 30 h 123"/>
                <a:gd name="T40" fmla="*/ 19 w 90"/>
                <a:gd name="T41" fmla="*/ 18 h 123"/>
                <a:gd name="T42" fmla="*/ 15 w 90"/>
                <a:gd name="T43" fmla="*/ 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23">
                  <a:moveTo>
                    <a:pt x="15" y="4"/>
                  </a:moveTo>
                  <a:lnTo>
                    <a:pt x="37" y="0"/>
                  </a:lnTo>
                  <a:lnTo>
                    <a:pt x="37" y="27"/>
                  </a:lnTo>
                  <a:lnTo>
                    <a:pt x="58" y="31"/>
                  </a:lnTo>
                  <a:lnTo>
                    <a:pt x="79" y="24"/>
                  </a:lnTo>
                  <a:lnTo>
                    <a:pt x="72" y="49"/>
                  </a:lnTo>
                  <a:lnTo>
                    <a:pt x="66" y="72"/>
                  </a:lnTo>
                  <a:lnTo>
                    <a:pt x="82" y="75"/>
                  </a:lnTo>
                  <a:lnTo>
                    <a:pt x="90" y="99"/>
                  </a:lnTo>
                  <a:lnTo>
                    <a:pt x="79" y="123"/>
                  </a:lnTo>
                  <a:lnTo>
                    <a:pt x="70" y="108"/>
                  </a:lnTo>
                  <a:lnTo>
                    <a:pt x="67" y="81"/>
                  </a:lnTo>
                  <a:lnTo>
                    <a:pt x="52" y="70"/>
                  </a:lnTo>
                  <a:lnTo>
                    <a:pt x="42" y="78"/>
                  </a:lnTo>
                  <a:lnTo>
                    <a:pt x="42" y="94"/>
                  </a:lnTo>
                  <a:lnTo>
                    <a:pt x="19" y="91"/>
                  </a:lnTo>
                  <a:lnTo>
                    <a:pt x="19" y="72"/>
                  </a:lnTo>
                  <a:lnTo>
                    <a:pt x="21" y="54"/>
                  </a:lnTo>
                  <a:lnTo>
                    <a:pt x="9" y="48"/>
                  </a:lnTo>
                  <a:lnTo>
                    <a:pt x="0" y="30"/>
                  </a:lnTo>
                  <a:lnTo>
                    <a:pt x="19" y="18"/>
                  </a:lnTo>
                  <a:lnTo>
                    <a:pt x="15" y="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6" name="Freeform 259"/>
            <p:cNvSpPr>
              <a:spLocks/>
            </p:cNvSpPr>
            <p:nvPr/>
          </p:nvSpPr>
          <p:spPr bwMode="auto">
            <a:xfrm>
              <a:off x="4099" y="1888"/>
              <a:ext cx="61" cy="34"/>
            </a:xfrm>
            <a:custGeom>
              <a:avLst/>
              <a:gdLst>
                <a:gd name="T0" fmla="*/ 52 w 63"/>
                <a:gd name="T1" fmla="*/ 32 h 35"/>
                <a:gd name="T2" fmla="*/ 63 w 63"/>
                <a:gd name="T3" fmla="*/ 8 h 35"/>
                <a:gd name="T4" fmla="*/ 22 w 63"/>
                <a:gd name="T5" fmla="*/ 0 h 35"/>
                <a:gd name="T6" fmla="*/ 0 w 63"/>
                <a:gd name="T7" fmla="*/ 12 h 35"/>
                <a:gd name="T8" fmla="*/ 12 w 63"/>
                <a:gd name="T9" fmla="*/ 35 h 35"/>
                <a:gd name="T10" fmla="*/ 52 w 63"/>
                <a:gd name="T11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35">
                  <a:moveTo>
                    <a:pt x="52" y="32"/>
                  </a:moveTo>
                  <a:lnTo>
                    <a:pt x="63" y="8"/>
                  </a:lnTo>
                  <a:lnTo>
                    <a:pt x="22" y="0"/>
                  </a:lnTo>
                  <a:lnTo>
                    <a:pt x="0" y="12"/>
                  </a:lnTo>
                  <a:lnTo>
                    <a:pt x="12" y="35"/>
                  </a:lnTo>
                  <a:lnTo>
                    <a:pt x="52" y="3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7" name="Freeform 260"/>
            <p:cNvSpPr>
              <a:spLocks/>
            </p:cNvSpPr>
            <p:nvPr/>
          </p:nvSpPr>
          <p:spPr bwMode="auto">
            <a:xfrm>
              <a:off x="4155" y="1914"/>
              <a:ext cx="135" cy="338"/>
            </a:xfrm>
            <a:custGeom>
              <a:avLst/>
              <a:gdLst>
                <a:gd name="T0" fmla="*/ 72 w 138"/>
                <a:gd name="T1" fmla="*/ 19 h 346"/>
                <a:gd name="T2" fmla="*/ 91 w 138"/>
                <a:gd name="T3" fmla="*/ 0 h 346"/>
                <a:gd name="T4" fmla="*/ 94 w 138"/>
                <a:gd name="T5" fmla="*/ 43 h 346"/>
                <a:gd name="T6" fmla="*/ 82 w 138"/>
                <a:gd name="T7" fmla="*/ 63 h 346"/>
                <a:gd name="T8" fmla="*/ 90 w 138"/>
                <a:gd name="T9" fmla="*/ 75 h 346"/>
                <a:gd name="T10" fmla="*/ 106 w 138"/>
                <a:gd name="T11" fmla="*/ 72 h 346"/>
                <a:gd name="T12" fmla="*/ 108 w 138"/>
                <a:gd name="T13" fmla="*/ 94 h 346"/>
                <a:gd name="T14" fmla="*/ 120 w 138"/>
                <a:gd name="T15" fmla="*/ 120 h 346"/>
                <a:gd name="T16" fmla="*/ 138 w 138"/>
                <a:gd name="T17" fmla="*/ 130 h 346"/>
                <a:gd name="T18" fmla="*/ 123 w 138"/>
                <a:gd name="T19" fmla="*/ 157 h 346"/>
                <a:gd name="T20" fmla="*/ 106 w 138"/>
                <a:gd name="T21" fmla="*/ 153 h 346"/>
                <a:gd name="T22" fmla="*/ 85 w 138"/>
                <a:gd name="T23" fmla="*/ 180 h 346"/>
                <a:gd name="T24" fmla="*/ 88 w 138"/>
                <a:gd name="T25" fmla="*/ 216 h 346"/>
                <a:gd name="T26" fmla="*/ 108 w 138"/>
                <a:gd name="T27" fmla="*/ 244 h 346"/>
                <a:gd name="T28" fmla="*/ 93 w 138"/>
                <a:gd name="T29" fmla="*/ 259 h 346"/>
                <a:gd name="T30" fmla="*/ 103 w 138"/>
                <a:gd name="T31" fmla="*/ 288 h 346"/>
                <a:gd name="T32" fmla="*/ 109 w 138"/>
                <a:gd name="T33" fmla="*/ 313 h 346"/>
                <a:gd name="T34" fmla="*/ 99 w 138"/>
                <a:gd name="T35" fmla="*/ 346 h 346"/>
                <a:gd name="T36" fmla="*/ 93 w 138"/>
                <a:gd name="T37" fmla="*/ 319 h 346"/>
                <a:gd name="T38" fmla="*/ 82 w 138"/>
                <a:gd name="T39" fmla="*/ 279 h 346"/>
                <a:gd name="T40" fmla="*/ 75 w 138"/>
                <a:gd name="T41" fmla="*/ 249 h 346"/>
                <a:gd name="T42" fmla="*/ 61 w 138"/>
                <a:gd name="T43" fmla="*/ 219 h 346"/>
                <a:gd name="T44" fmla="*/ 42 w 138"/>
                <a:gd name="T45" fmla="*/ 243 h 346"/>
                <a:gd name="T46" fmla="*/ 18 w 138"/>
                <a:gd name="T47" fmla="*/ 244 h 346"/>
                <a:gd name="T48" fmla="*/ 9 w 138"/>
                <a:gd name="T49" fmla="*/ 231 h 346"/>
                <a:gd name="T50" fmla="*/ 22 w 138"/>
                <a:gd name="T51" fmla="*/ 226 h 346"/>
                <a:gd name="T52" fmla="*/ 27 w 138"/>
                <a:gd name="T53" fmla="*/ 202 h 346"/>
                <a:gd name="T54" fmla="*/ 21 w 138"/>
                <a:gd name="T55" fmla="*/ 192 h 346"/>
                <a:gd name="T56" fmla="*/ 15 w 138"/>
                <a:gd name="T57" fmla="*/ 154 h 346"/>
                <a:gd name="T58" fmla="*/ 4 w 138"/>
                <a:gd name="T59" fmla="*/ 157 h 346"/>
                <a:gd name="T60" fmla="*/ 0 w 138"/>
                <a:gd name="T61" fmla="*/ 147 h 346"/>
                <a:gd name="T62" fmla="*/ 9 w 138"/>
                <a:gd name="T63" fmla="*/ 126 h 346"/>
                <a:gd name="T64" fmla="*/ 22 w 138"/>
                <a:gd name="T65" fmla="*/ 124 h 346"/>
                <a:gd name="T66" fmla="*/ 25 w 138"/>
                <a:gd name="T67" fmla="*/ 94 h 346"/>
                <a:gd name="T68" fmla="*/ 36 w 138"/>
                <a:gd name="T69" fmla="*/ 57 h 346"/>
                <a:gd name="T70" fmla="*/ 55 w 138"/>
                <a:gd name="T71" fmla="*/ 31 h 346"/>
                <a:gd name="T72" fmla="*/ 72 w 138"/>
                <a:gd name="T73" fmla="*/ 19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8" h="346">
                  <a:moveTo>
                    <a:pt x="72" y="19"/>
                  </a:moveTo>
                  <a:lnTo>
                    <a:pt x="91" y="0"/>
                  </a:lnTo>
                  <a:lnTo>
                    <a:pt x="94" y="43"/>
                  </a:lnTo>
                  <a:lnTo>
                    <a:pt x="82" y="63"/>
                  </a:lnTo>
                  <a:lnTo>
                    <a:pt x="90" y="75"/>
                  </a:lnTo>
                  <a:lnTo>
                    <a:pt x="106" y="72"/>
                  </a:lnTo>
                  <a:lnTo>
                    <a:pt x="108" y="94"/>
                  </a:lnTo>
                  <a:lnTo>
                    <a:pt x="120" y="120"/>
                  </a:lnTo>
                  <a:lnTo>
                    <a:pt x="138" y="130"/>
                  </a:lnTo>
                  <a:lnTo>
                    <a:pt x="123" y="157"/>
                  </a:lnTo>
                  <a:lnTo>
                    <a:pt x="106" y="153"/>
                  </a:lnTo>
                  <a:lnTo>
                    <a:pt x="85" y="180"/>
                  </a:lnTo>
                  <a:lnTo>
                    <a:pt x="88" y="216"/>
                  </a:lnTo>
                  <a:lnTo>
                    <a:pt x="108" y="244"/>
                  </a:lnTo>
                  <a:lnTo>
                    <a:pt x="93" y="259"/>
                  </a:lnTo>
                  <a:lnTo>
                    <a:pt x="103" y="288"/>
                  </a:lnTo>
                  <a:lnTo>
                    <a:pt x="109" y="313"/>
                  </a:lnTo>
                  <a:lnTo>
                    <a:pt x="99" y="346"/>
                  </a:lnTo>
                  <a:lnTo>
                    <a:pt x="93" y="319"/>
                  </a:lnTo>
                  <a:lnTo>
                    <a:pt x="82" y="279"/>
                  </a:lnTo>
                  <a:lnTo>
                    <a:pt x="75" y="249"/>
                  </a:lnTo>
                  <a:lnTo>
                    <a:pt x="61" y="219"/>
                  </a:lnTo>
                  <a:lnTo>
                    <a:pt x="42" y="243"/>
                  </a:lnTo>
                  <a:lnTo>
                    <a:pt x="18" y="244"/>
                  </a:lnTo>
                  <a:lnTo>
                    <a:pt x="9" y="231"/>
                  </a:lnTo>
                  <a:lnTo>
                    <a:pt x="22" y="226"/>
                  </a:lnTo>
                  <a:lnTo>
                    <a:pt x="27" y="202"/>
                  </a:lnTo>
                  <a:lnTo>
                    <a:pt x="21" y="192"/>
                  </a:lnTo>
                  <a:lnTo>
                    <a:pt x="15" y="154"/>
                  </a:lnTo>
                  <a:lnTo>
                    <a:pt x="4" y="157"/>
                  </a:lnTo>
                  <a:lnTo>
                    <a:pt x="0" y="147"/>
                  </a:lnTo>
                  <a:lnTo>
                    <a:pt x="9" y="126"/>
                  </a:lnTo>
                  <a:lnTo>
                    <a:pt x="22" y="124"/>
                  </a:lnTo>
                  <a:lnTo>
                    <a:pt x="25" y="94"/>
                  </a:lnTo>
                  <a:lnTo>
                    <a:pt x="36" y="57"/>
                  </a:lnTo>
                  <a:lnTo>
                    <a:pt x="55" y="31"/>
                  </a:lnTo>
                  <a:lnTo>
                    <a:pt x="72" y="1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8" name="Freeform 262"/>
            <p:cNvSpPr>
              <a:spLocks/>
            </p:cNvSpPr>
            <p:nvPr/>
          </p:nvSpPr>
          <p:spPr bwMode="auto">
            <a:xfrm>
              <a:off x="4276" y="2006"/>
              <a:ext cx="107" cy="168"/>
            </a:xfrm>
            <a:custGeom>
              <a:avLst/>
              <a:gdLst>
                <a:gd name="T0" fmla="*/ 27 w 213"/>
                <a:gd name="T1" fmla="*/ 69 h 333"/>
                <a:gd name="T2" fmla="*/ 50 w 213"/>
                <a:gd name="T3" fmla="*/ 59 h 333"/>
                <a:gd name="T4" fmla="*/ 32 w 213"/>
                <a:gd name="T5" fmla="*/ 15 h 333"/>
                <a:gd name="T6" fmla="*/ 47 w 213"/>
                <a:gd name="T7" fmla="*/ 0 h 333"/>
                <a:gd name="T8" fmla="*/ 66 w 213"/>
                <a:gd name="T9" fmla="*/ 0 h 333"/>
                <a:gd name="T10" fmla="*/ 80 w 213"/>
                <a:gd name="T11" fmla="*/ 42 h 333"/>
                <a:gd name="T12" fmla="*/ 108 w 213"/>
                <a:gd name="T13" fmla="*/ 60 h 333"/>
                <a:gd name="T14" fmla="*/ 122 w 213"/>
                <a:gd name="T15" fmla="*/ 45 h 333"/>
                <a:gd name="T16" fmla="*/ 143 w 213"/>
                <a:gd name="T17" fmla="*/ 71 h 333"/>
                <a:gd name="T18" fmla="*/ 137 w 213"/>
                <a:gd name="T19" fmla="*/ 110 h 333"/>
                <a:gd name="T20" fmla="*/ 135 w 213"/>
                <a:gd name="T21" fmla="*/ 131 h 333"/>
                <a:gd name="T22" fmla="*/ 111 w 213"/>
                <a:gd name="T23" fmla="*/ 132 h 333"/>
                <a:gd name="T24" fmla="*/ 125 w 213"/>
                <a:gd name="T25" fmla="*/ 164 h 333"/>
                <a:gd name="T26" fmla="*/ 138 w 213"/>
                <a:gd name="T27" fmla="*/ 194 h 333"/>
                <a:gd name="T28" fmla="*/ 156 w 213"/>
                <a:gd name="T29" fmla="*/ 212 h 333"/>
                <a:gd name="T30" fmla="*/ 179 w 213"/>
                <a:gd name="T31" fmla="*/ 245 h 333"/>
                <a:gd name="T32" fmla="*/ 209 w 213"/>
                <a:gd name="T33" fmla="*/ 276 h 333"/>
                <a:gd name="T34" fmla="*/ 213 w 213"/>
                <a:gd name="T35" fmla="*/ 312 h 333"/>
                <a:gd name="T36" fmla="*/ 206 w 213"/>
                <a:gd name="T37" fmla="*/ 333 h 333"/>
                <a:gd name="T38" fmla="*/ 162 w 213"/>
                <a:gd name="T39" fmla="*/ 333 h 333"/>
                <a:gd name="T40" fmla="*/ 156 w 213"/>
                <a:gd name="T41" fmla="*/ 281 h 333"/>
                <a:gd name="T42" fmla="*/ 131 w 213"/>
                <a:gd name="T43" fmla="*/ 255 h 333"/>
                <a:gd name="T44" fmla="*/ 126 w 213"/>
                <a:gd name="T45" fmla="*/ 201 h 333"/>
                <a:gd name="T46" fmla="*/ 99 w 213"/>
                <a:gd name="T47" fmla="*/ 195 h 333"/>
                <a:gd name="T48" fmla="*/ 96 w 213"/>
                <a:gd name="T49" fmla="*/ 173 h 333"/>
                <a:gd name="T50" fmla="*/ 65 w 213"/>
                <a:gd name="T51" fmla="*/ 177 h 333"/>
                <a:gd name="T52" fmla="*/ 50 w 213"/>
                <a:gd name="T53" fmla="*/ 206 h 333"/>
                <a:gd name="T54" fmla="*/ 14 w 213"/>
                <a:gd name="T55" fmla="*/ 191 h 333"/>
                <a:gd name="T56" fmla="*/ 17 w 213"/>
                <a:gd name="T57" fmla="*/ 153 h 333"/>
                <a:gd name="T58" fmla="*/ 23 w 213"/>
                <a:gd name="T59" fmla="*/ 135 h 333"/>
                <a:gd name="T60" fmla="*/ 0 w 213"/>
                <a:gd name="T61" fmla="*/ 122 h 333"/>
                <a:gd name="T62" fmla="*/ 27 w 213"/>
                <a:gd name="T63" fmla="*/ 69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3" h="333">
                  <a:moveTo>
                    <a:pt x="27" y="69"/>
                  </a:moveTo>
                  <a:lnTo>
                    <a:pt x="50" y="59"/>
                  </a:lnTo>
                  <a:lnTo>
                    <a:pt x="32" y="15"/>
                  </a:lnTo>
                  <a:lnTo>
                    <a:pt x="47" y="0"/>
                  </a:lnTo>
                  <a:lnTo>
                    <a:pt x="66" y="0"/>
                  </a:lnTo>
                  <a:lnTo>
                    <a:pt x="80" y="42"/>
                  </a:lnTo>
                  <a:lnTo>
                    <a:pt x="108" y="60"/>
                  </a:lnTo>
                  <a:lnTo>
                    <a:pt x="122" y="45"/>
                  </a:lnTo>
                  <a:lnTo>
                    <a:pt x="143" y="71"/>
                  </a:lnTo>
                  <a:lnTo>
                    <a:pt x="137" y="110"/>
                  </a:lnTo>
                  <a:lnTo>
                    <a:pt x="135" y="131"/>
                  </a:lnTo>
                  <a:lnTo>
                    <a:pt x="111" y="132"/>
                  </a:lnTo>
                  <a:lnTo>
                    <a:pt x="125" y="164"/>
                  </a:lnTo>
                  <a:lnTo>
                    <a:pt x="138" y="194"/>
                  </a:lnTo>
                  <a:lnTo>
                    <a:pt x="156" y="212"/>
                  </a:lnTo>
                  <a:lnTo>
                    <a:pt x="179" y="245"/>
                  </a:lnTo>
                  <a:lnTo>
                    <a:pt x="209" y="276"/>
                  </a:lnTo>
                  <a:lnTo>
                    <a:pt x="213" y="312"/>
                  </a:lnTo>
                  <a:lnTo>
                    <a:pt x="206" y="333"/>
                  </a:lnTo>
                  <a:lnTo>
                    <a:pt x="162" y="333"/>
                  </a:lnTo>
                  <a:lnTo>
                    <a:pt x="156" y="281"/>
                  </a:lnTo>
                  <a:lnTo>
                    <a:pt x="131" y="255"/>
                  </a:lnTo>
                  <a:lnTo>
                    <a:pt x="126" y="201"/>
                  </a:lnTo>
                  <a:lnTo>
                    <a:pt x="99" y="195"/>
                  </a:lnTo>
                  <a:lnTo>
                    <a:pt x="96" y="173"/>
                  </a:lnTo>
                  <a:lnTo>
                    <a:pt x="65" y="177"/>
                  </a:lnTo>
                  <a:lnTo>
                    <a:pt x="50" y="206"/>
                  </a:lnTo>
                  <a:lnTo>
                    <a:pt x="14" y="191"/>
                  </a:lnTo>
                  <a:lnTo>
                    <a:pt x="17" y="153"/>
                  </a:lnTo>
                  <a:lnTo>
                    <a:pt x="23" y="135"/>
                  </a:lnTo>
                  <a:lnTo>
                    <a:pt x="0" y="122"/>
                  </a:lnTo>
                  <a:lnTo>
                    <a:pt x="27" y="6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9" name="Freeform 263"/>
            <p:cNvSpPr>
              <a:spLocks/>
            </p:cNvSpPr>
            <p:nvPr/>
          </p:nvSpPr>
          <p:spPr bwMode="auto">
            <a:xfrm>
              <a:off x="4308" y="2174"/>
              <a:ext cx="79" cy="95"/>
            </a:xfrm>
            <a:custGeom>
              <a:avLst/>
              <a:gdLst>
                <a:gd name="T0" fmla="*/ 3 w 156"/>
                <a:gd name="T1" fmla="*/ 135 h 188"/>
                <a:gd name="T2" fmla="*/ 11 w 156"/>
                <a:gd name="T3" fmla="*/ 107 h 188"/>
                <a:gd name="T4" fmla="*/ 0 w 156"/>
                <a:gd name="T5" fmla="*/ 90 h 188"/>
                <a:gd name="T6" fmla="*/ 5 w 156"/>
                <a:gd name="T7" fmla="*/ 41 h 188"/>
                <a:gd name="T8" fmla="*/ 32 w 156"/>
                <a:gd name="T9" fmla="*/ 26 h 188"/>
                <a:gd name="T10" fmla="*/ 68 w 156"/>
                <a:gd name="T11" fmla="*/ 33 h 188"/>
                <a:gd name="T12" fmla="*/ 72 w 156"/>
                <a:gd name="T13" fmla="*/ 2 h 188"/>
                <a:gd name="T14" fmla="*/ 90 w 156"/>
                <a:gd name="T15" fmla="*/ 15 h 188"/>
                <a:gd name="T16" fmla="*/ 99 w 156"/>
                <a:gd name="T17" fmla="*/ 0 h 188"/>
                <a:gd name="T18" fmla="*/ 143 w 156"/>
                <a:gd name="T19" fmla="*/ 3 h 188"/>
                <a:gd name="T20" fmla="*/ 156 w 156"/>
                <a:gd name="T21" fmla="*/ 42 h 188"/>
                <a:gd name="T22" fmla="*/ 155 w 156"/>
                <a:gd name="T23" fmla="*/ 98 h 188"/>
                <a:gd name="T24" fmla="*/ 134 w 156"/>
                <a:gd name="T25" fmla="*/ 141 h 188"/>
                <a:gd name="T26" fmla="*/ 104 w 156"/>
                <a:gd name="T27" fmla="*/ 161 h 188"/>
                <a:gd name="T28" fmla="*/ 72 w 156"/>
                <a:gd name="T29" fmla="*/ 156 h 188"/>
                <a:gd name="T30" fmla="*/ 51 w 156"/>
                <a:gd name="T31" fmla="*/ 188 h 188"/>
                <a:gd name="T32" fmla="*/ 23 w 156"/>
                <a:gd name="T33" fmla="*/ 168 h 188"/>
                <a:gd name="T34" fmla="*/ 3 w 156"/>
                <a:gd name="T35" fmla="*/ 13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6" h="188">
                  <a:moveTo>
                    <a:pt x="3" y="135"/>
                  </a:moveTo>
                  <a:lnTo>
                    <a:pt x="11" y="107"/>
                  </a:lnTo>
                  <a:lnTo>
                    <a:pt x="0" y="90"/>
                  </a:lnTo>
                  <a:lnTo>
                    <a:pt x="5" y="41"/>
                  </a:lnTo>
                  <a:lnTo>
                    <a:pt x="32" y="26"/>
                  </a:lnTo>
                  <a:lnTo>
                    <a:pt x="68" y="33"/>
                  </a:lnTo>
                  <a:lnTo>
                    <a:pt x="72" y="2"/>
                  </a:lnTo>
                  <a:lnTo>
                    <a:pt x="90" y="15"/>
                  </a:lnTo>
                  <a:lnTo>
                    <a:pt x="99" y="0"/>
                  </a:lnTo>
                  <a:lnTo>
                    <a:pt x="143" y="3"/>
                  </a:lnTo>
                  <a:lnTo>
                    <a:pt x="156" y="42"/>
                  </a:lnTo>
                  <a:lnTo>
                    <a:pt x="155" y="98"/>
                  </a:lnTo>
                  <a:lnTo>
                    <a:pt x="134" y="141"/>
                  </a:lnTo>
                  <a:lnTo>
                    <a:pt x="104" y="161"/>
                  </a:lnTo>
                  <a:lnTo>
                    <a:pt x="72" y="156"/>
                  </a:lnTo>
                  <a:lnTo>
                    <a:pt x="51" y="188"/>
                  </a:lnTo>
                  <a:lnTo>
                    <a:pt x="23" y="168"/>
                  </a:lnTo>
                  <a:lnTo>
                    <a:pt x="3" y="13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0" name="Freeform 264"/>
            <p:cNvSpPr>
              <a:spLocks/>
            </p:cNvSpPr>
            <p:nvPr/>
          </p:nvSpPr>
          <p:spPr bwMode="auto">
            <a:xfrm>
              <a:off x="4238" y="2063"/>
              <a:ext cx="120" cy="308"/>
            </a:xfrm>
            <a:custGeom>
              <a:avLst/>
              <a:gdLst>
                <a:gd name="T0" fmla="*/ 143 w 237"/>
                <a:gd name="T1" fmla="*/ 357 h 609"/>
                <a:gd name="T2" fmla="*/ 126 w 237"/>
                <a:gd name="T3" fmla="*/ 356 h 609"/>
                <a:gd name="T4" fmla="*/ 119 w 237"/>
                <a:gd name="T5" fmla="*/ 315 h 609"/>
                <a:gd name="T6" fmla="*/ 102 w 237"/>
                <a:gd name="T7" fmla="*/ 300 h 609"/>
                <a:gd name="T8" fmla="*/ 92 w 237"/>
                <a:gd name="T9" fmla="*/ 308 h 609"/>
                <a:gd name="T10" fmla="*/ 78 w 237"/>
                <a:gd name="T11" fmla="*/ 279 h 609"/>
                <a:gd name="T12" fmla="*/ 56 w 237"/>
                <a:gd name="T13" fmla="*/ 347 h 609"/>
                <a:gd name="T14" fmla="*/ 51 w 237"/>
                <a:gd name="T15" fmla="*/ 408 h 609"/>
                <a:gd name="T16" fmla="*/ 33 w 237"/>
                <a:gd name="T17" fmla="*/ 449 h 609"/>
                <a:gd name="T18" fmla="*/ 63 w 237"/>
                <a:gd name="T19" fmla="*/ 507 h 609"/>
                <a:gd name="T20" fmla="*/ 131 w 237"/>
                <a:gd name="T21" fmla="*/ 584 h 609"/>
                <a:gd name="T22" fmla="*/ 105 w 237"/>
                <a:gd name="T23" fmla="*/ 597 h 609"/>
                <a:gd name="T24" fmla="*/ 87 w 237"/>
                <a:gd name="T25" fmla="*/ 570 h 609"/>
                <a:gd name="T26" fmla="*/ 74 w 237"/>
                <a:gd name="T27" fmla="*/ 579 h 609"/>
                <a:gd name="T28" fmla="*/ 63 w 237"/>
                <a:gd name="T29" fmla="*/ 609 h 609"/>
                <a:gd name="T30" fmla="*/ 59 w 237"/>
                <a:gd name="T31" fmla="*/ 557 h 609"/>
                <a:gd name="T32" fmla="*/ 29 w 237"/>
                <a:gd name="T33" fmla="*/ 522 h 609"/>
                <a:gd name="T34" fmla="*/ 27 w 237"/>
                <a:gd name="T35" fmla="*/ 494 h 609"/>
                <a:gd name="T36" fmla="*/ 3 w 237"/>
                <a:gd name="T37" fmla="*/ 467 h 609"/>
                <a:gd name="T38" fmla="*/ 29 w 237"/>
                <a:gd name="T39" fmla="*/ 371 h 609"/>
                <a:gd name="T40" fmla="*/ 53 w 237"/>
                <a:gd name="T41" fmla="*/ 311 h 609"/>
                <a:gd name="T42" fmla="*/ 32 w 237"/>
                <a:gd name="T43" fmla="*/ 252 h 609"/>
                <a:gd name="T44" fmla="*/ 17 w 237"/>
                <a:gd name="T45" fmla="*/ 207 h 609"/>
                <a:gd name="T46" fmla="*/ 45 w 237"/>
                <a:gd name="T47" fmla="*/ 179 h 609"/>
                <a:gd name="T48" fmla="*/ 8 w 237"/>
                <a:gd name="T49" fmla="*/ 123 h 609"/>
                <a:gd name="T50" fmla="*/ 0 w 237"/>
                <a:gd name="T51" fmla="*/ 56 h 609"/>
                <a:gd name="T52" fmla="*/ 41 w 237"/>
                <a:gd name="T53" fmla="*/ 0 h 609"/>
                <a:gd name="T54" fmla="*/ 75 w 237"/>
                <a:gd name="T55" fmla="*/ 6 h 609"/>
                <a:gd name="T56" fmla="*/ 98 w 237"/>
                <a:gd name="T57" fmla="*/ 23 h 609"/>
                <a:gd name="T58" fmla="*/ 93 w 237"/>
                <a:gd name="T59" fmla="*/ 50 h 609"/>
                <a:gd name="T60" fmla="*/ 89 w 237"/>
                <a:gd name="T61" fmla="*/ 81 h 609"/>
                <a:gd name="T62" fmla="*/ 123 w 237"/>
                <a:gd name="T63" fmla="*/ 90 h 609"/>
                <a:gd name="T64" fmla="*/ 141 w 237"/>
                <a:gd name="T65" fmla="*/ 62 h 609"/>
                <a:gd name="T66" fmla="*/ 173 w 237"/>
                <a:gd name="T67" fmla="*/ 60 h 609"/>
                <a:gd name="T68" fmla="*/ 177 w 237"/>
                <a:gd name="T69" fmla="*/ 81 h 609"/>
                <a:gd name="T70" fmla="*/ 201 w 237"/>
                <a:gd name="T71" fmla="*/ 86 h 609"/>
                <a:gd name="T72" fmla="*/ 207 w 237"/>
                <a:gd name="T73" fmla="*/ 144 h 609"/>
                <a:gd name="T74" fmla="*/ 233 w 237"/>
                <a:gd name="T75" fmla="*/ 168 h 609"/>
                <a:gd name="T76" fmla="*/ 237 w 237"/>
                <a:gd name="T77" fmla="*/ 219 h 609"/>
                <a:gd name="T78" fmla="*/ 228 w 237"/>
                <a:gd name="T79" fmla="*/ 234 h 609"/>
                <a:gd name="T80" fmla="*/ 215 w 237"/>
                <a:gd name="T81" fmla="*/ 222 h 609"/>
                <a:gd name="T82" fmla="*/ 206 w 237"/>
                <a:gd name="T83" fmla="*/ 257 h 609"/>
                <a:gd name="T84" fmla="*/ 171 w 237"/>
                <a:gd name="T85" fmla="*/ 245 h 609"/>
                <a:gd name="T86" fmla="*/ 143 w 237"/>
                <a:gd name="T87" fmla="*/ 257 h 609"/>
                <a:gd name="T88" fmla="*/ 140 w 237"/>
                <a:gd name="T89" fmla="*/ 311 h 609"/>
                <a:gd name="T90" fmla="*/ 150 w 237"/>
                <a:gd name="T91" fmla="*/ 329 h 609"/>
                <a:gd name="T92" fmla="*/ 143 w 237"/>
                <a:gd name="T93" fmla="*/ 357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7" h="609">
                  <a:moveTo>
                    <a:pt x="143" y="357"/>
                  </a:moveTo>
                  <a:lnTo>
                    <a:pt x="126" y="356"/>
                  </a:lnTo>
                  <a:lnTo>
                    <a:pt x="119" y="315"/>
                  </a:lnTo>
                  <a:lnTo>
                    <a:pt x="102" y="300"/>
                  </a:lnTo>
                  <a:lnTo>
                    <a:pt x="92" y="308"/>
                  </a:lnTo>
                  <a:lnTo>
                    <a:pt x="78" y="279"/>
                  </a:lnTo>
                  <a:lnTo>
                    <a:pt x="56" y="347"/>
                  </a:lnTo>
                  <a:lnTo>
                    <a:pt x="51" y="408"/>
                  </a:lnTo>
                  <a:lnTo>
                    <a:pt x="33" y="449"/>
                  </a:lnTo>
                  <a:lnTo>
                    <a:pt x="63" y="507"/>
                  </a:lnTo>
                  <a:lnTo>
                    <a:pt x="131" y="584"/>
                  </a:lnTo>
                  <a:lnTo>
                    <a:pt x="105" y="597"/>
                  </a:lnTo>
                  <a:lnTo>
                    <a:pt x="87" y="570"/>
                  </a:lnTo>
                  <a:lnTo>
                    <a:pt x="74" y="579"/>
                  </a:lnTo>
                  <a:lnTo>
                    <a:pt x="63" y="609"/>
                  </a:lnTo>
                  <a:lnTo>
                    <a:pt x="59" y="557"/>
                  </a:lnTo>
                  <a:lnTo>
                    <a:pt x="29" y="522"/>
                  </a:lnTo>
                  <a:lnTo>
                    <a:pt x="27" y="494"/>
                  </a:lnTo>
                  <a:lnTo>
                    <a:pt x="3" y="467"/>
                  </a:lnTo>
                  <a:lnTo>
                    <a:pt x="29" y="371"/>
                  </a:lnTo>
                  <a:lnTo>
                    <a:pt x="53" y="311"/>
                  </a:lnTo>
                  <a:lnTo>
                    <a:pt x="32" y="252"/>
                  </a:lnTo>
                  <a:lnTo>
                    <a:pt x="17" y="207"/>
                  </a:lnTo>
                  <a:lnTo>
                    <a:pt x="45" y="179"/>
                  </a:lnTo>
                  <a:lnTo>
                    <a:pt x="8" y="123"/>
                  </a:lnTo>
                  <a:lnTo>
                    <a:pt x="0" y="56"/>
                  </a:lnTo>
                  <a:lnTo>
                    <a:pt x="41" y="0"/>
                  </a:lnTo>
                  <a:lnTo>
                    <a:pt x="75" y="6"/>
                  </a:lnTo>
                  <a:lnTo>
                    <a:pt x="98" y="23"/>
                  </a:lnTo>
                  <a:lnTo>
                    <a:pt x="93" y="50"/>
                  </a:lnTo>
                  <a:lnTo>
                    <a:pt x="89" y="81"/>
                  </a:lnTo>
                  <a:lnTo>
                    <a:pt x="123" y="90"/>
                  </a:lnTo>
                  <a:lnTo>
                    <a:pt x="141" y="62"/>
                  </a:lnTo>
                  <a:lnTo>
                    <a:pt x="173" y="60"/>
                  </a:lnTo>
                  <a:lnTo>
                    <a:pt x="177" y="81"/>
                  </a:lnTo>
                  <a:lnTo>
                    <a:pt x="201" y="86"/>
                  </a:lnTo>
                  <a:lnTo>
                    <a:pt x="207" y="144"/>
                  </a:lnTo>
                  <a:lnTo>
                    <a:pt x="233" y="168"/>
                  </a:lnTo>
                  <a:lnTo>
                    <a:pt x="237" y="219"/>
                  </a:lnTo>
                  <a:lnTo>
                    <a:pt x="228" y="234"/>
                  </a:lnTo>
                  <a:lnTo>
                    <a:pt x="215" y="222"/>
                  </a:lnTo>
                  <a:lnTo>
                    <a:pt x="206" y="257"/>
                  </a:lnTo>
                  <a:lnTo>
                    <a:pt x="171" y="245"/>
                  </a:lnTo>
                  <a:lnTo>
                    <a:pt x="143" y="257"/>
                  </a:lnTo>
                  <a:lnTo>
                    <a:pt x="140" y="311"/>
                  </a:lnTo>
                  <a:lnTo>
                    <a:pt x="150" y="329"/>
                  </a:lnTo>
                  <a:lnTo>
                    <a:pt x="143" y="35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1" name="Freeform 265"/>
            <p:cNvSpPr>
              <a:spLocks/>
            </p:cNvSpPr>
            <p:nvPr/>
          </p:nvSpPr>
          <p:spPr bwMode="auto">
            <a:xfrm>
              <a:off x="4309" y="2004"/>
              <a:ext cx="101" cy="299"/>
            </a:xfrm>
            <a:custGeom>
              <a:avLst/>
              <a:gdLst>
                <a:gd name="T0" fmla="*/ 51 w 201"/>
                <a:gd name="T1" fmla="*/ 524 h 590"/>
                <a:gd name="T2" fmla="*/ 51 w 201"/>
                <a:gd name="T3" fmla="*/ 563 h 590"/>
                <a:gd name="T4" fmla="*/ 66 w 201"/>
                <a:gd name="T5" fmla="*/ 590 h 590"/>
                <a:gd name="T6" fmla="*/ 87 w 201"/>
                <a:gd name="T7" fmla="*/ 561 h 590"/>
                <a:gd name="T8" fmla="*/ 75 w 201"/>
                <a:gd name="T9" fmla="*/ 543 h 590"/>
                <a:gd name="T10" fmla="*/ 99 w 201"/>
                <a:gd name="T11" fmla="*/ 554 h 590"/>
                <a:gd name="T12" fmla="*/ 111 w 201"/>
                <a:gd name="T13" fmla="*/ 540 h 590"/>
                <a:gd name="T14" fmla="*/ 94 w 201"/>
                <a:gd name="T15" fmla="*/ 524 h 590"/>
                <a:gd name="T16" fmla="*/ 135 w 201"/>
                <a:gd name="T17" fmla="*/ 525 h 590"/>
                <a:gd name="T18" fmla="*/ 159 w 201"/>
                <a:gd name="T19" fmla="*/ 501 h 590"/>
                <a:gd name="T20" fmla="*/ 184 w 201"/>
                <a:gd name="T21" fmla="*/ 474 h 590"/>
                <a:gd name="T22" fmla="*/ 199 w 201"/>
                <a:gd name="T23" fmla="*/ 465 h 590"/>
                <a:gd name="T24" fmla="*/ 201 w 201"/>
                <a:gd name="T25" fmla="*/ 437 h 590"/>
                <a:gd name="T26" fmla="*/ 189 w 201"/>
                <a:gd name="T27" fmla="*/ 428 h 590"/>
                <a:gd name="T28" fmla="*/ 201 w 201"/>
                <a:gd name="T29" fmla="*/ 419 h 590"/>
                <a:gd name="T30" fmla="*/ 186 w 201"/>
                <a:gd name="T31" fmla="*/ 365 h 590"/>
                <a:gd name="T32" fmla="*/ 174 w 201"/>
                <a:gd name="T33" fmla="*/ 317 h 590"/>
                <a:gd name="T34" fmla="*/ 165 w 201"/>
                <a:gd name="T35" fmla="*/ 311 h 590"/>
                <a:gd name="T36" fmla="*/ 159 w 201"/>
                <a:gd name="T37" fmla="*/ 278 h 590"/>
                <a:gd name="T38" fmla="*/ 138 w 201"/>
                <a:gd name="T39" fmla="*/ 248 h 590"/>
                <a:gd name="T40" fmla="*/ 102 w 201"/>
                <a:gd name="T41" fmla="*/ 203 h 590"/>
                <a:gd name="T42" fmla="*/ 90 w 201"/>
                <a:gd name="T43" fmla="*/ 173 h 590"/>
                <a:gd name="T44" fmla="*/ 93 w 201"/>
                <a:gd name="T45" fmla="*/ 122 h 590"/>
                <a:gd name="T46" fmla="*/ 129 w 201"/>
                <a:gd name="T47" fmla="*/ 89 h 590"/>
                <a:gd name="T48" fmla="*/ 172 w 201"/>
                <a:gd name="T49" fmla="*/ 65 h 590"/>
                <a:gd name="T50" fmla="*/ 124 w 201"/>
                <a:gd name="T51" fmla="*/ 63 h 590"/>
                <a:gd name="T52" fmla="*/ 115 w 201"/>
                <a:gd name="T53" fmla="*/ 20 h 590"/>
                <a:gd name="T54" fmla="*/ 81 w 201"/>
                <a:gd name="T55" fmla="*/ 0 h 590"/>
                <a:gd name="T56" fmla="*/ 43 w 201"/>
                <a:gd name="T57" fmla="*/ 14 h 590"/>
                <a:gd name="T58" fmla="*/ 27 w 201"/>
                <a:gd name="T59" fmla="*/ 20 h 590"/>
                <a:gd name="T60" fmla="*/ 0 w 201"/>
                <a:gd name="T61" fmla="*/ 5 h 590"/>
                <a:gd name="T62" fmla="*/ 15 w 201"/>
                <a:gd name="T63" fmla="*/ 47 h 590"/>
                <a:gd name="T64" fmla="*/ 43 w 201"/>
                <a:gd name="T65" fmla="*/ 63 h 590"/>
                <a:gd name="T66" fmla="*/ 57 w 201"/>
                <a:gd name="T67" fmla="*/ 50 h 590"/>
                <a:gd name="T68" fmla="*/ 79 w 201"/>
                <a:gd name="T69" fmla="*/ 78 h 590"/>
                <a:gd name="T70" fmla="*/ 70 w 201"/>
                <a:gd name="T71" fmla="*/ 135 h 590"/>
                <a:gd name="T72" fmla="*/ 46 w 201"/>
                <a:gd name="T73" fmla="*/ 135 h 590"/>
                <a:gd name="T74" fmla="*/ 75 w 201"/>
                <a:gd name="T75" fmla="*/ 198 h 590"/>
                <a:gd name="T76" fmla="*/ 91 w 201"/>
                <a:gd name="T77" fmla="*/ 216 h 590"/>
                <a:gd name="T78" fmla="*/ 115 w 201"/>
                <a:gd name="T79" fmla="*/ 251 h 590"/>
                <a:gd name="T80" fmla="*/ 144 w 201"/>
                <a:gd name="T81" fmla="*/ 279 h 590"/>
                <a:gd name="T82" fmla="*/ 148 w 201"/>
                <a:gd name="T83" fmla="*/ 315 h 590"/>
                <a:gd name="T84" fmla="*/ 141 w 201"/>
                <a:gd name="T85" fmla="*/ 344 h 590"/>
                <a:gd name="T86" fmla="*/ 154 w 201"/>
                <a:gd name="T87" fmla="*/ 380 h 590"/>
                <a:gd name="T88" fmla="*/ 153 w 201"/>
                <a:gd name="T89" fmla="*/ 437 h 590"/>
                <a:gd name="T90" fmla="*/ 132 w 201"/>
                <a:gd name="T91" fmla="*/ 477 h 590"/>
                <a:gd name="T92" fmla="*/ 100 w 201"/>
                <a:gd name="T93" fmla="*/ 500 h 590"/>
                <a:gd name="T94" fmla="*/ 70 w 201"/>
                <a:gd name="T95" fmla="*/ 492 h 590"/>
                <a:gd name="T96" fmla="*/ 51 w 201"/>
                <a:gd name="T97" fmla="*/ 524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1" h="590">
                  <a:moveTo>
                    <a:pt x="51" y="524"/>
                  </a:moveTo>
                  <a:lnTo>
                    <a:pt x="51" y="563"/>
                  </a:lnTo>
                  <a:lnTo>
                    <a:pt x="66" y="590"/>
                  </a:lnTo>
                  <a:lnTo>
                    <a:pt x="87" y="561"/>
                  </a:lnTo>
                  <a:lnTo>
                    <a:pt x="75" y="543"/>
                  </a:lnTo>
                  <a:lnTo>
                    <a:pt x="99" y="554"/>
                  </a:lnTo>
                  <a:lnTo>
                    <a:pt x="111" y="540"/>
                  </a:lnTo>
                  <a:lnTo>
                    <a:pt x="94" y="524"/>
                  </a:lnTo>
                  <a:lnTo>
                    <a:pt x="135" y="525"/>
                  </a:lnTo>
                  <a:lnTo>
                    <a:pt x="159" y="501"/>
                  </a:lnTo>
                  <a:lnTo>
                    <a:pt x="184" y="474"/>
                  </a:lnTo>
                  <a:lnTo>
                    <a:pt x="199" y="465"/>
                  </a:lnTo>
                  <a:lnTo>
                    <a:pt x="201" y="437"/>
                  </a:lnTo>
                  <a:lnTo>
                    <a:pt x="189" y="428"/>
                  </a:lnTo>
                  <a:lnTo>
                    <a:pt x="201" y="419"/>
                  </a:lnTo>
                  <a:lnTo>
                    <a:pt x="186" y="365"/>
                  </a:lnTo>
                  <a:lnTo>
                    <a:pt x="174" y="317"/>
                  </a:lnTo>
                  <a:lnTo>
                    <a:pt x="165" y="311"/>
                  </a:lnTo>
                  <a:lnTo>
                    <a:pt x="159" y="278"/>
                  </a:lnTo>
                  <a:lnTo>
                    <a:pt x="138" y="248"/>
                  </a:lnTo>
                  <a:lnTo>
                    <a:pt x="102" y="203"/>
                  </a:lnTo>
                  <a:lnTo>
                    <a:pt x="90" y="173"/>
                  </a:lnTo>
                  <a:lnTo>
                    <a:pt x="93" y="122"/>
                  </a:lnTo>
                  <a:lnTo>
                    <a:pt x="129" y="89"/>
                  </a:lnTo>
                  <a:lnTo>
                    <a:pt x="172" y="65"/>
                  </a:lnTo>
                  <a:lnTo>
                    <a:pt x="124" y="63"/>
                  </a:lnTo>
                  <a:lnTo>
                    <a:pt x="115" y="20"/>
                  </a:lnTo>
                  <a:lnTo>
                    <a:pt x="81" y="0"/>
                  </a:lnTo>
                  <a:lnTo>
                    <a:pt x="43" y="14"/>
                  </a:lnTo>
                  <a:lnTo>
                    <a:pt x="27" y="20"/>
                  </a:lnTo>
                  <a:lnTo>
                    <a:pt x="0" y="5"/>
                  </a:lnTo>
                  <a:lnTo>
                    <a:pt x="15" y="47"/>
                  </a:lnTo>
                  <a:lnTo>
                    <a:pt x="43" y="63"/>
                  </a:lnTo>
                  <a:lnTo>
                    <a:pt x="57" y="50"/>
                  </a:lnTo>
                  <a:lnTo>
                    <a:pt x="79" y="78"/>
                  </a:lnTo>
                  <a:lnTo>
                    <a:pt x="70" y="135"/>
                  </a:lnTo>
                  <a:lnTo>
                    <a:pt x="46" y="135"/>
                  </a:lnTo>
                  <a:lnTo>
                    <a:pt x="75" y="198"/>
                  </a:lnTo>
                  <a:lnTo>
                    <a:pt x="91" y="216"/>
                  </a:lnTo>
                  <a:lnTo>
                    <a:pt x="115" y="251"/>
                  </a:lnTo>
                  <a:lnTo>
                    <a:pt x="144" y="279"/>
                  </a:lnTo>
                  <a:lnTo>
                    <a:pt x="148" y="315"/>
                  </a:lnTo>
                  <a:lnTo>
                    <a:pt x="141" y="344"/>
                  </a:lnTo>
                  <a:lnTo>
                    <a:pt x="154" y="380"/>
                  </a:lnTo>
                  <a:lnTo>
                    <a:pt x="153" y="437"/>
                  </a:lnTo>
                  <a:lnTo>
                    <a:pt x="132" y="477"/>
                  </a:lnTo>
                  <a:lnTo>
                    <a:pt x="100" y="500"/>
                  </a:lnTo>
                  <a:lnTo>
                    <a:pt x="70" y="492"/>
                  </a:lnTo>
                  <a:lnTo>
                    <a:pt x="51" y="524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2" name="Freeform 266"/>
            <p:cNvSpPr>
              <a:spLocks/>
            </p:cNvSpPr>
            <p:nvPr/>
          </p:nvSpPr>
          <p:spPr bwMode="auto">
            <a:xfrm>
              <a:off x="4397" y="2069"/>
              <a:ext cx="41" cy="40"/>
            </a:xfrm>
            <a:custGeom>
              <a:avLst/>
              <a:gdLst>
                <a:gd name="T0" fmla="*/ 81 w 81"/>
                <a:gd name="T1" fmla="*/ 0 h 79"/>
                <a:gd name="T2" fmla="*/ 30 w 81"/>
                <a:gd name="T3" fmla="*/ 9 h 79"/>
                <a:gd name="T4" fmla="*/ 2 w 81"/>
                <a:gd name="T5" fmla="*/ 34 h 79"/>
                <a:gd name="T6" fmla="*/ 0 w 81"/>
                <a:gd name="T7" fmla="*/ 66 h 79"/>
                <a:gd name="T8" fmla="*/ 17 w 81"/>
                <a:gd name="T9" fmla="*/ 79 h 79"/>
                <a:gd name="T10" fmla="*/ 57 w 81"/>
                <a:gd name="T11" fmla="*/ 69 h 79"/>
                <a:gd name="T12" fmla="*/ 68 w 81"/>
                <a:gd name="T13" fmla="*/ 30 h 79"/>
                <a:gd name="T14" fmla="*/ 66 w 81"/>
                <a:gd name="T15" fmla="*/ 16 h 79"/>
                <a:gd name="T16" fmla="*/ 81 w 81"/>
                <a:gd name="T17" fmla="*/ 16 h 79"/>
                <a:gd name="T18" fmla="*/ 81 w 81"/>
                <a:gd name="T1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9">
                  <a:moveTo>
                    <a:pt x="81" y="0"/>
                  </a:moveTo>
                  <a:lnTo>
                    <a:pt x="30" y="9"/>
                  </a:lnTo>
                  <a:lnTo>
                    <a:pt x="2" y="34"/>
                  </a:lnTo>
                  <a:lnTo>
                    <a:pt x="0" y="66"/>
                  </a:lnTo>
                  <a:lnTo>
                    <a:pt x="17" y="79"/>
                  </a:lnTo>
                  <a:lnTo>
                    <a:pt x="57" y="69"/>
                  </a:lnTo>
                  <a:lnTo>
                    <a:pt x="68" y="30"/>
                  </a:lnTo>
                  <a:lnTo>
                    <a:pt x="66" y="16"/>
                  </a:lnTo>
                  <a:lnTo>
                    <a:pt x="81" y="16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3" name="Freeform 267"/>
            <p:cNvSpPr>
              <a:spLocks/>
            </p:cNvSpPr>
            <p:nvPr/>
          </p:nvSpPr>
          <p:spPr bwMode="auto">
            <a:xfrm>
              <a:off x="4573" y="1957"/>
              <a:ext cx="26" cy="65"/>
            </a:xfrm>
            <a:custGeom>
              <a:avLst/>
              <a:gdLst>
                <a:gd name="T0" fmla="*/ 48 w 51"/>
                <a:gd name="T1" fmla="*/ 0 h 129"/>
                <a:gd name="T2" fmla="*/ 12 w 51"/>
                <a:gd name="T3" fmla="*/ 33 h 129"/>
                <a:gd name="T4" fmla="*/ 0 w 51"/>
                <a:gd name="T5" fmla="*/ 79 h 129"/>
                <a:gd name="T6" fmla="*/ 15 w 51"/>
                <a:gd name="T7" fmla="*/ 129 h 129"/>
                <a:gd name="T8" fmla="*/ 42 w 51"/>
                <a:gd name="T9" fmla="*/ 118 h 129"/>
                <a:gd name="T10" fmla="*/ 42 w 51"/>
                <a:gd name="T11" fmla="*/ 72 h 129"/>
                <a:gd name="T12" fmla="*/ 51 w 51"/>
                <a:gd name="T13" fmla="*/ 28 h 129"/>
                <a:gd name="T14" fmla="*/ 48 w 51"/>
                <a:gd name="T15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129">
                  <a:moveTo>
                    <a:pt x="48" y="0"/>
                  </a:moveTo>
                  <a:lnTo>
                    <a:pt x="12" y="33"/>
                  </a:lnTo>
                  <a:lnTo>
                    <a:pt x="0" y="79"/>
                  </a:lnTo>
                  <a:lnTo>
                    <a:pt x="15" y="129"/>
                  </a:lnTo>
                  <a:lnTo>
                    <a:pt x="42" y="118"/>
                  </a:lnTo>
                  <a:lnTo>
                    <a:pt x="42" y="72"/>
                  </a:lnTo>
                  <a:lnTo>
                    <a:pt x="51" y="28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4" name="Freeform 268"/>
            <p:cNvSpPr>
              <a:spLocks/>
            </p:cNvSpPr>
            <p:nvPr/>
          </p:nvSpPr>
          <p:spPr bwMode="auto">
            <a:xfrm>
              <a:off x="3852" y="1302"/>
              <a:ext cx="956" cy="760"/>
            </a:xfrm>
            <a:custGeom>
              <a:avLst/>
              <a:gdLst>
                <a:gd name="T0" fmla="*/ 35 w 1890"/>
                <a:gd name="T1" fmla="*/ 704 h 1503"/>
                <a:gd name="T2" fmla="*/ 152 w 1890"/>
                <a:gd name="T3" fmla="*/ 816 h 1503"/>
                <a:gd name="T4" fmla="*/ 170 w 1890"/>
                <a:gd name="T5" fmla="*/ 995 h 1503"/>
                <a:gd name="T6" fmla="*/ 239 w 1890"/>
                <a:gd name="T7" fmla="*/ 1083 h 1503"/>
                <a:gd name="T8" fmla="*/ 314 w 1890"/>
                <a:gd name="T9" fmla="*/ 1119 h 1503"/>
                <a:gd name="T10" fmla="*/ 416 w 1890"/>
                <a:gd name="T11" fmla="*/ 1185 h 1503"/>
                <a:gd name="T12" fmla="*/ 530 w 1890"/>
                <a:gd name="T13" fmla="*/ 1160 h 1503"/>
                <a:gd name="T14" fmla="*/ 702 w 1890"/>
                <a:gd name="T15" fmla="*/ 1172 h 1503"/>
                <a:gd name="T16" fmla="*/ 773 w 1890"/>
                <a:gd name="T17" fmla="*/ 1211 h 1503"/>
                <a:gd name="T18" fmla="*/ 773 w 1890"/>
                <a:gd name="T19" fmla="*/ 1353 h 1503"/>
                <a:gd name="T20" fmla="*/ 830 w 1890"/>
                <a:gd name="T21" fmla="*/ 1446 h 1503"/>
                <a:gd name="T22" fmla="*/ 870 w 1890"/>
                <a:gd name="T23" fmla="*/ 1407 h 1503"/>
                <a:gd name="T24" fmla="*/ 932 w 1890"/>
                <a:gd name="T25" fmla="*/ 1410 h 1503"/>
                <a:gd name="T26" fmla="*/ 1028 w 1890"/>
                <a:gd name="T27" fmla="*/ 1452 h 1503"/>
                <a:gd name="T28" fmla="*/ 1101 w 1890"/>
                <a:gd name="T29" fmla="*/ 1442 h 1503"/>
                <a:gd name="T30" fmla="*/ 1146 w 1890"/>
                <a:gd name="T31" fmla="*/ 1485 h 1503"/>
                <a:gd name="T32" fmla="*/ 1217 w 1890"/>
                <a:gd name="T33" fmla="*/ 1433 h 1503"/>
                <a:gd name="T34" fmla="*/ 1275 w 1890"/>
                <a:gd name="T35" fmla="*/ 1413 h 1503"/>
                <a:gd name="T36" fmla="*/ 1335 w 1890"/>
                <a:gd name="T37" fmla="*/ 1365 h 1503"/>
                <a:gd name="T38" fmla="*/ 1383 w 1890"/>
                <a:gd name="T39" fmla="*/ 1329 h 1503"/>
                <a:gd name="T40" fmla="*/ 1397 w 1890"/>
                <a:gd name="T41" fmla="*/ 1250 h 1503"/>
                <a:gd name="T42" fmla="*/ 1458 w 1890"/>
                <a:gd name="T43" fmla="*/ 1166 h 1503"/>
                <a:gd name="T44" fmla="*/ 1461 w 1890"/>
                <a:gd name="T45" fmla="*/ 1124 h 1503"/>
                <a:gd name="T46" fmla="*/ 1461 w 1890"/>
                <a:gd name="T47" fmla="*/ 1077 h 1503"/>
                <a:gd name="T48" fmla="*/ 1479 w 1890"/>
                <a:gd name="T49" fmla="*/ 1052 h 1503"/>
                <a:gd name="T50" fmla="*/ 1463 w 1890"/>
                <a:gd name="T51" fmla="*/ 1004 h 1503"/>
                <a:gd name="T52" fmla="*/ 1403 w 1890"/>
                <a:gd name="T53" fmla="*/ 887 h 1503"/>
                <a:gd name="T54" fmla="*/ 1484 w 1890"/>
                <a:gd name="T55" fmla="*/ 788 h 1503"/>
                <a:gd name="T56" fmla="*/ 1452 w 1890"/>
                <a:gd name="T57" fmla="*/ 741 h 1503"/>
                <a:gd name="T58" fmla="*/ 1388 w 1890"/>
                <a:gd name="T59" fmla="*/ 774 h 1503"/>
                <a:gd name="T60" fmla="*/ 1388 w 1890"/>
                <a:gd name="T61" fmla="*/ 683 h 1503"/>
                <a:gd name="T62" fmla="*/ 1448 w 1890"/>
                <a:gd name="T63" fmla="*/ 611 h 1503"/>
                <a:gd name="T64" fmla="*/ 1463 w 1890"/>
                <a:gd name="T65" fmla="*/ 668 h 1503"/>
                <a:gd name="T66" fmla="*/ 1580 w 1890"/>
                <a:gd name="T67" fmla="*/ 659 h 1503"/>
                <a:gd name="T68" fmla="*/ 1700 w 1890"/>
                <a:gd name="T69" fmla="*/ 534 h 1503"/>
                <a:gd name="T70" fmla="*/ 1766 w 1890"/>
                <a:gd name="T71" fmla="*/ 522 h 1503"/>
                <a:gd name="T72" fmla="*/ 1863 w 1890"/>
                <a:gd name="T73" fmla="*/ 366 h 1503"/>
                <a:gd name="T74" fmla="*/ 1818 w 1890"/>
                <a:gd name="T75" fmla="*/ 258 h 1503"/>
                <a:gd name="T76" fmla="*/ 1728 w 1890"/>
                <a:gd name="T77" fmla="*/ 179 h 1503"/>
                <a:gd name="T78" fmla="*/ 1559 w 1890"/>
                <a:gd name="T79" fmla="*/ 0 h 1503"/>
                <a:gd name="T80" fmla="*/ 1433 w 1890"/>
                <a:gd name="T81" fmla="*/ 147 h 1503"/>
                <a:gd name="T82" fmla="*/ 1322 w 1890"/>
                <a:gd name="T83" fmla="*/ 233 h 1503"/>
                <a:gd name="T84" fmla="*/ 1377 w 1890"/>
                <a:gd name="T85" fmla="*/ 264 h 1503"/>
                <a:gd name="T86" fmla="*/ 1370 w 1890"/>
                <a:gd name="T87" fmla="*/ 351 h 1503"/>
                <a:gd name="T88" fmla="*/ 1212 w 1890"/>
                <a:gd name="T89" fmla="*/ 443 h 1503"/>
                <a:gd name="T90" fmla="*/ 1173 w 1890"/>
                <a:gd name="T91" fmla="*/ 504 h 1503"/>
                <a:gd name="T92" fmla="*/ 960 w 1890"/>
                <a:gd name="T93" fmla="*/ 570 h 1503"/>
                <a:gd name="T94" fmla="*/ 806 w 1890"/>
                <a:gd name="T95" fmla="*/ 536 h 1503"/>
                <a:gd name="T96" fmla="*/ 584 w 1890"/>
                <a:gd name="T97" fmla="*/ 422 h 1503"/>
                <a:gd name="T98" fmla="*/ 489 w 1890"/>
                <a:gd name="T99" fmla="*/ 291 h 1503"/>
                <a:gd name="T100" fmla="*/ 455 w 1890"/>
                <a:gd name="T101" fmla="*/ 210 h 1503"/>
                <a:gd name="T102" fmla="*/ 302 w 1890"/>
                <a:gd name="T103" fmla="*/ 314 h 1503"/>
                <a:gd name="T104" fmla="*/ 231 w 1890"/>
                <a:gd name="T105" fmla="*/ 474 h 1503"/>
                <a:gd name="T106" fmla="*/ 138 w 1890"/>
                <a:gd name="T107" fmla="*/ 587 h 1503"/>
                <a:gd name="T108" fmla="*/ 72 w 1890"/>
                <a:gd name="T109" fmla="*/ 645 h 1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90" h="1503">
                  <a:moveTo>
                    <a:pt x="0" y="671"/>
                  </a:moveTo>
                  <a:lnTo>
                    <a:pt x="8" y="695"/>
                  </a:lnTo>
                  <a:lnTo>
                    <a:pt x="35" y="704"/>
                  </a:lnTo>
                  <a:lnTo>
                    <a:pt x="44" y="783"/>
                  </a:lnTo>
                  <a:lnTo>
                    <a:pt x="99" y="833"/>
                  </a:lnTo>
                  <a:lnTo>
                    <a:pt x="152" y="816"/>
                  </a:lnTo>
                  <a:lnTo>
                    <a:pt x="200" y="852"/>
                  </a:lnTo>
                  <a:lnTo>
                    <a:pt x="152" y="935"/>
                  </a:lnTo>
                  <a:lnTo>
                    <a:pt x="170" y="995"/>
                  </a:lnTo>
                  <a:lnTo>
                    <a:pt x="192" y="1001"/>
                  </a:lnTo>
                  <a:lnTo>
                    <a:pt x="176" y="1049"/>
                  </a:lnTo>
                  <a:lnTo>
                    <a:pt x="239" y="1083"/>
                  </a:lnTo>
                  <a:lnTo>
                    <a:pt x="237" y="1095"/>
                  </a:lnTo>
                  <a:lnTo>
                    <a:pt x="273" y="1083"/>
                  </a:lnTo>
                  <a:lnTo>
                    <a:pt x="314" y="1119"/>
                  </a:lnTo>
                  <a:lnTo>
                    <a:pt x="351" y="1118"/>
                  </a:lnTo>
                  <a:lnTo>
                    <a:pt x="356" y="1145"/>
                  </a:lnTo>
                  <a:lnTo>
                    <a:pt x="416" y="1185"/>
                  </a:lnTo>
                  <a:lnTo>
                    <a:pt x="458" y="1193"/>
                  </a:lnTo>
                  <a:lnTo>
                    <a:pt x="489" y="1185"/>
                  </a:lnTo>
                  <a:lnTo>
                    <a:pt x="530" y="1160"/>
                  </a:lnTo>
                  <a:lnTo>
                    <a:pt x="611" y="1176"/>
                  </a:lnTo>
                  <a:lnTo>
                    <a:pt x="656" y="1145"/>
                  </a:lnTo>
                  <a:lnTo>
                    <a:pt x="702" y="1172"/>
                  </a:lnTo>
                  <a:lnTo>
                    <a:pt x="738" y="1206"/>
                  </a:lnTo>
                  <a:lnTo>
                    <a:pt x="740" y="1245"/>
                  </a:lnTo>
                  <a:lnTo>
                    <a:pt x="773" y="1211"/>
                  </a:lnTo>
                  <a:lnTo>
                    <a:pt x="779" y="1293"/>
                  </a:lnTo>
                  <a:lnTo>
                    <a:pt x="755" y="1334"/>
                  </a:lnTo>
                  <a:lnTo>
                    <a:pt x="773" y="1353"/>
                  </a:lnTo>
                  <a:lnTo>
                    <a:pt x="803" y="1350"/>
                  </a:lnTo>
                  <a:lnTo>
                    <a:pt x="804" y="1392"/>
                  </a:lnTo>
                  <a:lnTo>
                    <a:pt x="830" y="1446"/>
                  </a:lnTo>
                  <a:lnTo>
                    <a:pt x="863" y="1460"/>
                  </a:lnTo>
                  <a:lnTo>
                    <a:pt x="891" y="1451"/>
                  </a:lnTo>
                  <a:lnTo>
                    <a:pt x="870" y="1407"/>
                  </a:lnTo>
                  <a:lnTo>
                    <a:pt x="885" y="1392"/>
                  </a:lnTo>
                  <a:lnTo>
                    <a:pt x="903" y="1394"/>
                  </a:lnTo>
                  <a:lnTo>
                    <a:pt x="932" y="1410"/>
                  </a:lnTo>
                  <a:lnTo>
                    <a:pt x="984" y="1388"/>
                  </a:lnTo>
                  <a:lnTo>
                    <a:pt x="1019" y="1406"/>
                  </a:lnTo>
                  <a:lnTo>
                    <a:pt x="1028" y="1452"/>
                  </a:lnTo>
                  <a:lnTo>
                    <a:pt x="1073" y="1455"/>
                  </a:lnTo>
                  <a:lnTo>
                    <a:pt x="1079" y="1437"/>
                  </a:lnTo>
                  <a:lnTo>
                    <a:pt x="1101" y="1442"/>
                  </a:lnTo>
                  <a:lnTo>
                    <a:pt x="1107" y="1469"/>
                  </a:lnTo>
                  <a:lnTo>
                    <a:pt x="1127" y="1503"/>
                  </a:lnTo>
                  <a:lnTo>
                    <a:pt x="1146" y="1485"/>
                  </a:lnTo>
                  <a:lnTo>
                    <a:pt x="1136" y="1466"/>
                  </a:lnTo>
                  <a:lnTo>
                    <a:pt x="1152" y="1446"/>
                  </a:lnTo>
                  <a:lnTo>
                    <a:pt x="1217" y="1433"/>
                  </a:lnTo>
                  <a:lnTo>
                    <a:pt x="1224" y="1404"/>
                  </a:lnTo>
                  <a:lnTo>
                    <a:pt x="1238" y="1422"/>
                  </a:lnTo>
                  <a:lnTo>
                    <a:pt x="1275" y="1413"/>
                  </a:lnTo>
                  <a:lnTo>
                    <a:pt x="1307" y="1407"/>
                  </a:lnTo>
                  <a:lnTo>
                    <a:pt x="1307" y="1382"/>
                  </a:lnTo>
                  <a:lnTo>
                    <a:pt x="1335" y="1365"/>
                  </a:lnTo>
                  <a:lnTo>
                    <a:pt x="1353" y="1343"/>
                  </a:lnTo>
                  <a:lnTo>
                    <a:pt x="1353" y="1320"/>
                  </a:lnTo>
                  <a:lnTo>
                    <a:pt x="1383" y="1329"/>
                  </a:lnTo>
                  <a:lnTo>
                    <a:pt x="1379" y="1289"/>
                  </a:lnTo>
                  <a:lnTo>
                    <a:pt x="1403" y="1283"/>
                  </a:lnTo>
                  <a:lnTo>
                    <a:pt x="1397" y="1250"/>
                  </a:lnTo>
                  <a:lnTo>
                    <a:pt x="1434" y="1205"/>
                  </a:lnTo>
                  <a:lnTo>
                    <a:pt x="1445" y="1176"/>
                  </a:lnTo>
                  <a:lnTo>
                    <a:pt x="1458" y="1166"/>
                  </a:lnTo>
                  <a:lnTo>
                    <a:pt x="1464" y="1145"/>
                  </a:lnTo>
                  <a:lnTo>
                    <a:pt x="1448" y="1139"/>
                  </a:lnTo>
                  <a:lnTo>
                    <a:pt x="1461" y="1124"/>
                  </a:lnTo>
                  <a:lnTo>
                    <a:pt x="1478" y="1118"/>
                  </a:lnTo>
                  <a:lnTo>
                    <a:pt x="1488" y="1085"/>
                  </a:lnTo>
                  <a:lnTo>
                    <a:pt x="1461" y="1077"/>
                  </a:lnTo>
                  <a:lnTo>
                    <a:pt x="1440" y="1088"/>
                  </a:lnTo>
                  <a:lnTo>
                    <a:pt x="1449" y="1058"/>
                  </a:lnTo>
                  <a:lnTo>
                    <a:pt x="1479" y="1052"/>
                  </a:lnTo>
                  <a:lnTo>
                    <a:pt x="1476" y="1031"/>
                  </a:lnTo>
                  <a:lnTo>
                    <a:pt x="1452" y="1019"/>
                  </a:lnTo>
                  <a:lnTo>
                    <a:pt x="1463" y="1004"/>
                  </a:lnTo>
                  <a:lnTo>
                    <a:pt x="1430" y="945"/>
                  </a:lnTo>
                  <a:lnTo>
                    <a:pt x="1403" y="912"/>
                  </a:lnTo>
                  <a:lnTo>
                    <a:pt x="1403" y="887"/>
                  </a:lnTo>
                  <a:lnTo>
                    <a:pt x="1410" y="845"/>
                  </a:lnTo>
                  <a:lnTo>
                    <a:pt x="1446" y="804"/>
                  </a:lnTo>
                  <a:lnTo>
                    <a:pt x="1484" y="788"/>
                  </a:lnTo>
                  <a:lnTo>
                    <a:pt x="1509" y="767"/>
                  </a:lnTo>
                  <a:lnTo>
                    <a:pt x="1460" y="753"/>
                  </a:lnTo>
                  <a:lnTo>
                    <a:pt x="1452" y="741"/>
                  </a:lnTo>
                  <a:lnTo>
                    <a:pt x="1419" y="747"/>
                  </a:lnTo>
                  <a:lnTo>
                    <a:pt x="1412" y="767"/>
                  </a:lnTo>
                  <a:lnTo>
                    <a:pt x="1388" y="774"/>
                  </a:lnTo>
                  <a:lnTo>
                    <a:pt x="1362" y="750"/>
                  </a:lnTo>
                  <a:lnTo>
                    <a:pt x="1352" y="690"/>
                  </a:lnTo>
                  <a:lnTo>
                    <a:pt x="1388" y="683"/>
                  </a:lnTo>
                  <a:lnTo>
                    <a:pt x="1403" y="650"/>
                  </a:lnTo>
                  <a:lnTo>
                    <a:pt x="1422" y="650"/>
                  </a:lnTo>
                  <a:lnTo>
                    <a:pt x="1448" y="611"/>
                  </a:lnTo>
                  <a:lnTo>
                    <a:pt x="1472" y="591"/>
                  </a:lnTo>
                  <a:lnTo>
                    <a:pt x="1497" y="615"/>
                  </a:lnTo>
                  <a:lnTo>
                    <a:pt x="1463" y="668"/>
                  </a:lnTo>
                  <a:lnTo>
                    <a:pt x="1479" y="696"/>
                  </a:lnTo>
                  <a:lnTo>
                    <a:pt x="1515" y="656"/>
                  </a:lnTo>
                  <a:lnTo>
                    <a:pt x="1580" y="659"/>
                  </a:lnTo>
                  <a:lnTo>
                    <a:pt x="1655" y="548"/>
                  </a:lnTo>
                  <a:lnTo>
                    <a:pt x="1698" y="572"/>
                  </a:lnTo>
                  <a:lnTo>
                    <a:pt x="1700" y="534"/>
                  </a:lnTo>
                  <a:lnTo>
                    <a:pt x="1737" y="512"/>
                  </a:lnTo>
                  <a:lnTo>
                    <a:pt x="1739" y="485"/>
                  </a:lnTo>
                  <a:lnTo>
                    <a:pt x="1766" y="522"/>
                  </a:lnTo>
                  <a:lnTo>
                    <a:pt x="1775" y="473"/>
                  </a:lnTo>
                  <a:lnTo>
                    <a:pt x="1782" y="441"/>
                  </a:lnTo>
                  <a:lnTo>
                    <a:pt x="1863" y="366"/>
                  </a:lnTo>
                  <a:lnTo>
                    <a:pt x="1874" y="303"/>
                  </a:lnTo>
                  <a:lnTo>
                    <a:pt x="1890" y="233"/>
                  </a:lnTo>
                  <a:lnTo>
                    <a:pt x="1818" y="258"/>
                  </a:lnTo>
                  <a:lnTo>
                    <a:pt x="1770" y="285"/>
                  </a:lnTo>
                  <a:lnTo>
                    <a:pt x="1769" y="224"/>
                  </a:lnTo>
                  <a:lnTo>
                    <a:pt x="1728" y="179"/>
                  </a:lnTo>
                  <a:lnTo>
                    <a:pt x="1670" y="135"/>
                  </a:lnTo>
                  <a:lnTo>
                    <a:pt x="1632" y="56"/>
                  </a:lnTo>
                  <a:lnTo>
                    <a:pt x="1559" y="0"/>
                  </a:lnTo>
                  <a:lnTo>
                    <a:pt x="1482" y="3"/>
                  </a:lnTo>
                  <a:lnTo>
                    <a:pt x="1442" y="59"/>
                  </a:lnTo>
                  <a:lnTo>
                    <a:pt x="1433" y="147"/>
                  </a:lnTo>
                  <a:lnTo>
                    <a:pt x="1391" y="204"/>
                  </a:lnTo>
                  <a:lnTo>
                    <a:pt x="1316" y="185"/>
                  </a:lnTo>
                  <a:lnTo>
                    <a:pt x="1322" y="233"/>
                  </a:lnTo>
                  <a:lnTo>
                    <a:pt x="1304" y="273"/>
                  </a:lnTo>
                  <a:lnTo>
                    <a:pt x="1325" y="299"/>
                  </a:lnTo>
                  <a:lnTo>
                    <a:pt x="1377" y="264"/>
                  </a:lnTo>
                  <a:lnTo>
                    <a:pt x="1436" y="300"/>
                  </a:lnTo>
                  <a:lnTo>
                    <a:pt x="1422" y="332"/>
                  </a:lnTo>
                  <a:lnTo>
                    <a:pt x="1370" y="351"/>
                  </a:lnTo>
                  <a:lnTo>
                    <a:pt x="1323" y="375"/>
                  </a:lnTo>
                  <a:lnTo>
                    <a:pt x="1260" y="402"/>
                  </a:lnTo>
                  <a:lnTo>
                    <a:pt x="1212" y="443"/>
                  </a:lnTo>
                  <a:lnTo>
                    <a:pt x="1179" y="414"/>
                  </a:lnTo>
                  <a:lnTo>
                    <a:pt x="1169" y="446"/>
                  </a:lnTo>
                  <a:lnTo>
                    <a:pt x="1173" y="504"/>
                  </a:lnTo>
                  <a:lnTo>
                    <a:pt x="1131" y="533"/>
                  </a:lnTo>
                  <a:lnTo>
                    <a:pt x="1061" y="533"/>
                  </a:lnTo>
                  <a:lnTo>
                    <a:pt x="960" y="570"/>
                  </a:lnTo>
                  <a:lnTo>
                    <a:pt x="923" y="572"/>
                  </a:lnTo>
                  <a:lnTo>
                    <a:pt x="885" y="537"/>
                  </a:lnTo>
                  <a:lnTo>
                    <a:pt x="806" y="536"/>
                  </a:lnTo>
                  <a:lnTo>
                    <a:pt x="737" y="524"/>
                  </a:lnTo>
                  <a:lnTo>
                    <a:pt x="651" y="432"/>
                  </a:lnTo>
                  <a:lnTo>
                    <a:pt x="584" y="422"/>
                  </a:lnTo>
                  <a:lnTo>
                    <a:pt x="579" y="350"/>
                  </a:lnTo>
                  <a:lnTo>
                    <a:pt x="539" y="293"/>
                  </a:lnTo>
                  <a:lnTo>
                    <a:pt x="489" y="291"/>
                  </a:lnTo>
                  <a:lnTo>
                    <a:pt x="473" y="258"/>
                  </a:lnTo>
                  <a:lnTo>
                    <a:pt x="477" y="219"/>
                  </a:lnTo>
                  <a:lnTo>
                    <a:pt x="455" y="210"/>
                  </a:lnTo>
                  <a:lnTo>
                    <a:pt x="392" y="242"/>
                  </a:lnTo>
                  <a:lnTo>
                    <a:pt x="350" y="288"/>
                  </a:lnTo>
                  <a:lnTo>
                    <a:pt x="302" y="314"/>
                  </a:lnTo>
                  <a:lnTo>
                    <a:pt x="300" y="405"/>
                  </a:lnTo>
                  <a:lnTo>
                    <a:pt x="203" y="432"/>
                  </a:lnTo>
                  <a:lnTo>
                    <a:pt x="231" y="474"/>
                  </a:lnTo>
                  <a:lnTo>
                    <a:pt x="213" y="518"/>
                  </a:lnTo>
                  <a:lnTo>
                    <a:pt x="192" y="554"/>
                  </a:lnTo>
                  <a:lnTo>
                    <a:pt x="138" y="587"/>
                  </a:lnTo>
                  <a:lnTo>
                    <a:pt x="102" y="591"/>
                  </a:lnTo>
                  <a:lnTo>
                    <a:pt x="99" y="632"/>
                  </a:lnTo>
                  <a:lnTo>
                    <a:pt x="72" y="645"/>
                  </a:lnTo>
                  <a:lnTo>
                    <a:pt x="35" y="632"/>
                  </a:lnTo>
                  <a:lnTo>
                    <a:pt x="0" y="67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5" name="Freeform 269"/>
            <p:cNvSpPr>
              <a:spLocks/>
            </p:cNvSpPr>
            <p:nvPr/>
          </p:nvSpPr>
          <p:spPr bwMode="auto">
            <a:xfrm>
              <a:off x="4643" y="1547"/>
              <a:ext cx="101" cy="135"/>
            </a:xfrm>
            <a:custGeom>
              <a:avLst/>
              <a:gdLst>
                <a:gd name="T0" fmla="*/ 201 w 201"/>
                <a:gd name="T1" fmla="*/ 37 h 267"/>
                <a:gd name="T2" fmla="*/ 171 w 201"/>
                <a:gd name="T3" fmla="*/ 46 h 267"/>
                <a:gd name="T4" fmla="*/ 148 w 201"/>
                <a:gd name="T5" fmla="*/ 64 h 267"/>
                <a:gd name="T6" fmla="*/ 160 w 201"/>
                <a:gd name="T7" fmla="*/ 108 h 267"/>
                <a:gd name="T8" fmla="*/ 135 w 201"/>
                <a:gd name="T9" fmla="*/ 136 h 267"/>
                <a:gd name="T10" fmla="*/ 99 w 201"/>
                <a:gd name="T11" fmla="*/ 159 h 267"/>
                <a:gd name="T12" fmla="*/ 82 w 201"/>
                <a:gd name="T13" fmla="*/ 186 h 267"/>
                <a:gd name="T14" fmla="*/ 97 w 201"/>
                <a:gd name="T15" fmla="*/ 205 h 267"/>
                <a:gd name="T16" fmla="*/ 115 w 201"/>
                <a:gd name="T17" fmla="*/ 210 h 267"/>
                <a:gd name="T18" fmla="*/ 118 w 201"/>
                <a:gd name="T19" fmla="*/ 240 h 267"/>
                <a:gd name="T20" fmla="*/ 84 w 201"/>
                <a:gd name="T21" fmla="*/ 244 h 267"/>
                <a:gd name="T22" fmla="*/ 72 w 201"/>
                <a:gd name="T23" fmla="*/ 267 h 267"/>
                <a:gd name="T24" fmla="*/ 48 w 201"/>
                <a:gd name="T25" fmla="*/ 253 h 267"/>
                <a:gd name="T26" fmla="*/ 22 w 201"/>
                <a:gd name="T27" fmla="*/ 264 h 267"/>
                <a:gd name="T28" fmla="*/ 25 w 201"/>
                <a:gd name="T29" fmla="*/ 240 h 267"/>
                <a:gd name="T30" fmla="*/ 0 w 201"/>
                <a:gd name="T31" fmla="*/ 235 h 267"/>
                <a:gd name="T32" fmla="*/ 33 w 201"/>
                <a:gd name="T33" fmla="*/ 216 h 267"/>
                <a:gd name="T34" fmla="*/ 18 w 201"/>
                <a:gd name="T35" fmla="*/ 175 h 267"/>
                <a:gd name="T36" fmla="*/ 94 w 201"/>
                <a:gd name="T37" fmla="*/ 61 h 267"/>
                <a:gd name="T38" fmla="*/ 138 w 201"/>
                <a:gd name="T39" fmla="*/ 88 h 267"/>
                <a:gd name="T40" fmla="*/ 139 w 201"/>
                <a:gd name="T41" fmla="*/ 46 h 267"/>
                <a:gd name="T42" fmla="*/ 177 w 201"/>
                <a:gd name="T43" fmla="*/ 28 h 267"/>
                <a:gd name="T44" fmla="*/ 180 w 201"/>
                <a:gd name="T45" fmla="*/ 0 h 267"/>
                <a:gd name="T46" fmla="*/ 201 w 201"/>
                <a:gd name="T47" fmla="*/ 37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1" h="267">
                  <a:moveTo>
                    <a:pt x="201" y="37"/>
                  </a:moveTo>
                  <a:lnTo>
                    <a:pt x="171" y="46"/>
                  </a:lnTo>
                  <a:lnTo>
                    <a:pt x="148" y="64"/>
                  </a:lnTo>
                  <a:lnTo>
                    <a:pt x="160" y="108"/>
                  </a:lnTo>
                  <a:lnTo>
                    <a:pt x="135" y="136"/>
                  </a:lnTo>
                  <a:lnTo>
                    <a:pt x="99" y="159"/>
                  </a:lnTo>
                  <a:lnTo>
                    <a:pt x="82" y="186"/>
                  </a:lnTo>
                  <a:lnTo>
                    <a:pt x="97" y="205"/>
                  </a:lnTo>
                  <a:lnTo>
                    <a:pt x="115" y="210"/>
                  </a:lnTo>
                  <a:lnTo>
                    <a:pt x="118" y="240"/>
                  </a:lnTo>
                  <a:lnTo>
                    <a:pt x="84" y="244"/>
                  </a:lnTo>
                  <a:lnTo>
                    <a:pt x="72" y="267"/>
                  </a:lnTo>
                  <a:lnTo>
                    <a:pt x="48" y="253"/>
                  </a:lnTo>
                  <a:lnTo>
                    <a:pt x="22" y="264"/>
                  </a:lnTo>
                  <a:lnTo>
                    <a:pt x="25" y="240"/>
                  </a:lnTo>
                  <a:lnTo>
                    <a:pt x="0" y="235"/>
                  </a:lnTo>
                  <a:lnTo>
                    <a:pt x="33" y="216"/>
                  </a:lnTo>
                  <a:lnTo>
                    <a:pt x="18" y="175"/>
                  </a:lnTo>
                  <a:lnTo>
                    <a:pt x="94" y="61"/>
                  </a:lnTo>
                  <a:lnTo>
                    <a:pt x="138" y="88"/>
                  </a:lnTo>
                  <a:lnTo>
                    <a:pt x="139" y="46"/>
                  </a:lnTo>
                  <a:lnTo>
                    <a:pt x="177" y="28"/>
                  </a:lnTo>
                  <a:lnTo>
                    <a:pt x="180" y="0"/>
                  </a:lnTo>
                  <a:lnTo>
                    <a:pt x="201" y="3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6" name="Freeform 270"/>
            <p:cNvSpPr>
              <a:spLocks/>
            </p:cNvSpPr>
            <p:nvPr/>
          </p:nvSpPr>
          <p:spPr bwMode="auto">
            <a:xfrm>
              <a:off x="4670" y="1668"/>
              <a:ext cx="45" cy="96"/>
            </a:xfrm>
            <a:custGeom>
              <a:avLst/>
              <a:gdLst>
                <a:gd name="T0" fmla="*/ 64 w 90"/>
                <a:gd name="T1" fmla="*/ 0 h 189"/>
                <a:gd name="T2" fmla="*/ 81 w 90"/>
                <a:gd name="T3" fmla="*/ 1 h 189"/>
                <a:gd name="T4" fmla="*/ 66 w 90"/>
                <a:gd name="T5" fmla="*/ 31 h 189"/>
                <a:gd name="T6" fmla="*/ 88 w 90"/>
                <a:gd name="T7" fmla="*/ 52 h 189"/>
                <a:gd name="T8" fmla="*/ 90 w 90"/>
                <a:gd name="T9" fmla="*/ 133 h 189"/>
                <a:gd name="T10" fmla="*/ 36 w 90"/>
                <a:gd name="T11" fmla="*/ 157 h 189"/>
                <a:gd name="T12" fmla="*/ 1 w 90"/>
                <a:gd name="T13" fmla="*/ 189 h 189"/>
                <a:gd name="T14" fmla="*/ 16 w 90"/>
                <a:gd name="T15" fmla="*/ 150 h 189"/>
                <a:gd name="T16" fmla="*/ 0 w 90"/>
                <a:gd name="T17" fmla="*/ 135 h 189"/>
                <a:gd name="T18" fmla="*/ 28 w 90"/>
                <a:gd name="T19" fmla="*/ 109 h 189"/>
                <a:gd name="T20" fmla="*/ 13 w 90"/>
                <a:gd name="T21" fmla="*/ 87 h 189"/>
                <a:gd name="T22" fmla="*/ 6 w 90"/>
                <a:gd name="T23" fmla="*/ 69 h 189"/>
                <a:gd name="T24" fmla="*/ 24 w 90"/>
                <a:gd name="T25" fmla="*/ 52 h 189"/>
                <a:gd name="T26" fmla="*/ 21 w 90"/>
                <a:gd name="T27" fmla="*/ 25 h 189"/>
                <a:gd name="T28" fmla="*/ 30 w 90"/>
                <a:gd name="T29" fmla="*/ 4 h 189"/>
                <a:gd name="T30" fmla="*/ 64 w 90"/>
                <a:gd name="T31" fmla="*/ 0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0" h="189">
                  <a:moveTo>
                    <a:pt x="64" y="0"/>
                  </a:moveTo>
                  <a:lnTo>
                    <a:pt x="81" y="1"/>
                  </a:lnTo>
                  <a:lnTo>
                    <a:pt x="66" y="31"/>
                  </a:lnTo>
                  <a:lnTo>
                    <a:pt x="88" y="52"/>
                  </a:lnTo>
                  <a:lnTo>
                    <a:pt x="90" y="133"/>
                  </a:lnTo>
                  <a:lnTo>
                    <a:pt x="36" y="157"/>
                  </a:lnTo>
                  <a:lnTo>
                    <a:pt x="1" y="189"/>
                  </a:lnTo>
                  <a:lnTo>
                    <a:pt x="16" y="150"/>
                  </a:lnTo>
                  <a:lnTo>
                    <a:pt x="0" y="135"/>
                  </a:lnTo>
                  <a:lnTo>
                    <a:pt x="28" y="109"/>
                  </a:lnTo>
                  <a:lnTo>
                    <a:pt x="13" y="87"/>
                  </a:lnTo>
                  <a:lnTo>
                    <a:pt x="6" y="69"/>
                  </a:lnTo>
                  <a:lnTo>
                    <a:pt x="24" y="52"/>
                  </a:lnTo>
                  <a:lnTo>
                    <a:pt x="21" y="25"/>
                  </a:lnTo>
                  <a:lnTo>
                    <a:pt x="30" y="4"/>
                  </a:lnTo>
                  <a:lnTo>
                    <a:pt x="64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7" name="Freeform 271"/>
            <p:cNvSpPr>
              <a:spLocks/>
            </p:cNvSpPr>
            <p:nvPr/>
          </p:nvSpPr>
          <p:spPr bwMode="auto">
            <a:xfrm>
              <a:off x="3944" y="2286"/>
              <a:ext cx="37" cy="72"/>
            </a:xfrm>
            <a:custGeom>
              <a:avLst/>
              <a:gdLst>
                <a:gd name="T0" fmla="*/ 21 w 73"/>
                <a:gd name="T1" fmla="*/ 0 h 142"/>
                <a:gd name="T2" fmla="*/ 36 w 73"/>
                <a:gd name="T3" fmla="*/ 40 h 142"/>
                <a:gd name="T4" fmla="*/ 57 w 73"/>
                <a:gd name="T5" fmla="*/ 61 h 142"/>
                <a:gd name="T6" fmla="*/ 73 w 73"/>
                <a:gd name="T7" fmla="*/ 85 h 142"/>
                <a:gd name="T8" fmla="*/ 70 w 73"/>
                <a:gd name="T9" fmla="*/ 123 h 142"/>
                <a:gd name="T10" fmla="*/ 39 w 73"/>
                <a:gd name="T11" fmla="*/ 142 h 142"/>
                <a:gd name="T12" fmla="*/ 6 w 73"/>
                <a:gd name="T13" fmla="*/ 139 h 142"/>
                <a:gd name="T14" fmla="*/ 0 w 73"/>
                <a:gd name="T15" fmla="*/ 93 h 142"/>
                <a:gd name="T16" fmla="*/ 6 w 73"/>
                <a:gd name="T17" fmla="*/ 43 h 142"/>
                <a:gd name="T18" fmla="*/ 3 w 73"/>
                <a:gd name="T19" fmla="*/ 22 h 142"/>
                <a:gd name="T20" fmla="*/ 4 w 73"/>
                <a:gd name="T21" fmla="*/ 4 h 142"/>
                <a:gd name="T22" fmla="*/ 21 w 73"/>
                <a:gd name="T2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142">
                  <a:moveTo>
                    <a:pt x="21" y="0"/>
                  </a:moveTo>
                  <a:lnTo>
                    <a:pt x="36" y="40"/>
                  </a:lnTo>
                  <a:lnTo>
                    <a:pt x="57" y="61"/>
                  </a:lnTo>
                  <a:lnTo>
                    <a:pt x="73" y="85"/>
                  </a:lnTo>
                  <a:lnTo>
                    <a:pt x="70" y="123"/>
                  </a:lnTo>
                  <a:lnTo>
                    <a:pt x="39" y="142"/>
                  </a:lnTo>
                  <a:lnTo>
                    <a:pt x="6" y="139"/>
                  </a:lnTo>
                  <a:lnTo>
                    <a:pt x="0" y="93"/>
                  </a:lnTo>
                  <a:lnTo>
                    <a:pt x="6" y="43"/>
                  </a:lnTo>
                  <a:lnTo>
                    <a:pt x="3" y="22"/>
                  </a:lnTo>
                  <a:lnTo>
                    <a:pt x="4" y="4"/>
                  </a:lnTo>
                  <a:lnTo>
                    <a:pt x="2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8" name="Freeform 274"/>
            <p:cNvSpPr>
              <a:spLocks/>
            </p:cNvSpPr>
            <p:nvPr/>
          </p:nvSpPr>
          <p:spPr bwMode="auto">
            <a:xfrm>
              <a:off x="4315" y="2438"/>
              <a:ext cx="23" cy="14"/>
            </a:xfrm>
            <a:custGeom>
              <a:avLst/>
              <a:gdLst>
                <a:gd name="T0" fmla="*/ 18 w 44"/>
                <a:gd name="T1" fmla="*/ 0 h 26"/>
                <a:gd name="T2" fmla="*/ 44 w 44"/>
                <a:gd name="T3" fmla="*/ 9 h 26"/>
                <a:gd name="T4" fmla="*/ 15 w 44"/>
                <a:gd name="T5" fmla="*/ 26 h 26"/>
                <a:gd name="T6" fmla="*/ 0 w 44"/>
                <a:gd name="T7" fmla="*/ 17 h 26"/>
                <a:gd name="T8" fmla="*/ 18 w 44"/>
                <a:gd name="T9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6">
                  <a:moveTo>
                    <a:pt x="18" y="0"/>
                  </a:moveTo>
                  <a:lnTo>
                    <a:pt x="44" y="9"/>
                  </a:lnTo>
                  <a:lnTo>
                    <a:pt x="15" y="26"/>
                  </a:lnTo>
                  <a:lnTo>
                    <a:pt x="0" y="17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479" name="Group 298"/>
            <p:cNvGrpSpPr>
              <a:grpSpLocks/>
            </p:cNvGrpSpPr>
            <p:nvPr/>
          </p:nvGrpSpPr>
          <p:grpSpPr bwMode="auto">
            <a:xfrm>
              <a:off x="4276" y="2338"/>
              <a:ext cx="289" cy="129"/>
              <a:chOff x="3531" y="2606"/>
              <a:chExt cx="569" cy="255"/>
            </a:xfrm>
            <a:grpFill/>
          </p:grpSpPr>
          <p:sp>
            <p:nvSpPr>
              <p:cNvPr id="508" name="Freeform 273"/>
              <p:cNvSpPr>
                <a:spLocks/>
              </p:cNvSpPr>
              <p:nvPr/>
            </p:nvSpPr>
            <p:spPr bwMode="auto">
              <a:xfrm>
                <a:off x="3531" y="2634"/>
                <a:ext cx="114" cy="174"/>
              </a:xfrm>
              <a:custGeom>
                <a:avLst/>
                <a:gdLst>
                  <a:gd name="T0" fmla="*/ 65 w 114"/>
                  <a:gd name="T1" fmla="*/ 14 h 174"/>
                  <a:gd name="T2" fmla="*/ 87 w 114"/>
                  <a:gd name="T3" fmla="*/ 36 h 174"/>
                  <a:gd name="T4" fmla="*/ 89 w 114"/>
                  <a:gd name="T5" fmla="*/ 77 h 174"/>
                  <a:gd name="T6" fmla="*/ 87 w 114"/>
                  <a:gd name="T7" fmla="*/ 126 h 174"/>
                  <a:gd name="T8" fmla="*/ 110 w 114"/>
                  <a:gd name="T9" fmla="*/ 147 h 174"/>
                  <a:gd name="T10" fmla="*/ 114 w 114"/>
                  <a:gd name="T11" fmla="*/ 164 h 174"/>
                  <a:gd name="T12" fmla="*/ 86 w 114"/>
                  <a:gd name="T13" fmla="*/ 173 h 174"/>
                  <a:gd name="T14" fmla="*/ 63 w 114"/>
                  <a:gd name="T15" fmla="*/ 174 h 174"/>
                  <a:gd name="T16" fmla="*/ 41 w 114"/>
                  <a:gd name="T17" fmla="*/ 141 h 174"/>
                  <a:gd name="T18" fmla="*/ 24 w 114"/>
                  <a:gd name="T19" fmla="*/ 125 h 174"/>
                  <a:gd name="T20" fmla="*/ 18 w 114"/>
                  <a:gd name="T21" fmla="*/ 90 h 174"/>
                  <a:gd name="T22" fmla="*/ 15 w 114"/>
                  <a:gd name="T23" fmla="*/ 59 h 174"/>
                  <a:gd name="T24" fmla="*/ 0 w 114"/>
                  <a:gd name="T25" fmla="*/ 48 h 174"/>
                  <a:gd name="T26" fmla="*/ 8 w 114"/>
                  <a:gd name="T27" fmla="*/ 9 h 174"/>
                  <a:gd name="T28" fmla="*/ 24 w 114"/>
                  <a:gd name="T29" fmla="*/ 0 h 174"/>
                  <a:gd name="T30" fmla="*/ 42 w 114"/>
                  <a:gd name="T31" fmla="*/ 29 h 174"/>
                  <a:gd name="T32" fmla="*/ 65 w 114"/>
                  <a:gd name="T33" fmla="*/ 1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4" h="174">
                    <a:moveTo>
                      <a:pt x="65" y="14"/>
                    </a:moveTo>
                    <a:lnTo>
                      <a:pt x="87" y="36"/>
                    </a:lnTo>
                    <a:lnTo>
                      <a:pt x="89" y="77"/>
                    </a:lnTo>
                    <a:lnTo>
                      <a:pt x="87" y="126"/>
                    </a:lnTo>
                    <a:lnTo>
                      <a:pt x="110" y="147"/>
                    </a:lnTo>
                    <a:lnTo>
                      <a:pt x="114" y="164"/>
                    </a:lnTo>
                    <a:lnTo>
                      <a:pt x="86" y="173"/>
                    </a:lnTo>
                    <a:lnTo>
                      <a:pt x="63" y="174"/>
                    </a:lnTo>
                    <a:lnTo>
                      <a:pt x="41" y="141"/>
                    </a:lnTo>
                    <a:lnTo>
                      <a:pt x="24" y="125"/>
                    </a:lnTo>
                    <a:lnTo>
                      <a:pt x="18" y="90"/>
                    </a:lnTo>
                    <a:lnTo>
                      <a:pt x="15" y="59"/>
                    </a:lnTo>
                    <a:lnTo>
                      <a:pt x="0" y="48"/>
                    </a:lnTo>
                    <a:lnTo>
                      <a:pt x="8" y="9"/>
                    </a:lnTo>
                    <a:lnTo>
                      <a:pt x="24" y="0"/>
                    </a:lnTo>
                    <a:lnTo>
                      <a:pt x="42" y="29"/>
                    </a:lnTo>
                    <a:lnTo>
                      <a:pt x="65" y="1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9" name="Freeform 277"/>
              <p:cNvSpPr>
                <a:spLocks/>
              </p:cNvSpPr>
              <p:nvPr/>
            </p:nvSpPr>
            <p:spPr bwMode="auto">
              <a:xfrm>
                <a:off x="3822" y="2606"/>
                <a:ext cx="278" cy="255"/>
              </a:xfrm>
              <a:custGeom>
                <a:avLst/>
                <a:gdLst>
                  <a:gd name="T0" fmla="*/ 192 w 278"/>
                  <a:gd name="T1" fmla="*/ 126 h 255"/>
                  <a:gd name="T2" fmla="*/ 168 w 278"/>
                  <a:gd name="T3" fmla="*/ 162 h 255"/>
                  <a:gd name="T4" fmla="*/ 146 w 278"/>
                  <a:gd name="T5" fmla="*/ 187 h 255"/>
                  <a:gd name="T6" fmla="*/ 146 w 278"/>
                  <a:gd name="T7" fmla="*/ 216 h 255"/>
                  <a:gd name="T8" fmla="*/ 132 w 278"/>
                  <a:gd name="T9" fmla="*/ 235 h 255"/>
                  <a:gd name="T10" fmla="*/ 92 w 278"/>
                  <a:gd name="T11" fmla="*/ 226 h 255"/>
                  <a:gd name="T12" fmla="*/ 51 w 278"/>
                  <a:gd name="T13" fmla="*/ 255 h 255"/>
                  <a:gd name="T14" fmla="*/ 20 w 278"/>
                  <a:gd name="T15" fmla="*/ 243 h 255"/>
                  <a:gd name="T16" fmla="*/ 0 w 278"/>
                  <a:gd name="T17" fmla="*/ 226 h 255"/>
                  <a:gd name="T18" fmla="*/ 0 w 278"/>
                  <a:gd name="T19" fmla="*/ 198 h 255"/>
                  <a:gd name="T20" fmla="*/ 26 w 278"/>
                  <a:gd name="T21" fmla="*/ 222 h 255"/>
                  <a:gd name="T22" fmla="*/ 47 w 278"/>
                  <a:gd name="T23" fmla="*/ 210 h 255"/>
                  <a:gd name="T24" fmla="*/ 42 w 278"/>
                  <a:gd name="T25" fmla="*/ 175 h 255"/>
                  <a:gd name="T26" fmla="*/ 92 w 278"/>
                  <a:gd name="T27" fmla="*/ 171 h 255"/>
                  <a:gd name="T28" fmla="*/ 111 w 278"/>
                  <a:gd name="T29" fmla="*/ 141 h 255"/>
                  <a:gd name="T30" fmla="*/ 134 w 278"/>
                  <a:gd name="T31" fmla="*/ 99 h 255"/>
                  <a:gd name="T32" fmla="*/ 170 w 278"/>
                  <a:gd name="T33" fmla="*/ 127 h 255"/>
                  <a:gd name="T34" fmla="*/ 176 w 278"/>
                  <a:gd name="T35" fmla="*/ 117 h 255"/>
                  <a:gd name="T36" fmla="*/ 159 w 278"/>
                  <a:gd name="T37" fmla="*/ 85 h 255"/>
                  <a:gd name="T38" fmla="*/ 177 w 278"/>
                  <a:gd name="T39" fmla="*/ 90 h 255"/>
                  <a:gd name="T40" fmla="*/ 168 w 278"/>
                  <a:gd name="T41" fmla="*/ 52 h 255"/>
                  <a:gd name="T42" fmla="*/ 209 w 278"/>
                  <a:gd name="T43" fmla="*/ 0 h 255"/>
                  <a:gd name="T44" fmla="*/ 242 w 278"/>
                  <a:gd name="T45" fmla="*/ 51 h 255"/>
                  <a:gd name="T46" fmla="*/ 278 w 278"/>
                  <a:gd name="T47" fmla="*/ 66 h 255"/>
                  <a:gd name="T48" fmla="*/ 246 w 278"/>
                  <a:gd name="T49" fmla="*/ 90 h 255"/>
                  <a:gd name="T50" fmla="*/ 236 w 278"/>
                  <a:gd name="T51" fmla="*/ 136 h 255"/>
                  <a:gd name="T52" fmla="*/ 192 w 278"/>
                  <a:gd name="T53" fmla="*/ 126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78" h="255">
                    <a:moveTo>
                      <a:pt x="192" y="126"/>
                    </a:moveTo>
                    <a:lnTo>
                      <a:pt x="168" y="162"/>
                    </a:lnTo>
                    <a:lnTo>
                      <a:pt x="146" y="187"/>
                    </a:lnTo>
                    <a:lnTo>
                      <a:pt x="146" y="216"/>
                    </a:lnTo>
                    <a:lnTo>
                      <a:pt x="132" y="235"/>
                    </a:lnTo>
                    <a:lnTo>
                      <a:pt x="92" y="226"/>
                    </a:lnTo>
                    <a:lnTo>
                      <a:pt x="51" y="255"/>
                    </a:lnTo>
                    <a:lnTo>
                      <a:pt x="20" y="243"/>
                    </a:lnTo>
                    <a:lnTo>
                      <a:pt x="0" y="226"/>
                    </a:lnTo>
                    <a:lnTo>
                      <a:pt x="0" y="198"/>
                    </a:lnTo>
                    <a:lnTo>
                      <a:pt x="26" y="222"/>
                    </a:lnTo>
                    <a:lnTo>
                      <a:pt x="47" y="210"/>
                    </a:lnTo>
                    <a:lnTo>
                      <a:pt x="42" y="175"/>
                    </a:lnTo>
                    <a:lnTo>
                      <a:pt x="92" y="171"/>
                    </a:lnTo>
                    <a:lnTo>
                      <a:pt x="111" y="141"/>
                    </a:lnTo>
                    <a:lnTo>
                      <a:pt x="134" y="99"/>
                    </a:lnTo>
                    <a:lnTo>
                      <a:pt x="170" y="127"/>
                    </a:lnTo>
                    <a:lnTo>
                      <a:pt x="176" y="117"/>
                    </a:lnTo>
                    <a:lnTo>
                      <a:pt x="159" y="85"/>
                    </a:lnTo>
                    <a:lnTo>
                      <a:pt x="177" y="90"/>
                    </a:lnTo>
                    <a:lnTo>
                      <a:pt x="168" y="52"/>
                    </a:lnTo>
                    <a:lnTo>
                      <a:pt x="209" y="0"/>
                    </a:lnTo>
                    <a:lnTo>
                      <a:pt x="242" y="51"/>
                    </a:lnTo>
                    <a:lnTo>
                      <a:pt x="278" y="66"/>
                    </a:lnTo>
                    <a:lnTo>
                      <a:pt x="246" y="90"/>
                    </a:lnTo>
                    <a:lnTo>
                      <a:pt x="236" y="136"/>
                    </a:lnTo>
                    <a:lnTo>
                      <a:pt x="192" y="12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80" name="Freeform 278"/>
            <p:cNvSpPr>
              <a:spLocks/>
            </p:cNvSpPr>
            <p:nvPr/>
          </p:nvSpPr>
          <p:spPr bwMode="auto">
            <a:xfrm>
              <a:off x="4486" y="2381"/>
              <a:ext cx="20" cy="22"/>
            </a:xfrm>
            <a:custGeom>
              <a:avLst/>
              <a:gdLst>
                <a:gd name="T0" fmla="*/ 23 w 41"/>
                <a:gd name="T1" fmla="*/ 0 h 44"/>
                <a:gd name="T2" fmla="*/ 0 w 41"/>
                <a:gd name="T3" fmla="*/ 14 h 44"/>
                <a:gd name="T4" fmla="*/ 35 w 41"/>
                <a:gd name="T5" fmla="*/ 44 h 44"/>
                <a:gd name="T6" fmla="*/ 41 w 41"/>
                <a:gd name="T7" fmla="*/ 29 h 44"/>
                <a:gd name="T8" fmla="*/ 23 w 41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4">
                  <a:moveTo>
                    <a:pt x="23" y="0"/>
                  </a:moveTo>
                  <a:lnTo>
                    <a:pt x="0" y="14"/>
                  </a:lnTo>
                  <a:lnTo>
                    <a:pt x="35" y="44"/>
                  </a:lnTo>
                  <a:lnTo>
                    <a:pt x="41" y="29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481" name="Group 299"/>
            <p:cNvGrpSpPr>
              <a:grpSpLocks/>
            </p:cNvGrpSpPr>
            <p:nvPr/>
          </p:nvGrpSpPr>
          <p:grpSpPr bwMode="auto">
            <a:xfrm>
              <a:off x="4524" y="2098"/>
              <a:ext cx="151" cy="270"/>
              <a:chOff x="4029" y="2132"/>
              <a:chExt cx="299" cy="535"/>
            </a:xfrm>
            <a:grpFill/>
          </p:grpSpPr>
          <p:sp>
            <p:nvSpPr>
              <p:cNvPr id="501" name="Freeform 280"/>
              <p:cNvSpPr>
                <a:spLocks/>
              </p:cNvSpPr>
              <p:nvPr/>
            </p:nvSpPr>
            <p:spPr bwMode="auto">
              <a:xfrm>
                <a:off x="4118" y="2132"/>
                <a:ext cx="133" cy="244"/>
              </a:xfrm>
              <a:custGeom>
                <a:avLst/>
                <a:gdLst>
                  <a:gd name="T0" fmla="*/ 33 w 133"/>
                  <a:gd name="T1" fmla="*/ 0 h 244"/>
                  <a:gd name="T2" fmla="*/ 19 w 133"/>
                  <a:gd name="T3" fmla="*/ 54 h 244"/>
                  <a:gd name="T4" fmla="*/ 33 w 133"/>
                  <a:gd name="T5" fmla="*/ 63 h 244"/>
                  <a:gd name="T6" fmla="*/ 19 w 133"/>
                  <a:gd name="T7" fmla="*/ 73 h 244"/>
                  <a:gd name="T8" fmla="*/ 33 w 133"/>
                  <a:gd name="T9" fmla="*/ 91 h 244"/>
                  <a:gd name="T10" fmla="*/ 0 w 133"/>
                  <a:gd name="T11" fmla="*/ 100 h 244"/>
                  <a:gd name="T12" fmla="*/ 15 w 133"/>
                  <a:gd name="T13" fmla="*/ 156 h 244"/>
                  <a:gd name="T14" fmla="*/ 36 w 133"/>
                  <a:gd name="T15" fmla="*/ 162 h 244"/>
                  <a:gd name="T16" fmla="*/ 36 w 133"/>
                  <a:gd name="T17" fmla="*/ 202 h 244"/>
                  <a:gd name="T18" fmla="*/ 60 w 133"/>
                  <a:gd name="T19" fmla="*/ 195 h 244"/>
                  <a:gd name="T20" fmla="*/ 82 w 133"/>
                  <a:gd name="T21" fmla="*/ 216 h 244"/>
                  <a:gd name="T22" fmla="*/ 94 w 133"/>
                  <a:gd name="T23" fmla="*/ 204 h 244"/>
                  <a:gd name="T24" fmla="*/ 117 w 133"/>
                  <a:gd name="T25" fmla="*/ 240 h 244"/>
                  <a:gd name="T26" fmla="*/ 132 w 133"/>
                  <a:gd name="T27" fmla="*/ 244 h 244"/>
                  <a:gd name="T28" fmla="*/ 133 w 133"/>
                  <a:gd name="T29" fmla="*/ 217 h 244"/>
                  <a:gd name="T30" fmla="*/ 112 w 133"/>
                  <a:gd name="T31" fmla="*/ 178 h 244"/>
                  <a:gd name="T32" fmla="*/ 84 w 133"/>
                  <a:gd name="T33" fmla="*/ 163 h 244"/>
                  <a:gd name="T34" fmla="*/ 66 w 133"/>
                  <a:gd name="T35" fmla="*/ 181 h 244"/>
                  <a:gd name="T36" fmla="*/ 55 w 133"/>
                  <a:gd name="T37" fmla="*/ 151 h 244"/>
                  <a:gd name="T38" fmla="*/ 55 w 133"/>
                  <a:gd name="T39" fmla="*/ 114 h 244"/>
                  <a:gd name="T40" fmla="*/ 97 w 133"/>
                  <a:gd name="T41" fmla="*/ 64 h 244"/>
                  <a:gd name="T42" fmla="*/ 72 w 133"/>
                  <a:gd name="T43" fmla="*/ 33 h 244"/>
                  <a:gd name="T44" fmla="*/ 73 w 133"/>
                  <a:gd name="T45" fmla="*/ 6 h 244"/>
                  <a:gd name="T46" fmla="*/ 46 w 133"/>
                  <a:gd name="T47" fmla="*/ 6 h 244"/>
                  <a:gd name="T48" fmla="*/ 33 w 133"/>
                  <a:gd name="T49" fmla="*/ 0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3" h="244">
                    <a:moveTo>
                      <a:pt x="33" y="0"/>
                    </a:moveTo>
                    <a:lnTo>
                      <a:pt x="19" y="54"/>
                    </a:lnTo>
                    <a:lnTo>
                      <a:pt x="33" y="63"/>
                    </a:lnTo>
                    <a:lnTo>
                      <a:pt x="19" y="73"/>
                    </a:lnTo>
                    <a:lnTo>
                      <a:pt x="33" y="91"/>
                    </a:lnTo>
                    <a:lnTo>
                      <a:pt x="0" y="100"/>
                    </a:lnTo>
                    <a:lnTo>
                      <a:pt x="15" y="156"/>
                    </a:lnTo>
                    <a:lnTo>
                      <a:pt x="36" y="162"/>
                    </a:lnTo>
                    <a:lnTo>
                      <a:pt x="36" y="202"/>
                    </a:lnTo>
                    <a:lnTo>
                      <a:pt x="60" y="195"/>
                    </a:lnTo>
                    <a:lnTo>
                      <a:pt x="82" y="216"/>
                    </a:lnTo>
                    <a:lnTo>
                      <a:pt x="94" y="204"/>
                    </a:lnTo>
                    <a:lnTo>
                      <a:pt x="117" y="240"/>
                    </a:lnTo>
                    <a:lnTo>
                      <a:pt x="132" y="244"/>
                    </a:lnTo>
                    <a:lnTo>
                      <a:pt x="133" y="217"/>
                    </a:lnTo>
                    <a:lnTo>
                      <a:pt x="112" y="178"/>
                    </a:lnTo>
                    <a:lnTo>
                      <a:pt x="84" y="163"/>
                    </a:lnTo>
                    <a:lnTo>
                      <a:pt x="66" y="181"/>
                    </a:lnTo>
                    <a:lnTo>
                      <a:pt x="55" y="151"/>
                    </a:lnTo>
                    <a:lnTo>
                      <a:pt x="55" y="114"/>
                    </a:lnTo>
                    <a:lnTo>
                      <a:pt x="97" y="64"/>
                    </a:lnTo>
                    <a:lnTo>
                      <a:pt x="72" y="33"/>
                    </a:lnTo>
                    <a:lnTo>
                      <a:pt x="73" y="6"/>
                    </a:lnTo>
                    <a:lnTo>
                      <a:pt x="46" y="6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2" name="Freeform 281"/>
              <p:cNvSpPr>
                <a:spLocks/>
              </p:cNvSpPr>
              <p:nvPr/>
            </p:nvSpPr>
            <p:spPr bwMode="auto">
              <a:xfrm>
                <a:off x="4029" y="2432"/>
                <a:ext cx="92" cy="118"/>
              </a:xfrm>
              <a:custGeom>
                <a:avLst/>
                <a:gdLst>
                  <a:gd name="T0" fmla="*/ 81 w 92"/>
                  <a:gd name="T1" fmla="*/ 0 h 118"/>
                  <a:gd name="T2" fmla="*/ 60 w 92"/>
                  <a:gd name="T3" fmla="*/ 27 h 118"/>
                  <a:gd name="T4" fmla="*/ 54 w 92"/>
                  <a:gd name="T5" fmla="*/ 52 h 118"/>
                  <a:gd name="T6" fmla="*/ 0 w 92"/>
                  <a:gd name="T7" fmla="*/ 118 h 118"/>
                  <a:gd name="T8" fmla="*/ 60 w 92"/>
                  <a:gd name="T9" fmla="*/ 79 h 118"/>
                  <a:gd name="T10" fmla="*/ 69 w 92"/>
                  <a:gd name="T11" fmla="*/ 57 h 118"/>
                  <a:gd name="T12" fmla="*/ 92 w 92"/>
                  <a:gd name="T13" fmla="*/ 36 h 118"/>
                  <a:gd name="T14" fmla="*/ 81 w 92"/>
                  <a:gd name="T15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2" h="118">
                    <a:moveTo>
                      <a:pt x="81" y="0"/>
                    </a:moveTo>
                    <a:lnTo>
                      <a:pt x="60" y="27"/>
                    </a:lnTo>
                    <a:lnTo>
                      <a:pt x="54" y="52"/>
                    </a:lnTo>
                    <a:lnTo>
                      <a:pt x="0" y="118"/>
                    </a:lnTo>
                    <a:lnTo>
                      <a:pt x="60" y="79"/>
                    </a:lnTo>
                    <a:lnTo>
                      <a:pt x="69" y="57"/>
                    </a:lnTo>
                    <a:lnTo>
                      <a:pt x="92" y="36"/>
                    </a:lnTo>
                    <a:lnTo>
                      <a:pt x="8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3" name="Freeform 282"/>
              <p:cNvSpPr>
                <a:spLocks/>
              </p:cNvSpPr>
              <p:nvPr/>
            </p:nvSpPr>
            <p:spPr bwMode="auto">
              <a:xfrm>
                <a:off x="4113" y="2382"/>
                <a:ext cx="26" cy="38"/>
              </a:xfrm>
              <a:custGeom>
                <a:avLst/>
                <a:gdLst>
                  <a:gd name="T0" fmla="*/ 11 w 26"/>
                  <a:gd name="T1" fmla="*/ 0 h 38"/>
                  <a:gd name="T2" fmla="*/ 0 w 26"/>
                  <a:gd name="T3" fmla="*/ 23 h 38"/>
                  <a:gd name="T4" fmla="*/ 26 w 26"/>
                  <a:gd name="T5" fmla="*/ 38 h 38"/>
                  <a:gd name="T6" fmla="*/ 11 w 26"/>
                  <a:gd name="T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38">
                    <a:moveTo>
                      <a:pt x="11" y="0"/>
                    </a:moveTo>
                    <a:lnTo>
                      <a:pt x="0" y="23"/>
                    </a:lnTo>
                    <a:lnTo>
                      <a:pt x="26" y="38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4" name="Freeform 283"/>
              <p:cNvSpPr>
                <a:spLocks/>
              </p:cNvSpPr>
              <p:nvPr/>
            </p:nvSpPr>
            <p:spPr bwMode="auto">
              <a:xfrm>
                <a:off x="4127" y="2340"/>
                <a:ext cx="43" cy="54"/>
              </a:xfrm>
              <a:custGeom>
                <a:avLst/>
                <a:gdLst>
                  <a:gd name="T0" fmla="*/ 24 w 43"/>
                  <a:gd name="T1" fmla="*/ 0 h 54"/>
                  <a:gd name="T2" fmla="*/ 0 w 43"/>
                  <a:gd name="T3" fmla="*/ 3 h 54"/>
                  <a:gd name="T4" fmla="*/ 43 w 43"/>
                  <a:gd name="T5" fmla="*/ 54 h 54"/>
                  <a:gd name="T6" fmla="*/ 43 w 43"/>
                  <a:gd name="T7" fmla="*/ 14 h 54"/>
                  <a:gd name="T8" fmla="*/ 24 w 43"/>
                  <a:gd name="T9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54">
                    <a:moveTo>
                      <a:pt x="24" y="0"/>
                    </a:moveTo>
                    <a:lnTo>
                      <a:pt x="0" y="3"/>
                    </a:lnTo>
                    <a:lnTo>
                      <a:pt x="43" y="54"/>
                    </a:lnTo>
                    <a:lnTo>
                      <a:pt x="43" y="1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5" name="Freeform 284"/>
              <p:cNvSpPr>
                <a:spLocks/>
              </p:cNvSpPr>
              <p:nvPr/>
            </p:nvSpPr>
            <p:spPr bwMode="auto">
              <a:xfrm>
                <a:off x="4181" y="2414"/>
                <a:ext cx="91" cy="111"/>
              </a:xfrm>
              <a:custGeom>
                <a:avLst/>
                <a:gdLst>
                  <a:gd name="T0" fmla="*/ 1 w 91"/>
                  <a:gd name="T1" fmla="*/ 7 h 111"/>
                  <a:gd name="T2" fmla="*/ 0 w 91"/>
                  <a:gd name="T3" fmla="*/ 57 h 111"/>
                  <a:gd name="T4" fmla="*/ 33 w 91"/>
                  <a:gd name="T5" fmla="*/ 37 h 111"/>
                  <a:gd name="T6" fmla="*/ 30 w 91"/>
                  <a:gd name="T7" fmla="*/ 61 h 111"/>
                  <a:gd name="T8" fmla="*/ 9 w 91"/>
                  <a:gd name="T9" fmla="*/ 70 h 111"/>
                  <a:gd name="T10" fmla="*/ 30 w 91"/>
                  <a:gd name="T11" fmla="*/ 96 h 111"/>
                  <a:gd name="T12" fmla="*/ 48 w 91"/>
                  <a:gd name="T13" fmla="*/ 111 h 111"/>
                  <a:gd name="T14" fmla="*/ 48 w 91"/>
                  <a:gd name="T15" fmla="*/ 79 h 111"/>
                  <a:gd name="T16" fmla="*/ 61 w 91"/>
                  <a:gd name="T17" fmla="*/ 66 h 111"/>
                  <a:gd name="T18" fmla="*/ 70 w 91"/>
                  <a:gd name="T19" fmla="*/ 85 h 111"/>
                  <a:gd name="T20" fmla="*/ 91 w 91"/>
                  <a:gd name="T21" fmla="*/ 88 h 111"/>
                  <a:gd name="T22" fmla="*/ 90 w 91"/>
                  <a:gd name="T23" fmla="*/ 60 h 111"/>
                  <a:gd name="T24" fmla="*/ 72 w 91"/>
                  <a:gd name="T25" fmla="*/ 61 h 111"/>
                  <a:gd name="T26" fmla="*/ 79 w 91"/>
                  <a:gd name="T27" fmla="*/ 43 h 111"/>
                  <a:gd name="T28" fmla="*/ 55 w 91"/>
                  <a:gd name="T29" fmla="*/ 39 h 111"/>
                  <a:gd name="T30" fmla="*/ 45 w 91"/>
                  <a:gd name="T31" fmla="*/ 51 h 111"/>
                  <a:gd name="T32" fmla="*/ 40 w 91"/>
                  <a:gd name="T33" fmla="*/ 21 h 111"/>
                  <a:gd name="T34" fmla="*/ 24 w 91"/>
                  <a:gd name="T35" fmla="*/ 0 h 111"/>
                  <a:gd name="T36" fmla="*/ 1 w 91"/>
                  <a:gd name="T37" fmla="*/ 7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1" h="111">
                    <a:moveTo>
                      <a:pt x="1" y="7"/>
                    </a:moveTo>
                    <a:lnTo>
                      <a:pt x="0" y="57"/>
                    </a:lnTo>
                    <a:lnTo>
                      <a:pt x="33" y="37"/>
                    </a:lnTo>
                    <a:lnTo>
                      <a:pt x="30" y="61"/>
                    </a:lnTo>
                    <a:lnTo>
                      <a:pt x="9" y="70"/>
                    </a:lnTo>
                    <a:lnTo>
                      <a:pt x="30" y="96"/>
                    </a:lnTo>
                    <a:lnTo>
                      <a:pt x="48" y="111"/>
                    </a:lnTo>
                    <a:lnTo>
                      <a:pt x="48" y="79"/>
                    </a:lnTo>
                    <a:lnTo>
                      <a:pt x="61" y="66"/>
                    </a:lnTo>
                    <a:lnTo>
                      <a:pt x="70" y="85"/>
                    </a:lnTo>
                    <a:lnTo>
                      <a:pt x="91" y="88"/>
                    </a:lnTo>
                    <a:lnTo>
                      <a:pt x="90" y="60"/>
                    </a:lnTo>
                    <a:lnTo>
                      <a:pt x="72" y="61"/>
                    </a:lnTo>
                    <a:lnTo>
                      <a:pt x="79" y="43"/>
                    </a:lnTo>
                    <a:lnTo>
                      <a:pt x="55" y="39"/>
                    </a:lnTo>
                    <a:lnTo>
                      <a:pt x="45" y="51"/>
                    </a:lnTo>
                    <a:lnTo>
                      <a:pt x="40" y="21"/>
                    </a:lnTo>
                    <a:lnTo>
                      <a:pt x="24" y="0"/>
                    </a:lnTo>
                    <a:lnTo>
                      <a:pt x="1" y="7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6" name="Freeform 285"/>
              <p:cNvSpPr>
                <a:spLocks/>
              </p:cNvSpPr>
              <p:nvPr/>
            </p:nvSpPr>
            <p:spPr bwMode="auto">
              <a:xfrm>
                <a:off x="4260" y="2375"/>
                <a:ext cx="38" cy="103"/>
              </a:xfrm>
              <a:custGeom>
                <a:avLst/>
                <a:gdLst>
                  <a:gd name="T0" fmla="*/ 38 w 38"/>
                  <a:gd name="T1" fmla="*/ 4 h 103"/>
                  <a:gd name="T2" fmla="*/ 35 w 38"/>
                  <a:gd name="T3" fmla="*/ 103 h 103"/>
                  <a:gd name="T4" fmla="*/ 5 w 38"/>
                  <a:gd name="T5" fmla="*/ 60 h 103"/>
                  <a:gd name="T6" fmla="*/ 18 w 38"/>
                  <a:gd name="T7" fmla="*/ 40 h 103"/>
                  <a:gd name="T8" fmla="*/ 0 w 38"/>
                  <a:gd name="T9" fmla="*/ 21 h 103"/>
                  <a:gd name="T10" fmla="*/ 0 w 38"/>
                  <a:gd name="T11" fmla="*/ 0 h 103"/>
                  <a:gd name="T12" fmla="*/ 38 w 38"/>
                  <a:gd name="T13" fmla="*/ 4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03">
                    <a:moveTo>
                      <a:pt x="38" y="4"/>
                    </a:moveTo>
                    <a:lnTo>
                      <a:pt x="35" y="103"/>
                    </a:lnTo>
                    <a:lnTo>
                      <a:pt x="5" y="60"/>
                    </a:lnTo>
                    <a:lnTo>
                      <a:pt x="18" y="40"/>
                    </a:lnTo>
                    <a:lnTo>
                      <a:pt x="0" y="21"/>
                    </a:lnTo>
                    <a:lnTo>
                      <a:pt x="0" y="0"/>
                    </a:lnTo>
                    <a:lnTo>
                      <a:pt x="38" y="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7" name="Freeform 286"/>
              <p:cNvSpPr>
                <a:spLocks/>
              </p:cNvSpPr>
              <p:nvPr/>
            </p:nvSpPr>
            <p:spPr bwMode="auto">
              <a:xfrm>
                <a:off x="4184" y="2511"/>
                <a:ext cx="144" cy="156"/>
              </a:xfrm>
              <a:custGeom>
                <a:avLst/>
                <a:gdLst>
                  <a:gd name="T0" fmla="*/ 121 w 144"/>
                  <a:gd name="T1" fmla="*/ 0 h 156"/>
                  <a:gd name="T2" fmla="*/ 144 w 144"/>
                  <a:gd name="T3" fmla="*/ 54 h 156"/>
                  <a:gd name="T4" fmla="*/ 102 w 144"/>
                  <a:gd name="T5" fmla="*/ 90 h 156"/>
                  <a:gd name="T6" fmla="*/ 117 w 144"/>
                  <a:gd name="T7" fmla="*/ 99 h 156"/>
                  <a:gd name="T8" fmla="*/ 105 w 144"/>
                  <a:gd name="T9" fmla="*/ 156 h 156"/>
                  <a:gd name="T10" fmla="*/ 55 w 144"/>
                  <a:gd name="T11" fmla="*/ 114 h 156"/>
                  <a:gd name="T12" fmla="*/ 58 w 144"/>
                  <a:gd name="T13" fmla="*/ 81 h 156"/>
                  <a:gd name="T14" fmla="*/ 21 w 144"/>
                  <a:gd name="T15" fmla="*/ 81 h 156"/>
                  <a:gd name="T16" fmla="*/ 0 w 144"/>
                  <a:gd name="T17" fmla="*/ 108 h 156"/>
                  <a:gd name="T18" fmla="*/ 6 w 144"/>
                  <a:gd name="T19" fmla="*/ 47 h 156"/>
                  <a:gd name="T20" fmla="*/ 34 w 144"/>
                  <a:gd name="T21" fmla="*/ 44 h 156"/>
                  <a:gd name="T22" fmla="*/ 42 w 144"/>
                  <a:gd name="T23" fmla="*/ 27 h 156"/>
                  <a:gd name="T24" fmla="*/ 60 w 144"/>
                  <a:gd name="T25" fmla="*/ 50 h 156"/>
                  <a:gd name="T26" fmla="*/ 121 w 144"/>
                  <a:gd name="T27" fmla="*/ 0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4" h="156">
                    <a:moveTo>
                      <a:pt x="121" y="0"/>
                    </a:moveTo>
                    <a:lnTo>
                      <a:pt x="144" y="54"/>
                    </a:lnTo>
                    <a:lnTo>
                      <a:pt x="102" y="90"/>
                    </a:lnTo>
                    <a:lnTo>
                      <a:pt x="117" y="99"/>
                    </a:lnTo>
                    <a:lnTo>
                      <a:pt x="105" y="156"/>
                    </a:lnTo>
                    <a:lnTo>
                      <a:pt x="55" y="114"/>
                    </a:lnTo>
                    <a:lnTo>
                      <a:pt x="58" y="81"/>
                    </a:lnTo>
                    <a:lnTo>
                      <a:pt x="21" y="81"/>
                    </a:lnTo>
                    <a:lnTo>
                      <a:pt x="0" y="108"/>
                    </a:lnTo>
                    <a:lnTo>
                      <a:pt x="6" y="47"/>
                    </a:lnTo>
                    <a:lnTo>
                      <a:pt x="34" y="44"/>
                    </a:lnTo>
                    <a:lnTo>
                      <a:pt x="42" y="27"/>
                    </a:lnTo>
                    <a:lnTo>
                      <a:pt x="60" y="50"/>
                    </a:lnTo>
                    <a:lnTo>
                      <a:pt x="12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482" name="Group 297"/>
            <p:cNvGrpSpPr>
              <a:grpSpLocks/>
            </p:cNvGrpSpPr>
            <p:nvPr/>
          </p:nvGrpSpPr>
          <p:grpSpPr bwMode="auto">
            <a:xfrm>
              <a:off x="4188" y="2355"/>
              <a:ext cx="702" cy="353"/>
              <a:chOff x="3368" y="2633"/>
              <a:chExt cx="1390" cy="696"/>
            </a:xfrm>
            <a:grpFill/>
          </p:grpSpPr>
          <p:sp>
            <p:nvSpPr>
              <p:cNvPr id="489" name="Freeform 275"/>
              <p:cNvSpPr>
                <a:spLocks/>
              </p:cNvSpPr>
              <p:nvPr/>
            </p:nvSpPr>
            <p:spPr bwMode="auto">
              <a:xfrm>
                <a:off x="3368" y="2633"/>
                <a:ext cx="352" cy="468"/>
              </a:xfrm>
              <a:custGeom>
                <a:avLst/>
                <a:gdLst>
                  <a:gd name="T0" fmla="*/ 30 w 352"/>
                  <a:gd name="T1" fmla="*/ 22 h 468"/>
                  <a:gd name="T2" fmla="*/ 81 w 352"/>
                  <a:gd name="T3" fmla="*/ 27 h 468"/>
                  <a:gd name="T4" fmla="*/ 93 w 352"/>
                  <a:gd name="T5" fmla="*/ 64 h 468"/>
                  <a:gd name="T6" fmla="*/ 121 w 352"/>
                  <a:gd name="T7" fmla="*/ 75 h 468"/>
                  <a:gd name="T8" fmla="*/ 121 w 352"/>
                  <a:gd name="T9" fmla="*/ 94 h 468"/>
                  <a:gd name="T10" fmla="*/ 144 w 352"/>
                  <a:gd name="T11" fmla="*/ 108 h 468"/>
                  <a:gd name="T12" fmla="*/ 162 w 352"/>
                  <a:gd name="T13" fmla="*/ 138 h 468"/>
                  <a:gd name="T14" fmla="*/ 181 w 352"/>
                  <a:gd name="T15" fmla="*/ 156 h 468"/>
                  <a:gd name="T16" fmla="*/ 195 w 352"/>
                  <a:gd name="T17" fmla="*/ 184 h 468"/>
                  <a:gd name="T18" fmla="*/ 219 w 352"/>
                  <a:gd name="T19" fmla="*/ 210 h 468"/>
                  <a:gd name="T20" fmla="*/ 235 w 352"/>
                  <a:gd name="T21" fmla="*/ 205 h 468"/>
                  <a:gd name="T22" fmla="*/ 262 w 352"/>
                  <a:gd name="T23" fmla="*/ 264 h 468"/>
                  <a:gd name="T24" fmla="*/ 249 w 352"/>
                  <a:gd name="T25" fmla="*/ 276 h 468"/>
                  <a:gd name="T26" fmla="*/ 261 w 352"/>
                  <a:gd name="T27" fmla="*/ 297 h 468"/>
                  <a:gd name="T28" fmla="*/ 295 w 352"/>
                  <a:gd name="T29" fmla="*/ 297 h 468"/>
                  <a:gd name="T30" fmla="*/ 291 w 352"/>
                  <a:gd name="T31" fmla="*/ 328 h 468"/>
                  <a:gd name="T32" fmla="*/ 303 w 352"/>
                  <a:gd name="T33" fmla="*/ 343 h 468"/>
                  <a:gd name="T34" fmla="*/ 313 w 352"/>
                  <a:gd name="T35" fmla="*/ 316 h 468"/>
                  <a:gd name="T36" fmla="*/ 343 w 352"/>
                  <a:gd name="T37" fmla="*/ 321 h 468"/>
                  <a:gd name="T38" fmla="*/ 352 w 352"/>
                  <a:gd name="T39" fmla="*/ 372 h 468"/>
                  <a:gd name="T40" fmla="*/ 331 w 352"/>
                  <a:gd name="T41" fmla="*/ 355 h 468"/>
                  <a:gd name="T42" fmla="*/ 330 w 352"/>
                  <a:gd name="T43" fmla="*/ 391 h 468"/>
                  <a:gd name="T44" fmla="*/ 318 w 352"/>
                  <a:gd name="T45" fmla="*/ 427 h 468"/>
                  <a:gd name="T46" fmla="*/ 334 w 352"/>
                  <a:gd name="T47" fmla="*/ 456 h 468"/>
                  <a:gd name="T48" fmla="*/ 262 w 352"/>
                  <a:gd name="T49" fmla="*/ 468 h 468"/>
                  <a:gd name="T50" fmla="*/ 226 w 352"/>
                  <a:gd name="T51" fmla="*/ 421 h 468"/>
                  <a:gd name="T52" fmla="*/ 217 w 352"/>
                  <a:gd name="T53" fmla="*/ 364 h 468"/>
                  <a:gd name="T54" fmla="*/ 189 w 352"/>
                  <a:gd name="T55" fmla="*/ 331 h 468"/>
                  <a:gd name="T56" fmla="*/ 168 w 352"/>
                  <a:gd name="T57" fmla="*/ 289 h 468"/>
                  <a:gd name="T58" fmla="*/ 120 w 352"/>
                  <a:gd name="T59" fmla="*/ 229 h 468"/>
                  <a:gd name="T60" fmla="*/ 123 w 352"/>
                  <a:gd name="T61" fmla="*/ 168 h 468"/>
                  <a:gd name="T62" fmla="*/ 94 w 352"/>
                  <a:gd name="T63" fmla="*/ 159 h 468"/>
                  <a:gd name="T64" fmla="*/ 55 w 352"/>
                  <a:gd name="T65" fmla="*/ 100 h 468"/>
                  <a:gd name="T66" fmla="*/ 6 w 352"/>
                  <a:gd name="T67" fmla="*/ 52 h 468"/>
                  <a:gd name="T68" fmla="*/ 0 w 352"/>
                  <a:gd name="T69" fmla="*/ 9 h 468"/>
                  <a:gd name="T70" fmla="*/ 24 w 352"/>
                  <a:gd name="T71" fmla="*/ 0 h 468"/>
                  <a:gd name="T72" fmla="*/ 30 w 352"/>
                  <a:gd name="T73" fmla="*/ 2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52" h="468">
                    <a:moveTo>
                      <a:pt x="30" y="22"/>
                    </a:moveTo>
                    <a:lnTo>
                      <a:pt x="81" y="27"/>
                    </a:lnTo>
                    <a:lnTo>
                      <a:pt x="93" y="64"/>
                    </a:lnTo>
                    <a:lnTo>
                      <a:pt x="121" y="75"/>
                    </a:lnTo>
                    <a:lnTo>
                      <a:pt x="121" y="94"/>
                    </a:lnTo>
                    <a:lnTo>
                      <a:pt x="144" y="108"/>
                    </a:lnTo>
                    <a:lnTo>
                      <a:pt x="162" y="138"/>
                    </a:lnTo>
                    <a:lnTo>
                      <a:pt x="181" y="156"/>
                    </a:lnTo>
                    <a:lnTo>
                      <a:pt x="195" y="184"/>
                    </a:lnTo>
                    <a:lnTo>
                      <a:pt x="219" y="210"/>
                    </a:lnTo>
                    <a:lnTo>
                      <a:pt x="235" y="205"/>
                    </a:lnTo>
                    <a:lnTo>
                      <a:pt x="262" y="264"/>
                    </a:lnTo>
                    <a:lnTo>
                      <a:pt x="249" y="276"/>
                    </a:lnTo>
                    <a:lnTo>
                      <a:pt x="261" y="297"/>
                    </a:lnTo>
                    <a:lnTo>
                      <a:pt x="295" y="297"/>
                    </a:lnTo>
                    <a:lnTo>
                      <a:pt x="291" y="328"/>
                    </a:lnTo>
                    <a:lnTo>
                      <a:pt x="303" y="343"/>
                    </a:lnTo>
                    <a:lnTo>
                      <a:pt x="313" y="316"/>
                    </a:lnTo>
                    <a:lnTo>
                      <a:pt x="343" y="321"/>
                    </a:lnTo>
                    <a:lnTo>
                      <a:pt x="352" y="372"/>
                    </a:lnTo>
                    <a:lnTo>
                      <a:pt x="331" y="355"/>
                    </a:lnTo>
                    <a:lnTo>
                      <a:pt x="330" y="391"/>
                    </a:lnTo>
                    <a:lnTo>
                      <a:pt x="318" y="427"/>
                    </a:lnTo>
                    <a:lnTo>
                      <a:pt x="334" y="456"/>
                    </a:lnTo>
                    <a:lnTo>
                      <a:pt x="262" y="468"/>
                    </a:lnTo>
                    <a:lnTo>
                      <a:pt x="226" y="421"/>
                    </a:lnTo>
                    <a:lnTo>
                      <a:pt x="217" y="364"/>
                    </a:lnTo>
                    <a:lnTo>
                      <a:pt x="189" y="331"/>
                    </a:lnTo>
                    <a:lnTo>
                      <a:pt x="168" y="289"/>
                    </a:lnTo>
                    <a:lnTo>
                      <a:pt x="120" y="229"/>
                    </a:lnTo>
                    <a:lnTo>
                      <a:pt x="123" y="168"/>
                    </a:lnTo>
                    <a:lnTo>
                      <a:pt x="94" y="159"/>
                    </a:lnTo>
                    <a:lnTo>
                      <a:pt x="55" y="100"/>
                    </a:lnTo>
                    <a:lnTo>
                      <a:pt x="6" y="52"/>
                    </a:lnTo>
                    <a:lnTo>
                      <a:pt x="0" y="9"/>
                    </a:lnTo>
                    <a:lnTo>
                      <a:pt x="24" y="0"/>
                    </a:lnTo>
                    <a:lnTo>
                      <a:pt x="30" y="2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0" name="Freeform 279"/>
              <p:cNvSpPr>
                <a:spLocks/>
              </p:cNvSpPr>
              <p:nvPr/>
            </p:nvSpPr>
            <p:spPr bwMode="auto">
              <a:xfrm>
                <a:off x="3785" y="2732"/>
                <a:ext cx="295" cy="283"/>
              </a:xfrm>
              <a:custGeom>
                <a:avLst/>
                <a:gdLst>
                  <a:gd name="T0" fmla="*/ 258 w 295"/>
                  <a:gd name="T1" fmla="*/ 9 h 283"/>
                  <a:gd name="T2" fmla="*/ 253 w 295"/>
                  <a:gd name="T3" fmla="*/ 31 h 283"/>
                  <a:gd name="T4" fmla="*/ 277 w 295"/>
                  <a:gd name="T5" fmla="*/ 45 h 283"/>
                  <a:gd name="T6" fmla="*/ 273 w 295"/>
                  <a:gd name="T7" fmla="*/ 94 h 283"/>
                  <a:gd name="T8" fmla="*/ 295 w 295"/>
                  <a:gd name="T9" fmla="*/ 108 h 283"/>
                  <a:gd name="T10" fmla="*/ 292 w 295"/>
                  <a:gd name="T11" fmla="*/ 126 h 283"/>
                  <a:gd name="T12" fmla="*/ 268 w 295"/>
                  <a:gd name="T13" fmla="*/ 126 h 283"/>
                  <a:gd name="T14" fmla="*/ 261 w 295"/>
                  <a:gd name="T15" fmla="*/ 156 h 283"/>
                  <a:gd name="T16" fmla="*/ 268 w 295"/>
                  <a:gd name="T17" fmla="*/ 174 h 283"/>
                  <a:gd name="T18" fmla="*/ 250 w 295"/>
                  <a:gd name="T19" fmla="*/ 180 h 283"/>
                  <a:gd name="T20" fmla="*/ 261 w 295"/>
                  <a:gd name="T21" fmla="*/ 189 h 283"/>
                  <a:gd name="T22" fmla="*/ 244 w 295"/>
                  <a:gd name="T23" fmla="*/ 213 h 283"/>
                  <a:gd name="T24" fmla="*/ 258 w 295"/>
                  <a:gd name="T25" fmla="*/ 237 h 283"/>
                  <a:gd name="T26" fmla="*/ 237 w 295"/>
                  <a:gd name="T27" fmla="*/ 261 h 283"/>
                  <a:gd name="T28" fmla="*/ 222 w 295"/>
                  <a:gd name="T29" fmla="*/ 279 h 283"/>
                  <a:gd name="T30" fmla="*/ 178 w 295"/>
                  <a:gd name="T31" fmla="*/ 283 h 283"/>
                  <a:gd name="T32" fmla="*/ 109 w 295"/>
                  <a:gd name="T33" fmla="*/ 279 h 283"/>
                  <a:gd name="T34" fmla="*/ 87 w 295"/>
                  <a:gd name="T35" fmla="*/ 261 h 283"/>
                  <a:gd name="T36" fmla="*/ 67 w 295"/>
                  <a:gd name="T37" fmla="*/ 279 h 283"/>
                  <a:gd name="T38" fmla="*/ 48 w 295"/>
                  <a:gd name="T39" fmla="*/ 262 h 283"/>
                  <a:gd name="T40" fmla="*/ 39 w 295"/>
                  <a:gd name="T41" fmla="*/ 196 h 283"/>
                  <a:gd name="T42" fmla="*/ 16 w 295"/>
                  <a:gd name="T43" fmla="*/ 202 h 283"/>
                  <a:gd name="T44" fmla="*/ 7 w 295"/>
                  <a:gd name="T45" fmla="*/ 186 h 283"/>
                  <a:gd name="T46" fmla="*/ 12 w 295"/>
                  <a:gd name="T47" fmla="*/ 153 h 283"/>
                  <a:gd name="T48" fmla="*/ 0 w 295"/>
                  <a:gd name="T49" fmla="*/ 112 h 283"/>
                  <a:gd name="T50" fmla="*/ 0 w 295"/>
                  <a:gd name="T51" fmla="*/ 99 h 283"/>
                  <a:gd name="T52" fmla="*/ 18 w 295"/>
                  <a:gd name="T53" fmla="*/ 76 h 283"/>
                  <a:gd name="T54" fmla="*/ 39 w 295"/>
                  <a:gd name="T55" fmla="*/ 72 h 283"/>
                  <a:gd name="T56" fmla="*/ 39 w 295"/>
                  <a:gd name="T57" fmla="*/ 102 h 283"/>
                  <a:gd name="T58" fmla="*/ 55 w 295"/>
                  <a:gd name="T59" fmla="*/ 115 h 283"/>
                  <a:gd name="T60" fmla="*/ 90 w 295"/>
                  <a:gd name="T61" fmla="*/ 129 h 283"/>
                  <a:gd name="T62" fmla="*/ 127 w 295"/>
                  <a:gd name="T63" fmla="*/ 100 h 283"/>
                  <a:gd name="T64" fmla="*/ 171 w 295"/>
                  <a:gd name="T65" fmla="*/ 109 h 283"/>
                  <a:gd name="T66" fmla="*/ 183 w 295"/>
                  <a:gd name="T67" fmla="*/ 88 h 283"/>
                  <a:gd name="T68" fmla="*/ 183 w 295"/>
                  <a:gd name="T69" fmla="*/ 58 h 283"/>
                  <a:gd name="T70" fmla="*/ 205 w 295"/>
                  <a:gd name="T71" fmla="*/ 36 h 283"/>
                  <a:gd name="T72" fmla="*/ 228 w 295"/>
                  <a:gd name="T73" fmla="*/ 0 h 283"/>
                  <a:gd name="T74" fmla="*/ 258 w 295"/>
                  <a:gd name="T75" fmla="*/ 9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95" h="283">
                    <a:moveTo>
                      <a:pt x="258" y="9"/>
                    </a:moveTo>
                    <a:lnTo>
                      <a:pt x="253" y="31"/>
                    </a:lnTo>
                    <a:lnTo>
                      <a:pt x="277" y="45"/>
                    </a:lnTo>
                    <a:lnTo>
                      <a:pt x="273" y="94"/>
                    </a:lnTo>
                    <a:lnTo>
                      <a:pt x="295" y="108"/>
                    </a:lnTo>
                    <a:lnTo>
                      <a:pt x="292" y="126"/>
                    </a:lnTo>
                    <a:lnTo>
                      <a:pt x="268" y="126"/>
                    </a:lnTo>
                    <a:lnTo>
                      <a:pt x="261" y="156"/>
                    </a:lnTo>
                    <a:lnTo>
                      <a:pt x="268" y="174"/>
                    </a:lnTo>
                    <a:lnTo>
                      <a:pt x="250" y="180"/>
                    </a:lnTo>
                    <a:lnTo>
                      <a:pt x="261" y="189"/>
                    </a:lnTo>
                    <a:lnTo>
                      <a:pt x="244" y="213"/>
                    </a:lnTo>
                    <a:lnTo>
                      <a:pt x="258" y="237"/>
                    </a:lnTo>
                    <a:lnTo>
                      <a:pt x="237" y="261"/>
                    </a:lnTo>
                    <a:lnTo>
                      <a:pt x="222" y="279"/>
                    </a:lnTo>
                    <a:lnTo>
                      <a:pt x="178" y="283"/>
                    </a:lnTo>
                    <a:lnTo>
                      <a:pt x="109" y="279"/>
                    </a:lnTo>
                    <a:lnTo>
                      <a:pt x="87" y="261"/>
                    </a:lnTo>
                    <a:lnTo>
                      <a:pt x="67" y="279"/>
                    </a:lnTo>
                    <a:lnTo>
                      <a:pt x="48" y="262"/>
                    </a:lnTo>
                    <a:lnTo>
                      <a:pt x="39" y="196"/>
                    </a:lnTo>
                    <a:lnTo>
                      <a:pt x="16" y="202"/>
                    </a:lnTo>
                    <a:lnTo>
                      <a:pt x="7" y="186"/>
                    </a:lnTo>
                    <a:lnTo>
                      <a:pt x="12" y="153"/>
                    </a:lnTo>
                    <a:lnTo>
                      <a:pt x="0" y="112"/>
                    </a:lnTo>
                    <a:lnTo>
                      <a:pt x="0" y="99"/>
                    </a:lnTo>
                    <a:lnTo>
                      <a:pt x="18" y="76"/>
                    </a:lnTo>
                    <a:lnTo>
                      <a:pt x="39" y="72"/>
                    </a:lnTo>
                    <a:lnTo>
                      <a:pt x="39" y="102"/>
                    </a:lnTo>
                    <a:lnTo>
                      <a:pt x="55" y="115"/>
                    </a:lnTo>
                    <a:lnTo>
                      <a:pt x="90" y="129"/>
                    </a:lnTo>
                    <a:lnTo>
                      <a:pt x="127" y="100"/>
                    </a:lnTo>
                    <a:lnTo>
                      <a:pt x="171" y="109"/>
                    </a:lnTo>
                    <a:lnTo>
                      <a:pt x="183" y="88"/>
                    </a:lnTo>
                    <a:lnTo>
                      <a:pt x="183" y="58"/>
                    </a:lnTo>
                    <a:lnTo>
                      <a:pt x="205" y="36"/>
                    </a:lnTo>
                    <a:lnTo>
                      <a:pt x="228" y="0"/>
                    </a:lnTo>
                    <a:lnTo>
                      <a:pt x="258" y="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1" name="Freeform 287"/>
              <p:cNvSpPr>
                <a:spLocks/>
              </p:cNvSpPr>
              <p:nvPr/>
            </p:nvSpPr>
            <p:spPr bwMode="auto">
              <a:xfrm>
                <a:off x="4089" y="2819"/>
                <a:ext cx="191" cy="289"/>
              </a:xfrm>
              <a:custGeom>
                <a:avLst/>
                <a:gdLst>
                  <a:gd name="T0" fmla="*/ 180 w 191"/>
                  <a:gd name="T1" fmla="*/ 0 h 289"/>
                  <a:gd name="T2" fmla="*/ 146 w 191"/>
                  <a:gd name="T3" fmla="*/ 33 h 289"/>
                  <a:gd name="T4" fmla="*/ 50 w 191"/>
                  <a:gd name="T5" fmla="*/ 15 h 289"/>
                  <a:gd name="T6" fmla="*/ 23 w 191"/>
                  <a:gd name="T7" fmla="*/ 43 h 289"/>
                  <a:gd name="T8" fmla="*/ 23 w 191"/>
                  <a:gd name="T9" fmla="*/ 93 h 289"/>
                  <a:gd name="T10" fmla="*/ 5 w 191"/>
                  <a:gd name="T11" fmla="*/ 106 h 289"/>
                  <a:gd name="T12" fmla="*/ 0 w 191"/>
                  <a:gd name="T13" fmla="*/ 205 h 289"/>
                  <a:gd name="T14" fmla="*/ 14 w 191"/>
                  <a:gd name="T15" fmla="*/ 207 h 289"/>
                  <a:gd name="T16" fmla="*/ 12 w 191"/>
                  <a:gd name="T17" fmla="*/ 241 h 289"/>
                  <a:gd name="T18" fmla="*/ 0 w 191"/>
                  <a:gd name="T19" fmla="*/ 253 h 289"/>
                  <a:gd name="T20" fmla="*/ 9 w 191"/>
                  <a:gd name="T21" fmla="*/ 289 h 289"/>
                  <a:gd name="T22" fmla="*/ 65 w 191"/>
                  <a:gd name="T23" fmla="*/ 282 h 289"/>
                  <a:gd name="T24" fmla="*/ 48 w 191"/>
                  <a:gd name="T25" fmla="*/ 193 h 289"/>
                  <a:gd name="T26" fmla="*/ 74 w 191"/>
                  <a:gd name="T27" fmla="*/ 196 h 289"/>
                  <a:gd name="T28" fmla="*/ 80 w 191"/>
                  <a:gd name="T29" fmla="*/ 255 h 289"/>
                  <a:gd name="T30" fmla="*/ 105 w 191"/>
                  <a:gd name="T31" fmla="*/ 265 h 289"/>
                  <a:gd name="T32" fmla="*/ 113 w 191"/>
                  <a:gd name="T33" fmla="*/ 240 h 289"/>
                  <a:gd name="T34" fmla="*/ 137 w 191"/>
                  <a:gd name="T35" fmla="*/ 235 h 289"/>
                  <a:gd name="T36" fmla="*/ 74 w 191"/>
                  <a:gd name="T37" fmla="*/ 156 h 289"/>
                  <a:gd name="T38" fmla="*/ 99 w 191"/>
                  <a:gd name="T39" fmla="*/ 129 h 289"/>
                  <a:gd name="T40" fmla="*/ 135 w 191"/>
                  <a:gd name="T41" fmla="*/ 147 h 289"/>
                  <a:gd name="T42" fmla="*/ 144 w 191"/>
                  <a:gd name="T43" fmla="*/ 93 h 289"/>
                  <a:gd name="T44" fmla="*/ 80 w 191"/>
                  <a:gd name="T45" fmla="*/ 103 h 289"/>
                  <a:gd name="T46" fmla="*/ 42 w 191"/>
                  <a:gd name="T47" fmla="*/ 81 h 289"/>
                  <a:gd name="T48" fmla="*/ 56 w 191"/>
                  <a:gd name="T49" fmla="*/ 57 h 289"/>
                  <a:gd name="T50" fmla="*/ 161 w 191"/>
                  <a:gd name="T51" fmla="*/ 52 h 289"/>
                  <a:gd name="T52" fmla="*/ 191 w 191"/>
                  <a:gd name="T53" fmla="*/ 19 h 289"/>
                  <a:gd name="T54" fmla="*/ 180 w 191"/>
                  <a:gd name="T55" fmla="*/ 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1" h="289">
                    <a:moveTo>
                      <a:pt x="180" y="0"/>
                    </a:moveTo>
                    <a:lnTo>
                      <a:pt x="146" y="33"/>
                    </a:lnTo>
                    <a:lnTo>
                      <a:pt x="50" y="15"/>
                    </a:lnTo>
                    <a:lnTo>
                      <a:pt x="23" y="43"/>
                    </a:lnTo>
                    <a:lnTo>
                      <a:pt x="23" y="93"/>
                    </a:lnTo>
                    <a:lnTo>
                      <a:pt x="5" y="106"/>
                    </a:lnTo>
                    <a:lnTo>
                      <a:pt x="0" y="205"/>
                    </a:lnTo>
                    <a:lnTo>
                      <a:pt x="14" y="207"/>
                    </a:lnTo>
                    <a:lnTo>
                      <a:pt x="12" y="241"/>
                    </a:lnTo>
                    <a:lnTo>
                      <a:pt x="0" y="253"/>
                    </a:lnTo>
                    <a:lnTo>
                      <a:pt x="9" y="289"/>
                    </a:lnTo>
                    <a:lnTo>
                      <a:pt x="65" y="282"/>
                    </a:lnTo>
                    <a:lnTo>
                      <a:pt x="48" y="193"/>
                    </a:lnTo>
                    <a:lnTo>
                      <a:pt x="74" y="196"/>
                    </a:lnTo>
                    <a:lnTo>
                      <a:pt x="80" y="255"/>
                    </a:lnTo>
                    <a:lnTo>
                      <a:pt x="105" y="265"/>
                    </a:lnTo>
                    <a:lnTo>
                      <a:pt x="113" y="240"/>
                    </a:lnTo>
                    <a:lnTo>
                      <a:pt x="137" y="235"/>
                    </a:lnTo>
                    <a:lnTo>
                      <a:pt x="74" y="156"/>
                    </a:lnTo>
                    <a:lnTo>
                      <a:pt x="99" y="129"/>
                    </a:lnTo>
                    <a:lnTo>
                      <a:pt x="135" y="147"/>
                    </a:lnTo>
                    <a:lnTo>
                      <a:pt x="144" y="93"/>
                    </a:lnTo>
                    <a:lnTo>
                      <a:pt x="80" y="103"/>
                    </a:lnTo>
                    <a:lnTo>
                      <a:pt x="42" y="81"/>
                    </a:lnTo>
                    <a:lnTo>
                      <a:pt x="56" y="57"/>
                    </a:lnTo>
                    <a:lnTo>
                      <a:pt x="161" y="52"/>
                    </a:lnTo>
                    <a:lnTo>
                      <a:pt x="191" y="19"/>
                    </a:lnTo>
                    <a:lnTo>
                      <a:pt x="180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2" name="Freeform 288"/>
              <p:cNvSpPr>
                <a:spLocks/>
              </p:cNvSpPr>
              <p:nvPr/>
            </p:nvSpPr>
            <p:spPr bwMode="auto">
              <a:xfrm>
                <a:off x="3692" y="3110"/>
                <a:ext cx="328" cy="120"/>
              </a:xfrm>
              <a:custGeom>
                <a:avLst/>
                <a:gdLst>
                  <a:gd name="T0" fmla="*/ 33 w 328"/>
                  <a:gd name="T1" fmla="*/ 3 h 120"/>
                  <a:gd name="T2" fmla="*/ 0 w 328"/>
                  <a:gd name="T3" fmla="*/ 21 h 120"/>
                  <a:gd name="T4" fmla="*/ 1 w 328"/>
                  <a:gd name="T5" fmla="*/ 54 h 120"/>
                  <a:gd name="T6" fmla="*/ 88 w 328"/>
                  <a:gd name="T7" fmla="*/ 72 h 120"/>
                  <a:gd name="T8" fmla="*/ 190 w 328"/>
                  <a:gd name="T9" fmla="*/ 88 h 120"/>
                  <a:gd name="T10" fmla="*/ 240 w 328"/>
                  <a:gd name="T11" fmla="*/ 111 h 120"/>
                  <a:gd name="T12" fmla="*/ 285 w 328"/>
                  <a:gd name="T13" fmla="*/ 120 h 120"/>
                  <a:gd name="T14" fmla="*/ 328 w 328"/>
                  <a:gd name="T15" fmla="*/ 115 h 120"/>
                  <a:gd name="T16" fmla="*/ 270 w 328"/>
                  <a:gd name="T17" fmla="*/ 93 h 120"/>
                  <a:gd name="T18" fmla="*/ 267 w 328"/>
                  <a:gd name="T19" fmla="*/ 61 h 120"/>
                  <a:gd name="T20" fmla="*/ 210 w 328"/>
                  <a:gd name="T21" fmla="*/ 55 h 120"/>
                  <a:gd name="T22" fmla="*/ 217 w 328"/>
                  <a:gd name="T23" fmla="*/ 33 h 120"/>
                  <a:gd name="T24" fmla="*/ 148 w 328"/>
                  <a:gd name="T25" fmla="*/ 16 h 120"/>
                  <a:gd name="T26" fmla="*/ 133 w 328"/>
                  <a:gd name="T27" fmla="*/ 30 h 120"/>
                  <a:gd name="T28" fmla="*/ 88 w 328"/>
                  <a:gd name="T29" fmla="*/ 16 h 120"/>
                  <a:gd name="T30" fmla="*/ 79 w 328"/>
                  <a:gd name="T31" fmla="*/ 0 h 120"/>
                  <a:gd name="T32" fmla="*/ 33 w 328"/>
                  <a:gd name="T33" fmla="*/ 3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28" h="120">
                    <a:moveTo>
                      <a:pt x="33" y="3"/>
                    </a:moveTo>
                    <a:lnTo>
                      <a:pt x="0" y="21"/>
                    </a:lnTo>
                    <a:lnTo>
                      <a:pt x="1" y="54"/>
                    </a:lnTo>
                    <a:lnTo>
                      <a:pt x="88" y="72"/>
                    </a:lnTo>
                    <a:lnTo>
                      <a:pt x="190" y="88"/>
                    </a:lnTo>
                    <a:lnTo>
                      <a:pt x="240" y="111"/>
                    </a:lnTo>
                    <a:lnTo>
                      <a:pt x="285" y="120"/>
                    </a:lnTo>
                    <a:lnTo>
                      <a:pt x="328" y="115"/>
                    </a:lnTo>
                    <a:lnTo>
                      <a:pt x="270" y="93"/>
                    </a:lnTo>
                    <a:lnTo>
                      <a:pt x="267" y="61"/>
                    </a:lnTo>
                    <a:lnTo>
                      <a:pt x="210" y="55"/>
                    </a:lnTo>
                    <a:lnTo>
                      <a:pt x="217" y="33"/>
                    </a:lnTo>
                    <a:lnTo>
                      <a:pt x="148" y="16"/>
                    </a:lnTo>
                    <a:lnTo>
                      <a:pt x="133" y="30"/>
                    </a:lnTo>
                    <a:lnTo>
                      <a:pt x="88" y="16"/>
                    </a:lnTo>
                    <a:lnTo>
                      <a:pt x="79" y="0"/>
                    </a:lnTo>
                    <a:lnTo>
                      <a:pt x="33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3" name="Freeform 289"/>
              <p:cNvSpPr>
                <a:spLocks/>
              </p:cNvSpPr>
              <p:nvPr/>
            </p:nvSpPr>
            <p:spPr bwMode="auto">
              <a:xfrm>
                <a:off x="4032" y="3218"/>
                <a:ext cx="72" cy="45"/>
              </a:xfrm>
              <a:custGeom>
                <a:avLst/>
                <a:gdLst>
                  <a:gd name="T0" fmla="*/ 0 w 72"/>
                  <a:gd name="T1" fmla="*/ 16 h 45"/>
                  <a:gd name="T2" fmla="*/ 21 w 72"/>
                  <a:gd name="T3" fmla="*/ 45 h 45"/>
                  <a:gd name="T4" fmla="*/ 72 w 72"/>
                  <a:gd name="T5" fmla="*/ 19 h 45"/>
                  <a:gd name="T6" fmla="*/ 54 w 72"/>
                  <a:gd name="T7" fmla="*/ 0 h 45"/>
                  <a:gd name="T8" fmla="*/ 0 w 72"/>
                  <a:gd name="T9" fmla="*/ 16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45">
                    <a:moveTo>
                      <a:pt x="0" y="16"/>
                    </a:moveTo>
                    <a:lnTo>
                      <a:pt x="21" y="45"/>
                    </a:lnTo>
                    <a:lnTo>
                      <a:pt x="72" y="19"/>
                    </a:lnTo>
                    <a:lnTo>
                      <a:pt x="54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4" name="Freeform 290"/>
              <p:cNvSpPr>
                <a:spLocks/>
              </p:cNvSpPr>
              <p:nvPr/>
            </p:nvSpPr>
            <p:spPr bwMode="auto">
              <a:xfrm>
                <a:off x="4127" y="3218"/>
                <a:ext cx="100" cy="36"/>
              </a:xfrm>
              <a:custGeom>
                <a:avLst/>
                <a:gdLst>
                  <a:gd name="T0" fmla="*/ 0 w 100"/>
                  <a:gd name="T1" fmla="*/ 3 h 36"/>
                  <a:gd name="T2" fmla="*/ 10 w 100"/>
                  <a:gd name="T3" fmla="*/ 28 h 36"/>
                  <a:gd name="T4" fmla="*/ 66 w 100"/>
                  <a:gd name="T5" fmla="*/ 36 h 36"/>
                  <a:gd name="T6" fmla="*/ 100 w 100"/>
                  <a:gd name="T7" fmla="*/ 12 h 36"/>
                  <a:gd name="T8" fmla="*/ 82 w 100"/>
                  <a:gd name="T9" fmla="*/ 0 h 36"/>
                  <a:gd name="T10" fmla="*/ 30 w 100"/>
                  <a:gd name="T11" fmla="*/ 9 h 36"/>
                  <a:gd name="T12" fmla="*/ 0 w 100"/>
                  <a:gd name="T13" fmla="*/ 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0" h="36">
                    <a:moveTo>
                      <a:pt x="0" y="3"/>
                    </a:moveTo>
                    <a:lnTo>
                      <a:pt x="10" y="28"/>
                    </a:lnTo>
                    <a:lnTo>
                      <a:pt x="66" y="36"/>
                    </a:lnTo>
                    <a:lnTo>
                      <a:pt x="100" y="12"/>
                    </a:lnTo>
                    <a:lnTo>
                      <a:pt x="82" y="0"/>
                    </a:lnTo>
                    <a:lnTo>
                      <a:pt x="30" y="9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5" name="Freeform 291"/>
              <p:cNvSpPr>
                <a:spLocks/>
              </p:cNvSpPr>
              <p:nvPr/>
            </p:nvSpPr>
            <p:spPr bwMode="auto">
              <a:xfrm>
                <a:off x="4098" y="3266"/>
                <a:ext cx="63" cy="39"/>
              </a:xfrm>
              <a:custGeom>
                <a:avLst/>
                <a:gdLst>
                  <a:gd name="T0" fmla="*/ 17 w 63"/>
                  <a:gd name="T1" fmla="*/ 0 h 39"/>
                  <a:gd name="T2" fmla="*/ 0 w 63"/>
                  <a:gd name="T3" fmla="*/ 25 h 39"/>
                  <a:gd name="T4" fmla="*/ 32 w 63"/>
                  <a:gd name="T5" fmla="*/ 25 h 39"/>
                  <a:gd name="T6" fmla="*/ 36 w 63"/>
                  <a:gd name="T7" fmla="*/ 36 h 39"/>
                  <a:gd name="T8" fmla="*/ 63 w 63"/>
                  <a:gd name="T9" fmla="*/ 39 h 39"/>
                  <a:gd name="T10" fmla="*/ 56 w 63"/>
                  <a:gd name="T11" fmla="*/ 16 h 39"/>
                  <a:gd name="T12" fmla="*/ 30 w 63"/>
                  <a:gd name="T13" fmla="*/ 18 h 39"/>
                  <a:gd name="T14" fmla="*/ 17 w 63"/>
                  <a:gd name="T1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9">
                    <a:moveTo>
                      <a:pt x="17" y="0"/>
                    </a:moveTo>
                    <a:lnTo>
                      <a:pt x="0" y="25"/>
                    </a:lnTo>
                    <a:lnTo>
                      <a:pt x="32" y="25"/>
                    </a:lnTo>
                    <a:lnTo>
                      <a:pt x="36" y="36"/>
                    </a:lnTo>
                    <a:lnTo>
                      <a:pt x="63" y="39"/>
                    </a:lnTo>
                    <a:lnTo>
                      <a:pt x="56" y="16"/>
                    </a:lnTo>
                    <a:lnTo>
                      <a:pt x="30" y="18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6" name="Freeform 292"/>
              <p:cNvSpPr>
                <a:spLocks/>
              </p:cNvSpPr>
              <p:nvPr/>
            </p:nvSpPr>
            <p:spPr bwMode="auto">
              <a:xfrm>
                <a:off x="4206" y="3204"/>
                <a:ext cx="135" cy="125"/>
              </a:xfrm>
              <a:custGeom>
                <a:avLst/>
                <a:gdLst>
                  <a:gd name="T0" fmla="*/ 0 w 135"/>
                  <a:gd name="T1" fmla="*/ 111 h 125"/>
                  <a:gd name="T2" fmla="*/ 6 w 135"/>
                  <a:gd name="T3" fmla="*/ 125 h 125"/>
                  <a:gd name="T4" fmla="*/ 135 w 135"/>
                  <a:gd name="T5" fmla="*/ 35 h 125"/>
                  <a:gd name="T6" fmla="*/ 113 w 135"/>
                  <a:gd name="T7" fmla="*/ 0 h 125"/>
                  <a:gd name="T8" fmla="*/ 87 w 135"/>
                  <a:gd name="T9" fmla="*/ 8 h 125"/>
                  <a:gd name="T10" fmla="*/ 104 w 135"/>
                  <a:gd name="T11" fmla="*/ 23 h 125"/>
                  <a:gd name="T12" fmla="*/ 47 w 135"/>
                  <a:gd name="T13" fmla="*/ 48 h 125"/>
                  <a:gd name="T14" fmla="*/ 0 w 135"/>
                  <a:gd name="T15" fmla="*/ 11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5" h="125">
                    <a:moveTo>
                      <a:pt x="0" y="111"/>
                    </a:moveTo>
                    <a:lnTo>
                      <a:pt x="6" y="125"/>
                    </a:lnTo>
                    <a:lnTo>
                      <a:pt x="135" y="35"/>
                    </a:lnTo>
                    <a:lnTo>
                      <a:pt x="113" y="0"/>
                    </a:lnTo>
                    <a:lnTo>
                      <a:pt x="87" y="8"/>
                    </a:lnTo>
                    <a:lnTo>
                      <a:pt x="104" y="23"/>
                    </a:lnTo>
                    <a:lnTo>
                      <a:pt x="47" y="48"/>
                    </a:lnTo>
                    <a:lnTo>
                      <a:pt x="0" y="11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7" name="Freeform 293"/>
              <p:cNvSpPr>
                <a:spLocks/>
              </p:cNvSpPr>
              <p:nvPr/>
            </p:nvSpPr>
            <p:spPr bwMode="auto">
              <a:xfrm>
                <a:off x="4349" y="2787"/>
                <a:ext cx="46" cy="108"/>
              </a:xfrm>
              <a:custGeom>
                <a:avLst/>
                <a:gdLst>
                  <a:gd name="T0" fmla="*/ 31 w 46"/>
                  <a:gd name="T1" fmla="*/ 0 h 108"/>
                  <a:gd name="T2" fmla="*/ 0 w 46"/>
                  <a:gd name="T3" fmla="*/ 15 h 108"/>
                  <a:gd name="T4" fmla="*/ 3 w 46"/>
                  <a:gd name="T5" fmla="*/ 108 h 108"/>
                  <a:gd name="T6" fmla="*/ 46 w 46"/>
                  <a:gd name="T7" fmla="*/ 50 h 108"/>
                  <a:gd name="T8" fmla="*/ 22 w 46"/>
                  <a:gd name="T9" fmla="*/ 51 h 108"/>
                  <a:gd name="T10" fmla="*/ 24 w 46"/>
                  <a:gd name="T11" fmla="*/ 29 h 108"/>
                  <a:gd name="T12" fmla="*/ 42 w 46"/>
                  <a:gd name="T13" fmla="*/ 24 h 108"/>
                  <a:gd name="T14" fmla="*/ 31 w 46"/>
                  <a:gd name="T15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108">
                    <a:moveTo>
                      <a:pt x="31" y="0"/>
                    </a:moveTo>
                    <a:lnTo>
                      <a:pt x="0" y="15"/>
                    </a:lnTo>
                    <a:lnTo>
                      <a:pt x="3" y="108"/>
                    </a:lnTo>
                    <a:lnTo>
                      <a:pt x="46" y="50"/>
                    </a:lnTo>
                    <a:lnTo>
                      <a:pt x="22" y="51"/>
                    </a:lnTo>
                    <a:lnTo>
                      <a:pt x="24" y="29"/>
                    </a:lnTo>
                    <a:lnTo>
                      <a:pt x="42" y="24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8" name="Freeform 294"/>
              <p:cNvSpPr>
                <a:spLocks/>
              </p:cNvSpPr>
              <p:nvPr/>
            </p:nvSpPr>
            <p:spPr bwMode="auto">
              <a:xfrm>
                <a:off x="4454" y="2903"/>
                <a:ext cx="304" cy="363"/>
              </a:xfrm>
              <a:custGeom>
                <a:avLst/>
                <a:gdLst>
                  <a:gd name="T0" fmla="*/ 304 w 304"/>
                  <a:gd name="T1" fmla="*/ 103 h 363"/>
                  <a:gd name="T2" fmla="*/ 304 w 304"/>
                  <a:gd name="T3" fmla="*/ 363 h 363"/>
                  <a:gd name="T4" fmla="*/ 271 w 304"/>
                  <a:gd name="T5" fmla="*/ 321 h 363"/>
                  <a:gd name="T6" fmla="*/ 234 w 304"/>
                  <a:gd name="T7" fmla="*/ 318 h 363"/>
                  <a:gd name="T8" fmla="*/ 195 w 304"/>
                  <a:gd name="T9" fmla="*/ 331 h 363"/>
                  <a:gd name="T10" fmla="*/ 235 w 304"/>
                  <a:gd name="T11" fmla="*/ 298 h 363"/>
                  <a:gd name="T12" fmla="*/ 222 w 304"/>
                  <a:gd name="T13" fmla="*/ 243 h 363"/>
                  <a:gd name="T14" fmla="*/ 219 w 304"/>
                  <a:gd name="T15" fmla="*/ 193 h 363"/>
                  <a:gd name="T16" fmla="*/ 150 w 304"/>
                  <a:gd name="T17" fmla="*/ 174 h 363"/>
                  <a:gd name="T18" fmla="*/ 87 w 304"/>
                  <a:gd name="T19" fmla="*/ 123 h 363"/>
                  <a:gd name="T20" fmla="*/ 66 w 304"/>
                  <a:gd name="T21" fmla="*/ 151 h 363"/>
                  <a:gd name="T22" fmla="*/ 28 w 304"/>
                  <a:gd name="T23" fmla="*/ 97 h 363"/>
                  <a:gd name="T24" fmla="*/ 70 w 304"/>
                  <a:gd name="T25" fmla="*/ 97 h 363"/>
                  <a:gd name="T26" fmla="*/ 66 w 304"/>
                  <a:gd name="T27" fmla="*/ 61 h 363"/>
                  <a:gd name="T28" fmla="*/ 31 w 304"/>
                  <a:gd name="T29" fmla="*/ 75 h 363"/>
                  <a:gd name="T30" fmla="*/ 19 w 304"/>
                  <a:gd name="T31" fmla="*/ 46 h 363"/>
                  <a:gd name="T32" fmla="*/ 0 w 304"/>
                  <a:gd name="T33" fmla="*/ 55 h 363"/>
                  <a:gd name="T34" fmla="*/ 3 w 304"/>
                  <a:gd name="T35" fmla="*/ 22 h 363"/>
                  <a:gd name="T36" fmla="*/ 46 w 304"/>
                  <a:gd name="T37" fmla="*/ 0 h 363"/>
                  <a:gd name="T38" fmla="*/ 114 w 304"/>
                  <a:gd name="T39" fmla="*/ 19 h 363"/>
                  <a:gd name="T40" fmla="*/ 106 w 304"/>
                  <a:gd name="T41" fmla="*/ 84 h 363"/>
                  <a:gd name="T42" fmla="*/ 132 w 304"/>
                  <a:gd name="T43" fmla="*/ 124 h 363"/>
                  <a:gd name="T44" fmla="*/ 187 w 304"/>
                  <a:gd name="T45" fmla="*/ 57 h 363"/>
                  <a:gd name="T46" fmla="*/ 261 w 304"/>
                  <a:gd name="T47" fmla="*/ 90 h 363"/>
                  <a:gd name="T48" fmla="*/ 304 w 304"/>
                  <a:gd name="T49" fmla="*/ 10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04" h="363">
                    <a:moveTo>
                      <a:pt x="304" y="103"/>
                    </a:moveTo>
                    <a:lnTo>
                      <a:pt x="304" y="363"/>
                    </a:lnTo>
                    <a:lnTo>
                      <a:pt x="271" y="321"/>
                    </a:lnTo>
                    <a:lnTo>
                      <a:pt x="234" y="318"/>
                    </a:lnTo>
                    <a:lnTo>
                      <a:pt x="195" y="331"/>
                    </a:lnTo>
                    <a:lnTo>
                      <a:pt x="235" y="298"/>
                    </a:lnTo>
                    <a:lnTo>
                      <a:pt x="222" y="243"/>
                    </a:lnTo>
                    <a:lnTo>
                      <a:pt x="219" y="193"/>
                    </a:lnTo>
                    <a:lnTo>
                      <a:pt x="150" y="174"/>
                    </a:lnTo>
                    <a:lnTo>
                      <a:pt x="87" y="123"/>
                    </a:lnTo>
                    <a:lnTo>
                      <a:pt x="66" y="151"/>
                    </a:lnTo>
                    <a:lnTo>
                      <a:pt x="28" y="97"/>
                    </a:lnTo>
                    <a:lnTo>
                      <a:pt x="70" y="97"/>
                    </a:lnTo>
                    <a:lnTo>
                      <a:pt x="66" y="61"/>
                    </a:lnTo>
                    <a:lnTo>
                      <a:pt x="31" y="75"/>
                    </a:lnTo>
                    <a:lnTo>
                      <a:pt x="19" y="46"/>
                    </a:lnTo>
                    <a:lnTo>
                      <a:pt x="0" y="55"/>
                    </a:lnTo>
                    <a:lnTo>
                      <a:pt x="3" y="22"/>
                    </a:lnTo>
                    <a:lnTo>
                      <a:pt x="46" y="0"/>
                    </a:lnTo>
                    <a:lnTo>
                      <a:pt x="114" y="19"/>
                    </a:lnTo>
                    <a:lnTo>
                      <a:pt x="106" y="84"/>
                    </a:lnTo>
                    <a:lnTo>
                      <a:pt x="132" y="124"/>
                    </a:lnTo>
                    <a:lnTo>
                      <a:pt x="187" y="57"/>
                    </a:lnTo>
                    <a:lnTo>
                      <a:pt x="261" y="90"/>
                    </a:lnTo>
                    <a:lnTo>
                      <a:pt x="304" y="10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9" name="Freeform 295"/>
              <p:cNvSpPr>
                <a:spLocks/>
              </p:cNvSpPr>
              <p:nvPr/>
            </p:nvSpPr>
            <p:spPr bwMode="auto">
              <a:xfrm>
                <a:off x="4361" y="3006"/>
                <a:ext cx="84" cy="30"/>
              </a:xfrm>
              <a:custGeom>
                <a:avLst/>
                <a:gdLst>
                  <a:gd name="T0" fmla="*/ 66 w 84"/>
                  <a:gd name="T1" fmla="*/ 3 h 30"/>
                  <a:gd name="T2" fmla="*/ 84 w 84"/>
                  <a:gd name="T3" fmla="*/ 29 h 30"/>
                  <a:gd name="T4" fmla="*/ 28 w 84"/>
                  <a:gd name="T5" fmla="*/ 18 h 30"/>
                  <a:gd name="T6" fmla="*/ 9 w 84"/>
                  <a:gd name="T7" fmla="*/ 30 h 30"/>
                  <a:gd name="T8" fmla="*/ 0 w 84"/>
                  <a:gd name="T9" fmla="*/ 0 h 30"/>
                  <a:gd name="T10" fmla="*/ 66 w 84"/>
                  <a:gd name="T11" fmla="*/ 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4" h="30">
                    <a:moveTo>
                      <a:pt x="66" y="3"/>
                    </a:moveTo>
                    <a:lnTo>
                      <a:pt x="84" y="29"/>
                    </a:lnTo>
                    <a:lnTo>
                      <a:pt x="28" y="18"/>
                    </a:lnTo>
                    <a:lnTo>
                      <a:pt x="9" y="30"/>
                    </a:lnTo>
                    <a:lnTo>
                      <a:pt x="0" y="0"/>
                    </a:lnTo>
                    <a:lnTo>
                      <a:pt x="66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0" name="Freeform 296"/>
              <p:cNvSpPr>
                <a:spLocks/>
              </p:cNvSpPr>
              <p:nvPr/>
            </p:nvSpPr>
            <p:spPr bwMode="auto">
              <a:xfrm>
                <a:off x="4292" y="3009"/>
                <a:ext cx="48" cy="30"/>
              </a:xfrm>
              <a:custGeom>
                <a:avLst/>
                <a:gdLst>
                  <a:gd name="T0" fmla="*/ 36 w 48"/>
                  <a:gd name="T1" fmla="*/ 0 h 30"/>
                  <a:gd name="T2" fmla="*/ 48 w 48"/>
                  <a:gd name="T3" fmla="*/ 30 h 30"/>
                  <a:gd name="T4" fmla="*/ 0 w 48"/>
                  <a:gd name="T5" fmla="*/ 14 h 30"/>
                  <a:gd name="T6" fmla="*/ 36 w 48"/>
                  <a:gd name="T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" h="30">
                    <a:moveTo>
                      <a:pt x="36" y="0"/>
                    </a:moveTo>
                    <a:lnTo>
                      <a:pt x="48" y="30"/>
                    </a:lnTo>
                    <a:lnTo>
                      <a:pt x="0" y="14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83" name="Freeform 300"/>
            <p:cNvSpPr>
              <a:spLocks/>
            </p:cNvSpPr>
            <p:nvPr/>
          </p:nvSpPr>
          <p:spPr bwMode="auto">
            <a:xfrm>
              <a:off x="4890" y="2541"/>
              <a:ext cx="146" cy="161"/>
            </a:xfrm>
            <a:custGeom>
              <a:avLst/>
              <a:gdLst>
                <a:gd name="T0" fmla="*/ 1 w 289"/>
                <a:gd name="T1" fmla="*/ 0 h 318"/>
                <a:gd name="T2" fmla="*/ 69 w 289"/>
                <a:gd name="T3" fmla="*/ 28 h 318"/>
                <a:gd name="T4" fmla="*/ 115 w 289"/>
                <a:gd name="T5" fmla="*/ 52 h 318"/>
                <a:gd name="T6" fmla="*/ 138 w 289"/>
                <a:gd name="T7" fmla="*/ 105 h 318"/>
                <a:gd name="T8" fmla="*/ 166 w 289"/>
                <a:gd name="T9" fmla="*/ 115 h 318"/>
                <a:gd name="T10" fmla="*/ 189 w 289"/>
                <a:gd name="T11" fmla="*/ 123 h 318"/>
                <a:gd name="T12" fmla="*/ 204 w 289"/>
                <a:gd name="T13" fmla="*/ 154 h 318"/>
                <a:gd name="T14" fmla="*/ 184 w 289"/>
                <a:gd name="T15" fmla="*/ 175 h 318"/>
                <a:gd name="T16" fmla="*/ 201 w 289"/>
                <a:gd name="T17" fmla="*/ 217 h 318"/>
                <a:gd name="T18" fmla="*/ 232 w 289"/>
                <a:gd name="T19" fmla="*/ 240 h 318"/>
                <a:gd name="T20" fmla="*/ 237 w 289"/>
                <a:gd name="T21" fmla="*/ 265 h 318"/>
                <a:gd name="T22" fmla="*/ 268 w 289"/>
                <a:gd name="T23" fmla="*/ 294 h 318"/>
                <a:gd name="T24" fmla="*/ 289 w 289"/>
                <a:gd name="T25" fmla="*/ 318 h 318"/>
                <a:gd name="T26" fmla="*/ 240 w 289"/>
                <a:gd name="T27" fmla="*/ 307 h 318"/>
                <a:gd name="T28" fmla="*/ 205 w 289"/>
                <a:gd name="T29" fmla="*/ 298 h 318"/>
                <a:gd name="T30" fmla="*/ 159 w 289"/>
                <a:gd name="T31" fmla="*/ 240 h 318"/>
                <a:gd name="T32" fmla="*/ 136 w 289"/>
                <a:gd name="T33" fmla="*/ 210 h 318"/>
                <a:gd name="T34" fmla="*/ 70 w 289"/>
                <a:gd name="T35" fmla="*/ 213 h 318"/>
                <a:gd name="T36" fmla="*/ 73 w 289"/>
                <a:gd name="T37" fmla="*/ 244 h 318"/>
                <a:gd name="T38" fmla="*/ 34 w 289"/>
                <a:gd name="T39" fmla="*/ 247 h 318"/>
                <a:gd name="T40" fmla="*/ 0 w 289"/>
                <a:gd name="T41" fmla="*/ 258 h 318"/>
                <a:gd name="T42" fmla="*/ 1 w 289"/>
                <a:gd name="T43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89" h="318">
                  <a:moveTo>
                    <a:pt x="1" y="0"/>
                  </a:moveTo>
                  <a:lnTo>
                    <a:pt x="69" y="28"/>
                  </a:lnTo>
                  <a:lnTo>
                    <a:pt x="115" y="52"/>
                  </a:lnTo>
                  <a:lnTo>
                    <a:pt x="138" y="105"/>
                  </a:lnTo>
                  <a:lnTo>
                    <a:pt x="166" y="115"/>
                  </a:lnTo>
                  <a:lnTo>
                    <a:pt x="189" y="123"/>
                  </a:lnTo>
                  <a:lnTo>
                    <a:pt x="204" y="154"/>
                  </a:lnTo>
                  <a:lnTo>
                    <a:pt x="184" y="175"/>
                  </a:lnTo>
                  <a:lnTo>
                    <a:pt x="201" y="217"/>
                  </a:lnTo>
                  <a:lnTo>
                    <a:pt x="232" y="240"/>
                  </a:lnTo>
                  <a:lnTo>
                    <a:pt x="237" y="265"/>
                  </a:lnTo>
                  <a:lnTo>
                    <a:pt x="268" y="294"/>
                  </a:lnTo>
                  <a:lnTo>
                    <a:pt x="289" y="318"/>
                  </a:lnTo>
                  <a:lnTo>
                    <a:pt x="240" y="307"/>
                  </a:lnTo>
                  <a:lnTo>
                    <a:pt x="205" y="298"/>
                  </a:lnTo>
                  <a:lnTo>
                    <a:pt x="159" y="240"/>
                  </a:lnTo>
                  <a:lnTo>
                    <a:pt x="136" y="210"/>
                  </a:lnTo>
                  <a:lnTo>
                    <a:pt x="70" y="213"/>
                  </a:lnTo>
                  <a:lnTo>
                    <a:pt x="73" y="244"/>
                  </a:lnTo>
                  <a:lnTo>
                    <a:pt x="34" y="247"/>
                  </a:lnTo>
                  <a:lnTo>
                    <a:pt x="0" y="258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84" name="Freeform 301"/>
            <p:cNvSpPr>
              <a:spLocks/>
            </p:cNvSpPr>
            <p:nvPr/>
          </p:nvSpPr>
          <p:spPr bwMode="auto">
            <a:xfrm>
              <a:off x="5007" y="2538"/>
              <a:ext cx="68" cy="74"/>
            </a:xfrm>
            <a:custGeom>
              <a:avLst/>
              <a:gdLst>
                <a:gd name="T0" fmla="*/ 0 w 134"/>
                <a:gd name="T1" fmla="*/ 117 h 147"/>
                <a:gd name="T2" fmla="*/ 21 w 134"/>
                <a:gd name="T3" fmla="*/ 147 h 147"/>
                <a:gd name="T4" fmla="*/ 72 w 134"/>
                <a:gd name="T5" fmla="*/ 127 h 147"/>
                <a:gd name="T6" fmla="*/ 102 w 134"/>
                <a:gd name="T7" fmla="*/ 94 h 147"/>
                <a:gd name="T8" fmla="*/ 120 w 134"/>
                <a:gd name="T9" fmla="*/ 76 h 147"/>
                <a:gd name="T10" fmla="*/ 134 w 134"/>
                <a:gd name="T11" fmla="*/ 58 h 147"/>
                <a:gd name="T12" fmla="*/ 80 w 134"/>
                <a:gd name="T13" fmla="*/ 7 h 147"/>
                <a:gd name="T14" fmla="*/ 24 w 134"/>
                <a:gd name="T15" fmla="*/ 0 h 147"/>
                <a:gd name="T16" fmla="*/ 77 w 134"/>
                <a:gd name="T17" fmla="*/ 21 h 147"/>
                <a:gd name="T18" fmla="*/ 110 w 134"/>
                <a:gd name="T19" fmla="*/ 58 h 147"/>
                <a:gd name="T20" fmla="*/ 83 w 134"/>
                <a:gd name="T21" fmla="*/ 64 h 147"/>
                <a:gd name="T22" fmla="*/ 62 w 134"/>
                <a:gd name="T23" fmla="*/ 106 h 147"/>
                <a:gd name="T24" fmla="*/ 0 w 134"/>
                <a:gd name="T25" fmla="*/ 11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4" h="147">
                  <a:moveTo>
                    <a:pt x="0" y="117"/>
                  </a:moveTo>
                  <a:lnTo>
                    <a:pt x="21" y="147"/>
                  </a:lnTo>
                  <a:lnTo>
                    <a:pt x="72" y="127"/>
                  </a:lnTo>
                  <a:lnTo>
                    <a:pt x="102" y="94"/>
                  </a:lnTo>
                  <a:lnTo>
                    <a:pt x="120" y="76"/>
                  </a:lnTo>
                  <a:lnTo>
                    <a:pt x="134" y="58"/>
                  </a:lnTo>
                  <a:lnTo>
                    <a:pt x="80" y="7"/>
                  </a:lnTo>
                  <a:lnTo>
                    <a:pt x="24" y="0"/>
                  </a:lnTo>
                  <a:lnTo>
                    <a:pt x="77" y="21"/>
                  </a:lnTo>
                  <a:lnTo>
                    <a:pt x="110" y="58"/>
                  </a:lnTo>
                  <a:lnTo>
                    <a:pt x="83" y="64"/>
                  </a:lnTo>
                  <a:lnTo>
                    <a:pt x="62" y="106"/>
                  </a:lnTo>
                  <a:lnTo>
                    <a:pt x="0" y="11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85" name="Freeform 302"/>
            <p:cNvSpPr>
              <a:spLocks/>
            </p:cNvSpPr>
            <p:nvPr/>
          </p:nvSpPr>
          <p:spPr bwMode="auto">
            <a:xfrm>
              <a:off x="4465" y="2712"/>
              <a:ext cx="615" cy="600"/>
            </a:xfrm>
            <a:custGeom>
              <a:avLst/>
              <a:gdLst>
                <a:gd name="T0" fmla="*/ 702 w 1216"/>
                <a:gd name="T1" fmla="*/ 93 h 1188"/>
                <a:gd name="T2" fmla="*/ 682 w 1216"/>
                <a:gd name="T3" fmla="*/ 117 h 1188"/>
                <a:gd name="T4" fmla="*/ 691 w 1216"/>
                <a:gd name="T5" fmla="*/ 176 h 1188"/>
                <a:gd name="T6" fmla="*/ 763 w 1216"/>
                <a:gd name="T7" fmla="*/ 236 h 1188"/>
                <a:gd name="T8" fmla="*/ 840 w 1216"/>
                <a:gd name="T9" fmla="*/ 248 h 1188"/>
                <a:gd name="T10" fmla="*/ 853 w 1216"/>
                <a:gd name="T11" fmla="*/ 138 h 1188"/>
                <a:gd name="T12" fmla="*/ 868 w 1216"/>
                <a:gd name="T13" fmla="*/ 92 h 1188"/>
                <a:gd name="T14" fmla="*/ 879 w 1216"/>
                <a:gd name="T15" fmla="*/ 0 h 1188"/>
                <a:gd name="T16" fmla="*/ 918 w 1216"/>
                <a:gd name="T17" fmla="*/ 101 h 1188"/>
                <a:gd name="T18" fmla="*/ 942 w 1216"/>
                <a:gd name="T19" fmla="*/ 126 h 1188"/>
                <a:gd name="T20" fmla="*/ 970 w 1216"/>
                <a:gd name="T21" fmla="*/ 150 h 1188"/>
                <a:gd name="T22" fmla="*/ 976 w 1216"/>
                <a:gd name="T23" fmla="*/ 233 h 1188"/>
                <a:gd name="T24" fmla="*/ 994 w 1216"/>
                <a:gd name="T25" fmla="*/ 273 h 1188"/>
                <a:gd name="T26" fmla="*/ 1011 w 1216"/>
                <a:gd name="T27" fmla="*/ 293 h 1188"/>
                <a:gd name="T28" fmla="*/ 1011 w 1216"/>
                <a:gd name="T29" fmla="*/ 326 h 1188"/>
                <a:gd name="T30" fmla="*/ 1077 w 1216"/>
                <a:gd name="T31" fmla="*/ 363 h 1188"/>
                <a:gd name="T32" fmla="*/ 1069 w 1216"/>
                <a:gd name="T33" fmla="*/ 395 h 1188"/>
                <a:gd name="T34" fmla="*/ 1101 w 1216"/>
                <a:gd name="T35" fmla="*/ 422 h 1188"/>
                <a:gd name="T36" fmla="*/ 1107 w 1216"/>
                <a:gd name="T37" fmla="*/ 470 h 1188"/>
                <a:gd name="T38" fmla="*/ 1137 w 1216"/>
                <a:gd name="T39" fmla="*/ 488 h 1188"/>
                <a:gd name="T40" fmla="*/ 1146 w 1216"/>
                <a:gd name="T41" fmla="*/ 536 h 1188"/>
                <a:gd name="T42" fmla="*/ 1182 w 1216"/>
                <a:gd name="T43" fmla="*/ 564 h 1188"/>
                <a:gd name="T44" fmla="*/ 1200 w 1216"/>
                <a:gd name="T45" fmla="*/ 590 h 1188"/>
                <a:gd name="T46" fmla="*/ 1206 w 1216"/>
                <a:gd name="T47" fmla="*/ 708 h 1188"/>
                <a:gd name="T48" fmla="*/ 1209 w 1216"/>
                <a:gd name="T49" fmla="*/ 756 h 1188"/>
                <a:gd name="T50" fmla="*/ 1206 w 1216"/>
                <a:gd name="T51" fmla="*/ 860 h 1188"/>
                <a:gd name="T52" fmla="*/ 1155 w 1216"/>
                <a:gd name="T53" fmla="*/ 911 h 1188"/>
                <a:gd name="T54" fmla="*/ 1146 w 1216"/>
                <a:gd name="T55" fmla="*/ 995 h 1188"/>
                <a:gd name="T56" fmla="*/ 1098 w 1216"/>
                <a:gd name="T57" fmla="*/ 1073 h 1188"/>
                <a:gd name="T58" fmla="*/ 1039 w 1216"/>
                <a:gd name="T59" fmla="*/ 1130 h 1188"/>
                <a:gd name="T60" fmla="*/ 991 w 1216"/>
                <a:gd name="T61" fmla="*/ 1188 h 1188"/>
                <a:gd name="T62" fmla="*/ 945 w 1216"/>
                <a:gd name="T63" fmla="*/ 1130 h 1188"/>
                <a:gd name="T64" fmla="*/ 876 w 1216"/>
                <a:gd name="T65" fmla="*/ 1157 h 1188"/>
                <a:gd name="T66" fmla="*/ 807 w 1216"/>
                <a:gd name="T67" fmla="*/ 1121 h 1188"/>
                <a:gd name="T68" fmla="*/ 750 w 1216"/>
                <a:gd name="T69" fmla="*/ 1029 h 1188"/>
                <a:gd name="T70" fmla="*/ 750 w 1216"/>
                <a:gd name="T71" fmla="*/ 962 h 1188"/>
                <a:gd name="T72" fmla="*/ 708 w 1216"/>
                <a:gd name="T73" fmla="*/ 1007 h 1188"/>
                <a:gd name="T74" fmla="*/ 669 w 1216"/>
                <a:gd name="T75" fmla="*/ 983 h 1188"/>
                <a:gd name="T76" fmla="*/ 633 w 1216"/>
                <a:gd name="T77" fmla="*/ 915 h 1188"/>
                <a:gd name="T78" fmla="*/ 571 w 1216"/>
                <a:gd name="T79" fmla="*/ 870 h 1188"/>
                <a:gd name="T80" fmla="*/ 522 w 1216"/>
                <a:gd name="T81" fmla="*/ 851 h 1188"/>
                <a:gd name="T82" fmla="*/ 381 w 1216"/>
                <a:gd name="T83" fmla="*/ 881 h 1188"/>
                <a:gd name="T84" fmla="*/ 192 w 1216"/>
                <a:gd name="T85" fmla="*/ 948 h 1188"/>
                <a:gd name="T86" fmla="*/ 106 w 1216"/>
                <a:gd name="T87" fmla="*/ 995 h 1188"/>
                <a:gd name="T88" fmla="*/ 76 w 1216"/>
                <a:gd name="T89" fmla="*/ 935 h 1188"/>
                <a:gd name="T90" fmla="*/ 64 w 1216"/>
                <a:gd name="T91" fmla="*/ 849 h 1188"/>
                <a:gd name="T92" fmla="*/ 40 w 1216"/>
                <a:gd name="T93" fmla="*/ 725 h 1188"/>
                <a:gd name="T94" fmla="*/ 18 w 1216"/>
                <a:gd name="T95" fmla="*/ 608 h 1188"/>
                <a:gd name="T96" fmla="*/ 0 w 1216"/>
                <a:gd name="T97" fmla="*/ 528 h 1188"/>
                <a:gd name="T98" fmla="*/ 13 w 1216"/>
                <a:gd name="T99" fmla="*/ 458 h 1188"/>
                <a:gd name="T100" fmla="*/ 228 w 1216"/>
                <a:gd name="T101" fmla="*/ 342 h 1188"/>
                <a:gd name="T102" fmla="*/ 285 w 1216"/>
                <a:gd name="T103" fmla="*/ 222 h 1188"/>
                <a:gd name="T104" fmla="*/ 319 w 1216"/>
                <a:gd name="T105" fmla="*/ 194 h 1188"/>
                <a:gd name="T106" fmla="*/ 345 w 1216"/>
                <a:gd name="T107" fmla="*/ 168 h 1188"/>
                <a:gd name="T108" fmla="*/ 372 w 1216"/>
                <a:gd name="T109" fmla="*/ 129 h 1188"/>
                <a:gd name="T110" fmla="*/ 451 w 1216"/>
                <a:gd name="T111" fmla="*/ 174 h 1188"/>
                <a:gd name="T112" fmla="*/ 498 w 1216"/>
                <a:gd name="T113" fmla="*/ 158 h 1188"/>
                <a:gd name="T114" fmla="*/ 522 w 1216"/>
                <a:gd name="T115" fmla="*/ 89 h 1188"/>
                <a:gd name="T116" fmla="*/ 595 w 1216"/>
                <a:gd name="T117" fmla="*/ 51 h 1188"/>
                <a:gd name="T118" fmla="*/ 616 w 1216"/>
                <a:gd name="T119" fmla="*/ 20 h 1188"/>
                <a:gd name="T120" fmla="*/ 711 w 1216"/>
                <a:gd name="T121" fmla="*/ 45 h 1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16" h="1188">
                  <a:moveTo>
                    <a:pt x="711" y="45"/>
                  </a:moveTo>
                  <a:lnTo>
                    <a:pt x="702" y="93"/>
                  </a:lnTo>
                  <a:lnTo>
                    <a:pt x="682" y="90"/>
                  </a:lnTo>
                  <a:lnTo>
                    <a:pt x="682" y="117"/>
                  </a:lnTo>
                  <a:lnTo>
                    <a:pt x="669" y="144"/>
                  </a:lnTo>
                  <a:lnTo>
                    <a:pt x="691" y="176"/>
                  </a:lnTo>
                  <a:lnTo>
                    <a:pt x="735" y="198"/>
                  </a:lnTo>
                  <a:lnTo>
                    <a:pt x="763" y="236"/>
                  </a:lnTo>
                  <a:lnTo>
                    <a:pt x="817" y="275"/>
                  </a:lnTo>
                  <a:lnTo>
                    <a:pt x="840" y="248"/>
                  </a:lnTo>
                  <a:lnTo>
                    <a:pt x="858" y="162"/>
                  </a:lnTo>
                  <a:lnTo>
                    <a:pt x="853" y="138"/>
                  </a:lnTo>
                  <a:lnTo>
                    <a:pt x="852" y="98"/>
                  </a:lnTo>
                  <a:lnTo>
                    <a:pt x="868" y="92"/>
                  </a:lnTo>
                  <a:lnTo>
                    <a:pt x="864" y="47"/>
                  </a:lnTo>
                  <a:lnTo>
                    <a:pt x="879" y="0"/>
                  </a:lnTo>
                  <a:lnTo>
                    <a:pt x="912" y="57"/>
                  </a:lnTo>
                  <a:lnTo>
                    <a:pt x="918" y="101"/>
                  </a:lnTo>
                  <a:lnTo>
                    <a:pt x="919" y="143"/>
                  </a:lnTo>
                  <a:lnTo>
                    <a:pt x="942" y="126"/>
                  </a:lnTo>
                  <a:lnTo>
                    <a:pt x="954" y="141"/>
                  </a:lnTo>
                  <a:lnTo>
                    <a:pt x="970" y="150"/>
                  </a:lnTo>
                  <a:lnTo>
                    <a:pt x="963" y="203"/>
                  </a:lnTo>
                  <a:lnTo>
                    <a:pt x="976" y="233"/>
                  </a:lnTo>
                  <a:lnTo>
                    <a:pt x="997" y="243"/>
                  </a:lnTo>
                  <a:lnTo>
                    <a:pt x="994" y="273"/>
                  </a:lnTo>
                  <a:lnTo>
                    <a:pt x="999" y="290"/>
                  </a:lnTo>
                  <a:lnTo>
                    <a:pt x="1011" y="293"/>
                  </a:lnTo>
                  <a:lnTo>
                    <a:pt x="1003" y="308"/>
                  </a:lnTo>
                  <a:lnTo>
                    <a:pt x="1011" y="326"/>
                  </a:lnTo>
                  <a:lnTo>
                    <a:pt x="1042" y="344"/>
                  </a:lnTo>
                  <a:lnTo>
                    <a:pt x="1077" y="363"/>
                  </a:lnTo>
                  <a:lnTo>
                    <a:pt x="1075" y="383"/>
                  </a:lnTo>
                  <a:lnTo>
                    <a:pt x="1069" y="395"/>
                  </a:lnTo>
                  <a:lnTo>
                    <a:pt x="1084" y="413"/>
                  </a:lnTo>
                  <a:lnTo>
                    <a:pt x="1101" y="422"/>
                  </a:lnTo>
                  <a:lnTo>
                    <a:pt x="1101" y="450"/>
                  </a:lnTo>
                  <a:lnTo>
                    <a:pt x="1107" y="470"/>
                  </a:lnTo>
                  <a:lnTo>
                    <a:pt x="1132" y="468"/>
                  </a:lnTo>
                  <a:lnTo>
                    <a:pt x="1137" y="488"/>
                  </a:lnTo>
                  <a:lnTo>
                    <a:pt x="1126" y="516"/>
                  </a:lnTo>
                  <a:lnTo>
                    <a:pt x="1146" y="536"/>
                  </a:lnTo>
                  <a:lnTo>
                    <a:pt x="1168" y="534"/>
                  </a:lnTo>
                  <a:lnTo>
                    <a:pt x="1182" y="564"/>
                  </a:lnTo>
                  <a:lnTo>
                    <a:pt x="1177" y="578"/>
                  </a:lnTo>
                  <a:lnTo>
                    <a:pt x="1200" y="590"/>
                  </a:lnTo>
                  <a:lnTo>
                    <a:pt x="1195" y="657"/>
                  </a:lnTo>
                  <a:lnTo>
                    <a:pt x="1206" y="708"/>
                  </a:lnTo>
                  <a:lnTo>
                    <a:pt x="1216" y="737"/>
                  </a:lnTo>
                  <a:lnTo>
                    <a:pt x="1209" y="756"/>
                  </a:lnTo>
                  <a:lnTo>
                    <a:pt x="1213" y="797"/>
                  </a:lnTo>
                  <a:lnTo>
                    <a:pt x="1206" y="860"/>
                  </a:lnTo>
                  <a:lnTo>
                    <a:pt x="1186" y="890"/>
                  </a:lnTo>
                  <a:lnTo>
                    <a:pt x="1155" y="911"/>
                  </a:lnTo>
                  <a:lnTo>
                    <a:pt x="1137" y="930"/>
                  </a:lnTo>
                  <a:lnTo>
                    <a:pt x="1146" y="995"/>
                  </a:lnTo>
                  <a:lnTo>
                    <a:pt x="1119" y="1026"/>
                  </a:lnTo>
                  <a:lnTo>
                    <a:pt x="1098" y="1073"/>
                  </a:lnTo>
                  <a:lnTo>
                    <a:pt x="1098" y="1127"/>
                  </a:lnTo>
                  <a:lnTo>
                    <a:pt x="1039" y="1130"/>
                  </a:lnTo>
                  <a:lnTo>
                    <a:pt x="1024" y="1172"/>
                  </a:lnTo>
                  <a:lnTo>
                    <a:pt x="991" y="1188"/>
                  </a:lnTo>
                  <a:lnTo>
                    <a:pt x="961" y="1136"/>
                  </a:lnTo>
                  <a:lnTo>
                    <a:pt x="945" y="1130"/>
                  </a:lnTo>
                  <a:lnTo>
                    <a:pt x="912" y="1184"/>
                  </a:lnTo>
                  <a:lnTo>
                    <a:pt x="876" y="1157"/>
                  </a:lnTo>
                  <a:lnTo>
                    <a:pt x="835" y="1152"/>
                  </a:lnTo>
                  <a:lnTo>
                    <a:pt x="807" y="1121"/>
                  </a:lnTo>
                  <a:lnTo>
                    <a:pt x="787" y="1025"/>
                  </a:lnTo>
                  <a:lnTo>
                    <a:pt x="750" y="1029"/>
                  </a:lnTo>
                  <a:lnTo>
                    <a:pt x="762" y="1004"/>
                  </a:lnTo>
                  <a:lnTo>
                    <a:pt x="750" y="962"/>
                  </a:lnTo>
                  <a:lnTo>
                    <a:pt x="738" y="1004"/>
                  </a:lnTo>
                  <a:lnTo>
                    <a:pt x="708" y="1007"/>
                  </a:lnTo>
                  <a:lnTo>
                    <a:pt x="738" y="914"/>
                  </a:lnTo>
                  <a:lnTo>
                    <a:pt x="669" y="983"/>
                  </a:lnTo>
                  <a:lnTo>
                    <a:pt x="652" y="917"/>
                  </a:lnTo>
                  <a:lnTo>
                    <a:pt x="633" y="915"/>
                  </a:lnTo>
                  <a:lnTo>
                    <a:pt x="619" y="869"/>
                  </a:lnTo>
                  <a:lnTo>
                    <a:pt x="571" y="870"/>
                  </a:lnTo>
                  <a:lnTo>
                    <a:pt x="561" y="842"/>
                  </a:lnTo>
                  <a:lnTo>
                    <a:pt x="522" y="851"/>
                  </a:lnTo>
                  <a:lnTo>
                    <a:pt x="436" y="869"/>
                  </a:lnTo>
                  <a:lnTo>
                    <a:pt x="381" y="881"/>
                  </a:lnTo>
                  <a:lnTo>
                    <a:pt x="318" y="945"/>
                  </a:lnTo>
                  <a:lnTo>
                    <a:pt x="192" y="948"/>
                  </a:lnTo>
                  <a:lnTo>
                    <a:pt x="147" y="990"/>
                  </a:lnTo>
                  <a:lnTo>
                    <a:pt x="106" y="995"/>
                  </a:lnTo>
                  <a:lnTo>
                    <a:pt x="52" y="947"/>
                  </a:lnTo>
                  <a:lnTo>
                    <a:pt x="76" y="935"/>
                  </a:lnTo>
                  <a:lnTo>
                    <a:pt x="79" y="848"/>
                  </a:lnTo>
                  <a:lnTo>
                    <a:pt x="64" y="849"/>
                  </a:lnTo>
                  <a:lnTo>
                    <a:pt x="57" y="806"/>
                  </a:lnTo>
                  <a:lnTo>
                    <a:pt x="40" y="725"/>
                  </a:lnTo>
                  <a:lnTo>
                    <a:pt x="3" y="635"/>
                  </a:lnTo>
                  <a:lnTo>
                    <a:pt x="18" y="608"/>
                  </a:lnTo>
                  <a:lnTo>
                    <a:pt x="24" y="551"/>
                  </a:lnTo>
                  <a:lnTo>
                    <a:pt x="0" y="528"/>
                  </a:lnTo>
                  <a:lnTo>
                    <a:pt x="21" y="513"/>
                  </a:lnTo>
                  <a:lnTo>
                    <a:pt x="13" y="458"/>
                  </a:lnTo>
                  <a:lnTo>
                    <a:pt x="97" y="393"/>
                  </a:lnTo>
                  <a:lnTo>
                    <a:pt x="228" y="342"/>
                  </a:lnTo>
                  <a:lnTo>
                    <a:pt x="274" y="287"/>
                  </a:lnTo>
                  <a:lnTo>
                    <a:pt x="285" y="222"/>
                  </a:lnTo>
                  <a:lnTo>
                    <a:pt x="300" y="225"/>
                  </a:lnTo>
                  <a:lnTo>
                    <a:pt x="319" y="194"/>
                  </a:lnTo>
                  <a:lnTo>
                    <a:pt x="340" y="201"/>
                  </a:lnTo>
                  <a:lnTo>
                    <a:pt x="345" y="168"/>
                  </a:lnTo>
                  <a:lnTo>
                    <a:pt x="378" y="177"/>
                  </a:lnTo>
                  <a:lnTo>
                    <a:pt x="372" y="129"/>
                  </a:lnTo>
                  <a:lnTo>
                    <a:pt x="426" y="108"/>
                  </a:lnTo>
                  <a:lnTo>
                    <a:pt x="451" y="174"/>
                  </a:lnTo>
                  <a:lnTo>
                    <a:pt x="466" y="146"/>
                  </a:lnTo>
                  <a:lnTo>
                    <a:pt x="498" y="158"/>
                  </a:lnTo>
                  <a:lnTo>
                    <a:pt x="477" y="117"/>
                  </a:lnTo>
                  <a:lnTo>
                    <a:pt x="522" y="89"/>
                  </a:lnTo>
                  <a:lnTo>
                    <a:pt x="534" y="45"/>
                  </a:lnTo>
                  <a:lnTo>
                    <a:pt x="595" y="51"/>
                  </a:lnTo>
                  <a:lnTo>
                    <a:pt x="556" y="9"/>
                  </a:lnTo>
                  <a:lnTo>
                    <a:pt x="616" y="20"/>
                  </a:lnTo>
                  <a:lnTo>
                    <a:pt x="631" y="44"/>
                  </a:lnTo>
                  <a:lnTo>
                    <a:pt x="711" y="4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86" name="Freeform 304"/>
            <p:cNvSpPr>
              <a:spLocks/>
            </p:cNvSpPr>
            <p:nvPr/>
          </p:nvSpPr>
          <p:spPr bwMode="auto">
            <a:xfrm>
              <a:off x="4937" y="3351"/>
              <a:ext cx="61" cy="68"/>
            </a:xfrm>
            <a:custGeom>
              <a:avLst/>
              <a:gdLst>
                <a:gd name="T0" fmla="*/ 101 w 105"/>
                <a:gd name="T1" fmla="*/ 7 h 118"/>
                <a:gd name="T2" fmla="*/ 68 w 105"/>
                <a:gd name="T3" fmla="*/ 24 h 118"/>
                <a:gd name="T4" fmla="*/ 23 w 105"/>
                <a:gd name="T5" fmla="*/ 1 h 118"/>
                <a:gd name="T6" fmla="*/ 0 w 105"/>
                <a:gd name="T7" fmla="*/ 0 h 118"/>
                <a:gd name="T8" fmla="*/ 12 w 105"/>
                <a:gd name="T9" fmla="*/ 30 h 118"/>
                <a:gd name="T10" fmla="*/ 30 w 105"/>
                <a:gd name="T11" fmla="*/ 55 h 118"/>
                <a:gd name="T12" fmla="*/ 23 w 105"/>
                <a:gd name="T13" fmla="*/ 81 h 118"/>
                <a:gd name="T14" fmla="*/ 44 w 105"/>
                <a:gd name="T15" fmla="*/ 112 h 118"/>
                <a:gd name="T16" fmla="*/ 77 w 105"/>
                <a:gd name="T17" fmla="*/ 118 h 118"/>
                <a:gd name="T18" fmla="*/ 77 w 105"/>
                <a:gd name="T19" fmla="*/ 94 h 118"/>
                <a:gd name="T20" fmla="*/ 98 w 105"/>
                <a:gd name="T21" fmla="*/ 105 h 118"/>
                <a:gd name="T22" fmla="*/ 104 w 105"/>
                <a:gd name="T23" fmla="*/ 85 h 118"/>
                <a:gd name="T24" fmla="*/ 90 w 105"/>
                <a:gd name="T25" fmla="*/ 75 h 118"/>
                <a:gd name="T26" fmla="*/ 104 w 105"/>
                <a:gd name="T27" fmla="*/ 58 h 118"/>
                <a:gd name="T28" fmla="*/ 105 w 105"/>
                <a:gd name="T29" fmla="*/ 31 h 118"/>
                <a:gd name="T30" fmla="*/ 101 w 105"/>
                <a:gd name="T31" fmla="*/ 7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118">
                  <a:moveTo>
                    <a:pt x="101" y="7"/>
                  </a:moveTo>
                  <a:lnTo>
                    <a:pt x="68" y="24"/>
                  </a:lnTo>
                  <a:lnTo>
                    <a:pt x="23" y="1"/>
                  </a:lnTo>
                  <a:lnTo>
                    <a:pt x="0" y="0"/>
                  </a:lnTo>
                  <a:lnTo>
                    <a:pt x="12" y="30"/>
                  </a:lnTo>
                  <a:lnTo>
                    <a:pt x="30" y="55"/>
                  </a:lnTo>
                  <a:lnTo>
                    <a:pt x="23" y="81"/>
                  </a:lnTo>
                  <a:lnTo>
                    <a:pt x="44" y="112"/>
                  </a:lnTo>
                  <a:lnTo>
                    <a:pt x="77" y="118"/>
                  </a:lnTo>
                  <a:lnTo>
                    <a:pt x="77" y="94"/>
                  </a:lnTo>
                  <a:lnTo>
                    <a:pt x="98" y="105"/>
                  </a:lnTo>
                  <a:lnTo>
                    <a:pt x="104" y="85"/>
                  </a:lnTo>
                  <a:lnTo>
                    <a:pt x="90" y="75"/>
                  </a:lnTo>
                  <a:lnTo>
                    <a:pt x="104" y="58"/>
                  </a:lnTo>
                  <a:lnTo>
                    <a:pt x="105" y="31"/>
                  </a:lnTo>
                  <a:lnTo>
                    <a:pt x="101" y="7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87" name="Freeform 305"/>
            <p:cNvSpPr>
              <a:spLocks/>
            </p:cNvSpPr>
            <p:nvPr/>
          </p:nvSpPr>
          <p:spPr bwMode="auto">
            <a:xfrm>
              <a:off x="5276" y="3351"/>
              <a:ext cx="122" cy="146"/>
            </a:xfrm>
            <a:custGeom>
              <a:avLst/>
              <a:gdLst>
                <a:gd name="T0" fmla="*/ 63 w 210"/>
                <a:gd name="T1" fmla="*/ 252 h 252"/>
                <a:gd name="T2" fmla="*/ 85 w 210"/>
                <a:gd name="T3" fmla="*/ 238 h 252"/>
                <a:gd name="T4" fmla="*/ 108 w 210"/>
                <a:gd name="T5" fmla="*/ 211 h 252"/>
                <a:gd name="T6" fmla="*/ 114 w 210"/>
                <a:gd name="T7" fmla="*/ 183 h 252"/>
                <a:gd name="T8" fmla="*/ 118 w 210"/>
                <a:gd name="T9" fmla="*/ 154 h 252"/>
                <a:gd name="T10" fmla="*/ 135 w 210"/>
                <a:gd name="T11" fmla="*/ 153 h 252"/>
                <a:gd name="T12" fmla="*/ 166 w 210"/>
                <a:gd name="T13" fmla="*/ 136 h 252"/>
                <a:gd name="T14" fmla="*/ 169 w 210"/>
                <a:gd name="T15" fmla="*/ 117 h 252"/>
                <a:gd name="T16" fmla="*/ 184 w 210"/>
                <a:gd name="T17" fmla="*/ 94 h 252"/>
                <a:gd name="T18" fmla="*/ 204 w 210"/>
                <a:gd name="T19" fmla="*/ 72 h 252"/>
                <a:gd name="T20" fmla="*/ 210 w 210"/>
                <a:gd name="T21" fmla="*/ 22 h 252"/>
                <a:gd name="T22" fmla="*/ 184 w 210"/>
                <a:gd name="T23" fmla="*/ 28 h 252"/>
                <a:gd name="T24" fmla="*/ 160 w 210"/>
                <a:gd name="T25" fmla="*/ 18 h 252"/>
                <a:gd name="T26" fmla="*/ 171 w 210"/>
                <a:gd name="T27" fmla="*/ 0 h 252"/>
                <a:gd name="T28" fmla="*/ 145 w 210"/>
                <a:gd name="T29" fmla="*/ 4 h 252"/>
                <a:gd name="T30" fmla="*/ 142 w 210"/>
                <a:gd name="T31" fmla="*/ 37 h 252"/>
                <a:gd name="T32" fmla="*/ 139 w 210"/>
                <a:gd name="T33" fmla="*/ 66 h 252"/>
                <a:gd name="T34" fmla="*/ 111 w 210"/>
                <a:gd name="T35" fmla="*/ 90 h 252"/>
                <a:gd name="T36" fmla="*/ 99 w 210"/>
                <a:gd name="T37" fmla="*/ 112 h 252"/>
                <a:gd name="T38" fmla="*/ 72 w 210"/>
                <a:gd name="T39" fmla="*/ 139 h 252"/>
                <a:gd name="T40" fmla="*/ 40 w 210"/>
                <a:gd name="T41" fmla="*/ 157 h 252"/>
                <a:gd name="T42" fmla="*/ 10 w 210"/>
                <a:gd name="T43" fmla="*/ 184 h 252"/>
                <a:gd name="T44" fmla="*/ 0 w 210"/>
                <a:gd name="T45" fmla="*/ 216 h 252"/>
                <a:gd name="T46" fmla="*/ 1 w 210"/>
                <a:gd name="T47" fmla="*/ 238 h 252"/>
                <a:gd name="T48" fmla="*/ 49 w 210"/>
                <a:gd name="T49" fmla="*/ 243 h 252"/>
                <a:gd name="T50" fmla="*/ 63 w 210"/>
                <a:gd name="T51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0" h="252">
                  <a:moveTo>
                    <a:pt x="63" y="252"/>
                  </a:moveTo>
                  <a:lnTo>
                    <a:pt x="85" y="238"/>
                  </a:lnTo>
                  <a:lnTo>
                    <a:pt x="108" y="211"/>
                  </a:lnTo>
                  <a:lnTo>
                    <a:pt x="114" y="183"/>
                  </a:lnTo>
                  <a:lnTo>
                    <a:pt x="118" y="154"/>
                  </a:lnTo>
                  <a:lnTo>
                    <a:pt x="135" y="153"/>
                  </a:lnTo>
                  <a:lnTo>
                    <a:pt x="166" y="136"/>
                  </a:lnTo>
                  <a:lnTo>
                    <a:pt x="169" y="117"/>
                  </a:lnTo>
                  <a:lnTo>
                    <a:pt x="184" y="94"/>
                  </a:lnTo>
                  <a:lnTo>
                    <a:pt x="204" y="72"/>
                  </a:lnTo>
                  <a:lnTo>
                    <a:pt x="210" y="22"/>
                  </a:lnTo>
                  <a:lnTo>
                    <a:pt x="184" y="28"/>
                  </a:lnTo>
                  <a:lnTo>
                    <a:pt x="160" y="18"/>
                  </a:lnTo>
                  <a:lnTo>
                    <a:pt x="171" y="0"/>
                  </a:lnTo>
                  <a:lnTo>
                    <a:pt x="145" y="4"/>
                  </a:lnTo>
                  <a:lnTo>
                    <a:pt x="142" y="37"/>
                  </a:lnTo>
                  <a:lnTo>
                    <a:pt x="139" y="66"/>
                  </a:lnTo>
                  <a:lnTo>
                    <a:pt x="111" y="90"/>
                  </a:lnTo>
                  <a:lnTo>
                    <a:pt x="99" y="112"/>
                  </a:lnTo>
                  <a:lnTo>
                    <a:pt x="72" y="139"/>
                  </a:lnTo>
                  <a:lnTo>
                    <a:pt x="40" y="157"/>
                  </a:lnTo>
                  <a:lnTo>
                    <a:pt x="10" y="184"/>
                  </a:lnTo>
                  <a:lnTo>
                    <a:pt x="0" y="216"/>
                  </a:lnTo>
                  <a:lnTo>
                    <a:pt x="1" y="238"/>
                  </a:lnTo>
                  <a:lnTo>
                    <a:pt x="49" y="243"/>
                  </a:lnTo>
                  <a:lnTo>
                    <a:pt x="63" y="25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88" name="Freeform 306"/>
            <p:cNvSpPr>
              <a:spLocks/>
            </p:cNvSpPr>
            <p:nvPr/>
          </p:nvSpPr>
          <p:spPr bwMode="auto">
            <a:xfrm>
              <a:off x="5368" y="3208"/>
              <a:ext cx="99" cy="166"/>
            </a:xfrm>
            <a:custGeom>
              <a:avLst/>
              <a:gdLst>
                <a:gd name="T0" fmla="*/ 85 w 171"/>
                <a:gd name="T1" fmla="*/ 288 h 288"/>
                <a:gd name="T2" fmla="*/ 69 w 171"/>
                <a:gd name="T3" fmla="*/ 272 h 288"/>
                <a:gd name="T4" fmla="*/ 76 w 171"/>
                <a:gd name="T5" fmla="*/ 243 h 288"/>
                <a:gd name="T6" fmla="*/ 64 w 171"/>
                <a:gd name="T7" fmla="*/ 221 h 288"/>
                <a:gd name="T8" fmla="*/ 36 w 171"/>
                <a:gd name="T9" fmla="*/ 203 h 288"/>
                <a:gd name="T10" fmla="*/ 63 w 171"/>
                <a:gd name="T11" fmla="*/ 176 h 288"/>
                <a:gd name="T12" fmla="*/ 61 w 171"/>
                <a:gd name="T13" fmla="*/ 134 h 288"/>
                <a:gd name="T14" fmla="*/ 52 w 171"/>
                <a:gd name="T15" fmla="*/ 99 h 288"/>
                <a:gd name="T16" fmla="*/ 12 w 171"/>
                <a:gd name="T17" fmla="*/ 30 h 288"/>
                <a:gd name="T18" fmla="*/ 0 w 171"/>
                <a:gd name="T19" fmla="*/ 0 h 288"/>
                <a:gd name="T20" fmla="*/ 25 w 171"/>
                <a:gd name="T21" fmla="*/ 8 h 288"/>
                <a:gd name="T22" fmla="*/ 33 w 171"/>
                <a:gd name="T23" fmla="*/ 29 h 288"/>
                <a:gd name="T24" fmla="*/ 66 w 171"/>
                <a:gd name="T25" fmla="*/ 60 h 288"/>
                <a:gd name="T26" fmla="*/ 66 w 171"/>
                <a:gd name="T27" fmla="*/ 110 h 288"/>
                <a:gd name="T28" fmla="*/ 79 w 171"/>
                <a:gd name="T29" fmla="*/ 123 h 288"/>
                <a:gd name="T30" fmla="*/ 96 w 171"/>
                <a:gd name="T31" fmla="*/ 105 h 288"/>
                <a:gd name="T32" fmla="*/ 102 w 171"/>
                <a:gd name="T33" fmla="*/ 131 h 288"/>
                <a:gd name="T34" fmla="*/ 105 w 171"/>
                <a:gd name="T35" fmla="*/ 153 h 288"/>
                <a:gd name="T36" fmla="*/ 136 w 171"/>
                <a:gd name="T37" fmla="*/ 156 h 288"/>
                <a:gd name="T38" fmla="*/ 163 w 171"/>
                <a:gd name="T39" fmla="*/ 140 h 288"/>
                <a:gd name="T40" fmla="*/ 171 w 171"/>
                <a:gd name="T41" fmla="*/ 159 h 288"/>
                <a:gd name="T42" fmla="*/ 151 w 171"/>
                <a:gd name="T43" fmla="*/ 206 h 288"/>
                <a:gd name="T44" fmla="*/ 130 w 171"/>
                <a:gd name="T45" fmla="*/ 207 h 288"/>
                <a:gd name="T46" fmla="*/ 132 w 171"/>
                <a:gd name="T47" fmla="*/ 252 h 288"/>
                <a:gd name="T48" fmla="*/ 106 w 171"/>
                <a:gd name="T49" fmla="*/ 260 h 288"/>
                <a:gd name="T50" fmla="*/ 85 w 171"/>
                <a:gd name="T51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1" h="288">
                  <a:moveTo>
                    <a:pt x="85" y="288"/>
                  </a:moveTo>
                  <a:lnTo>
                    <a:pt x="69" y="272"/>
                  </a:lnTo>
                  <a:lnTo>
                    <a:pt x="76" y="243"/>
                  </a:lnTo>
                  <a:lnTo>
                    <a:pt x="64" y="221"/>
                  </a:lnTo>
                  <a:lnTo>
                    <a:pt x="36" y="203"/>
                  </a:lnTo>
                  <a:lnTo>
                    <a:pt x="63" y="176"/>
                  </a:lnTo>
                  <a:lnTo>
                    <a:pt x="61" y="134"/>
                  </a:lnTo>
                  <a:lnTo>
                    <a:pt x="52" y="99"/>
                  </a:lnTo>
                  <a:lnTo>
                    <a:pt x="12" y="30"/>
                  </a:lnTo>
                  <a:lnTo>
                    <a:pt x="0" y="0"/>
                  </a:lnTo>
                  <a:lnTo>
                    <a:pt x="25" y="8"/>
                  </a:lnTo>
                  <a:lnTo>
                    <a:pt x="33" y="29"/>
                  </a:lnTo>
                  <a:lnTo>
                    <a:pt x="66" y="60"/>
                  </a:lnTo>
                  <a:lnTo>
                    <a:pt x="66" y="110"/>
                  </a:lnTo>
                  <a:lnTo>
                    <a:pt x="79" y="123"/>
                  </a:lnTo>
                  <a:lnTo>
                    <a:pt x="96" y="105"/>
                  </a:lnTo>
                  <a:lnTo>
                    <a:pt x="102" y="131"/>
                  </a:lnTo>
                  <a:lnTo>
                    <a:pt x="105" y="153"/>
                  </a:lnTo>
                  <a:lnTo>
                    <a:pt x="136" y="156"/>
                  </a:lnTo>
                  <a:lnTo>
                    <a:pt x="163" y="140"/>
                  </a:lnTo>
                  <a:lnTo>
                    <a:pt x="171" y="159"/>
                  </a:lnTo>
                  <a:lnTo>
                    <a:pt x="151" y="206"/>
                  </a:lnTo>
                  <a:lnTo>
                    <a:pt x="130" y="207"/>
                  </a:lnTo>
                  <a:lnTo>
                    <a:pt x="132" y="252"/>
                  </a:lnTo>
                  <a:lnTo>
                    <a:pt x="106" y="260"/>
                  </a:lnTo>
                  <a:lnTo>
                    <a:pt x="85" y="28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586" name="Rectangle 12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63296" y="2808826"/>
            <a:ext cx="686085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Greensboro</a:t>
            </a:r>
            <a:r>
              <a:rPr lang="en-GB" sz="900"/>
              <a:t> </a:t>
            </a:r>
            <a:br>
              <a:rPr lang="en-GB" sz="900"/>
            </a:br>
            <a:r>
              <a:rPr lang="en-GB" sz="900"/>
              <a:t>US</a:t>
            </a:r>
          </a:p>
        </p:txBody>
      </p:sp>
      <p:sp>
        <p:nvSpPr>
          <p:cNvPr id="587" name="Text Box 132"/>
          <p:cNvSpPr txBox="1">
            <a:spLocks noChangeArrowheads="1"/>
          </p:cNvSpPr>
          <p:nvPr/>
        </p:nvSpPr>
        <p:spPr bwMode="auto">
          <a:xfrm>
            <a:off x="4240048" y="3669718"/>
            <a:ext cx="1056058" cy="23544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GB" sz="900" b="1"/>
              <a:t>Research Triangle Park</a:t>
            </a:r>
            <a:r>
              <a:rPr lang="en-GB" sz="900"/>
              <a:t>, US</a:t>
            </a:r>
          </a:p>
        </p:txBody>
      </p:sp>
      <p:sp>
        <p:nvSpPr>
          <p:cNvPr id="588" name="Oval 587"/>
          <p:cNvSpPr/>
          <p:nvPr/>
        </p:nvSpPr>
        <p:spPr bwMode="auto">
          <a:xfrm>
            <a:off x="4720742" y="4868170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589" name="TextBox 636"/>
          <p:cNvSpPr txBox="1">
            <a:spLocks noChangeArrowheads="1"/>
          </p:cNvSpPr>
          <p:nvPr/>
        </p:nvSpPr>
        <p:spPr bwMode="auto">
          <a:xfrm>
            <a:off x="4976664" y="5841166"/>
            <a:ext cx="596317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977900">
              <a:lnSpc>
                <a:spcPct val="85000"/>
              </a:lnSpc>
            </a:lvl1pPr>
          </a:lstStyle>
          <a:p>
            <a:pPr algn="ctr"/>
            <a:r>
              <a:rPr lang="de-CH" sz="900" b="1"/>
              <a:t>Uberlândia</a:t>
            </a:r>
            <a:br>
              <a:rPr lang="de-CH" sz="900" b="1"/>
            </a:br>
            <a:r>
              <a:rPr lang="de-CH" sz="900"/>
              <a:t>Brazil</a:t>
            </a:r>
          </a:p>
        </p:txBody>
      </p:sp>
      <p:sp>
        <p:nvSpPr>
          <p:cNvPr id="590" name="Rectangle 12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70286" y="1998438"/>
            <a:ext cx="679673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Jealott’s Hill</a:t>
            </a:r>
            <a:br>
              <a:rPr lang="en-GB" sz="900" b="1"/>
            </a:br>
            <a:r>
              <a:rPr lang="en-GB" sz="900"/>
              <a:t>UK</a:t>
            </a:r>
          </a:p>
        </p:txBody>
      </p:sp>
      <p:sp>
        <p:nvSpPr>
          <p:cNvPr id="591" name="Rectangle 12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109194" y="2348665"/>
            <a:ext cx="621965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Enkhuizen</a:t>
            </a:r>
            <a:br>
              <a:rPr lang="en-GB" sz="900"/>
            </a:br>
            <a:r>
              <a:rPr lang="en-GB" sz="900"/>
              <a:t>Netherlands</a:t>
            </a:r>
          </a:p>
        </p:txBody>
      </p:sp>
      <p:sp>
        <p:nvSpPr>
          <p:cNvPr id="593" name="Oval 592"/>
          <p:cNvSpPr/>
          <p:nvPr/>
        </p:nvSpPr>
        <p:spPr bwMode="auto">
          <a:xfrm>
            <a:off x="7833355" y="3407501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594" name="Oval 593"/>
          <p:cNvSpPr/>
          <p:nvPr/>
        </p:nvSpPr>
        <p:spPr bwMode="auto">
          <a:xfrm>
            <a:off x="7031281" y="4053998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595" name="Oval 594"/>
          <p:cNvSpPr/>
          <p:nvPr/>
        </p:nvSpPr>
        <p:spPr bwMode="auto">
          <a:xfrm>
            <a:off x="5788664" y="3052154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596" name="Oval 595"/>
          <p:cNvSpPr/>
          <p:nvPr/>
        </p:nvSpPr>
        <p:spPr bwMode="auto">
          <a:xfrm>
            <a:off x="5721744" y="3122829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pic>
        <p:nvPicPr>
          <p:cNvPr id="597" name="Picture 144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32844" y="4633253"/>
            <a:ext cx="753484" cy="519995"/>
          </a:xfrm>
          <a:prstGeom prst="rect">
            <a:avLst/>
          </a:prstGeom>
          <a:ln>
            <a:noFill/>
          </a:ln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98" name="TextBox 1164"/>
          <p:cNvSpPr txBox="1">
            <a:spLocks noChangeArrowheads="1"/>
          </p:cNvSpPr>
          <p:nvPr/>
        </p:nvSpPr>
        <p:spPr bwMode="auto">
          <a:xfrm>
            <a:off x="6678634" y="5185261"/>
            <a:ext cx="250068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977900">
              <a:lnSpc>
                <a:spcPct val="85000"/>
              </a:lnSpc>
            </a:lvl1pPr>
          </a:lstStyle>
          <a:p>
            <a:pPr algn="ctr"/>
            <a:r>
              <a:rPr lang="de-CH" sz="900" b="1"/>
              <a:t>Goa</a:t>
            </a:r>
            <a:br>
              <a:rPr lang="de-CH" sz="900"/>
            </a:br>
            <a:r>
              <a:rPr lang="de-CH" sz="900"/>
              <a:t>India</a:t>
            </a:r>
          </a:p>
        </p:txBody>
      </p:sp>
      <p:sp>
        <p:nvSpPr>
          <p:cNvPr id="599" name="TextBox 1164"/>
          <p:cNvSpPr txBox="1">
            <a:spLocks noChangeArrowheads="1"/>
          </p:cNvSpPr>
          <p:nvPr/>
        </p:nvSpPr>
        <p:spPr bwMode="auto">
          <a:xfrm>
            <a:off x="8662715" y="3645841"/>
            <a:ext cx="384721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977900">
              <a:lnSpc>
                <a:spcPct val="85000"/>
              </a:lnSpc>
            </a:lvl1pPr>
          </a:lstStyle>
          <a:p>
            <a:pPr algn="ctr"/>
            <a:r>
              <a:rPr lang="de-CH" sz="900" b="1"/>
              <a:t>Beijing</a:t>
            </a:r>
            <a:br>
              <a:rPr lang="de-CH" sz="900"/>
            </a:br>
            <a:r>
              <a:rPr lang="de-CH" sz="900"/>
              <a:t>China</a:t>
            </a:r>
          </a:p>
        </p:txBody>
      </p:sp>
      <p:sp>
        <p:nvSpPr>
          <p:cNvPr id="600" name="Oval 290"/>
          <p:cNvSpPr/>
          <p:nvPr/>
        </p:nvSpPr>
        <p:spPr bwMode="auto">
          <a:xfrm>
            <a:off x="3436790" y="3776767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601" name="Rectangle 12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28776" y="4898983"/>
            <a:ext cx="333425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Gilroy</a:t>
            </a:r>
          </a:p>
          <a:p>
            <a:pPr algn="ctr" defTabSz="977900">
              <a:lnSpc>
                <a:spcPct val="85000"/>
              </a:lnSpc>
            </a:pPr>
            <a:r>
              <a:rPr lang="en-GB" sz="900"/>
              <a:t>US</a:t>
            </a:r>
          </a:p>
        </p:txBody>
      </p:sp>
      <p:sp>
        <p:nvSpPr>
          <p:cNvPr id="602" name="Oval 601"/>
          <p:cNvSpPr/>
          <p:nvPr/>
        </p:nvSpPr>
        <p:spPr bwMode="auto">
          <a:xfrm>
            <a:off x="4074883" y="3855263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pic>
        <p:nvPicPr>
          <p:cNvPr id="603" name="Picture 8" descr="P:\WashingtonDC\860194.000\P+S\_TEAM\STUDY_KimTa\Gilroy Aerials - All Sites\GilroyWest-BirdsEye_Page_4.jpg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06" t="11949" b="17279"/>
          <a:stretch>
            <a:fillRect/>
          </a:stretch>
        </p:blipFill>
        <p:spPr bwMode="auto">
          <a:xfrm>
            <a:off x="2238227" y="4345393"/>
            <a:ext cx="688879" cy="472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04" name="Picture 154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0616" y="1440972"/>
            <a:ext cx="845817" cy="46149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05" name="Picture 4" descr="http://www.syngenta.com/global/corporate/SiteCollectionImages/ImageLibrary/SitesAndBuildings/hr-enkhuizen-lowres.jp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735" b="1639"/>
          <a:stretch>
            <a:fillRect/>
          </a:stretch>
        </p:blipFill>
        <p:spPr bwMode="auto">
          <a:xfrm>
            <a:off x="6082950" y="1836154"/>
            <a:ext cx="742958" cy="467788"/>
          </a:xfrm>
          <a:prstGeom prst="rect">
            <a:avLst/>
          </a:prstGeom>
          <a:ln>
            <a:noFill/>
          </a:ln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07" name="Oval 606"/>
          <p:cNvSpPr/>
          <p:nvPr/>
        </p:nvSpPr>
        <p:spPr bwMode="auto">
          <a:xfrm>
            <a:off x="3395162" y="3693445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pic>
        <p:nvPicPr>
          <p:cNvPr id="608" name="Picture 145"/>
          <p:cNvPicPr>
            <a:picLocks noChangeAspect="1" noChangeArrowheads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40210" y="2260392"/>
            <a:ext cx="709170" cy="501841"/>
          </a:xfrm>
          <a:prstGeom prst="rect">
            <a:avLst/>
          </a:prstGeom>
          <a:ln>
            <a:noFill/>
          </a:ln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09" name="Picture 9146002" descr="S6Picture 9146002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8032" y="3084413"/>
            <a:ext cx="744475" cy="526386"/>
          </a:xfrm>
          <a:prstGeom prst="rect">
            <a:avLst/>
          </a:prstGeom>
          <a:ln>
            <a:noFill/>
          </a:ln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10" name="Picture 2" descr="\\usrepfil01\u576023$\Pictures\Biotech Site Beijing-2.JPG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47652" y="3104636"/>
            <a:ext cx="773161" cy="514152"/>
          </a:xfrm>
          <a:prstGeom prst="rect">
            <a:avLst/>
          </a:prstGeom>
          <a:noFill/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11" name="Freeform 166"/>
          <p:cNvSpPr>
            <a:spLocks/>
          </p:cNvSpPr>
          <p:nvPr/>
        </p:nvSpPr>
        <p:spPr bwMode="auto">
          <a:xfrm>
            <a:off x="6116068" y="3354907"/>
            <a:ext cx="81555" cy="67605"/>
          </a:xfrm>
          <a:custGeom>
            <a:avLst/>
            <a:gdLst>
              <a:gd name="T0" fmla="*/ 246 w 247"/>
              <a:gd name="T1" fmla="*/ 32 h 197"/>
              <a:gd name="T2" fmla="*/ 226 w 247"/>
              <a:gd name="T3" fmla="*/ 27 h 197"/>
              <a:gd name="T4" fmla="*/ 222 w 247"/>
              <a:gd name="T5" fmla="*/ 5 h 197"/>
              <a:gd name="T6" fmla="*/ 189 w 247"/>
              <a:gd name="T7" fmla="*/ 9 h 197"/>
              <a:gd name="T8" fmla="*/ 171 w 247"/>
              <a:gd name="T9" fmla="*/ 0 h 197"/>
              <a:gd name="T10" fmla="*/ 142 w 247"/>
              <a:gd name="T11" fmla="*/ 5 h 197"/>
              <a:gd name="T12" fmla="*/ 127 w 247"/>
              <a:gd name="T13" fmla="*/ 27 h 197"/>
              <a:gd name="T14" fmla="*/ 112 w 247"/>
              <a:gd name="T15" fmla="*/ 35 h 197"/>
              <a:gd name="T16" fmla="*/ 94 w 247"/>
              <a:gd name="T17" fmla="*/ 33 h 197"/>
              <a:gd name="T18" fmla="*/ 61 w 247"/>
              <a:gd name="T19" fmla="*/ 104 h 197"/>
              <a:gd name="T20" fmla="*/ 76 w 247"/>
              <a:gd name="T21" fmla="*/ 116 h 197"/>
              <a:gd name="T22" fmla="*/ 60 w 247"/>
              <a:gd name="T23" fmla="*/ 131 h 197"/>
              <a:gd name="T24" fmla="*/ 58 w 247"/>
              <a:gd name="T25" fmla="*/ 147 h 197"/>
              <a:gd name="T26" fmla="*/ 46 w 247"/>
              <a:gd name="T27" fmla="*/ 159 h 197"/>
              <a:gd name="T28" fmla="*/ 28 w 247"/>
              <a:gd name="T29" fmla="*/ 152 h 197"/>
              <a:gd name="T30" fmla="*/ 0 w 247"/>
              <a:gd name="T31" fmla="*/ 147 h 197"/>
              <a:gd name="T32" fmla="*/ 13 w 247"/>
              <a:gd name="T33" fmla="*/ 170 h 197"/>
              <a:gd name="T34" fmla="*/ 42 w 247"/>
              <a:gd name="T35" fmla="*/ 189 h 197"/>
              <a:gd name="T36" fmla="*/ 73 w 247"/>
              <a:gd name="T37" fmla="*/ 180 h 197"/>
              <a:gd name="T38" fmla="*/ 100 w 247"/>
              <a:gd name="T39" fmla="*/ 176 h 197"/>
              <a:gd name="T40" fmla="*/ 111 w 247"/>
              <a:gd name="T41" fmla="*/ 194 h 197"/>
              <a:gd name="T42" fmla="*/ 127 w 247"/>
              <a:gd name="T43" fmla="*/ 197 h 197"/>
              <a:gd name="T44" fmla="*/ 150 w 247"/>
              <a:gd name="T45" fmla="*/ 153 h 197"/>
              <a:gd name="T46" fmla="*/ 153 w 247"/>
              <a:gd name="T47" fmla="*/ 125 h 197"/>
              <a:gd name="T48" fmla="*/ 196 w 247"/>
              <a:gd name="T49" fmla="*/ 132 h 197"/>
              <a:gd name="T50" fmla="*/ 229 w 247"/>
              <a:gd name="T51" fmla="*/ 102 h 197"/>
              <a:gd name="T52" fmla="*/ 220 w 247"/>
              <a:gd name="T53" fmla="*/ 86 h 197"/>
              <a:gd name="T54" fmla="*/ 243 w 247"/>
              <a:gd name="T55" fmla="*/ 75 h 197"/>
              <a:gd name="T56" fmla="*/ 247 w 247"/>
              <a:gd name="T57" fmla="*/ 45 h 197"/>
              <a:gd name="T58" fmla="*/ 246 w 247"/>
              <a:gd name="T59" fmla="*/ 32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47" h="197">
                <a:moveTo>
                  <a:pt x="246" y="32"/>
                </a:moveTo>
                <a:lnTo>
                  <a:pt x="226" y="27"/>
                </a:lnTo>
                <a:lnTo>
                  <a:pt x="222" y="5"/>
                </a:lnTo>
                <a:lnTo>
                  <a:pt x="189" y="9"/>
                </a:lnTo>
                <a:lnTo>
                  <a:pt x="171" y="0"/>
                </a:lnTo>
                <a:lnTo>
                  <a:pt x="142" y="5"/>
                </a:lnTo>
                <a:lnTo>
                  <a:pt x="127" y="27"/>
                </a:lnTo>
                <a:lnTo>
                  <a:pt x="112" y="35"/>
                </a:lnTo>
                <a:lnTo>
                  <a:pt x="94" y="33"/>
                </a:lnTo>
                <a:lnTo>
                  <a:pt x="61" y="104"/>
                </a:lnTo>
                <a:lnTo>
                  <a:pt x="76" y="116"/>
                </a:lnTo>
                <a:lnTo>
                  <a:pt x="60" y="131"/>
                </a:lnTo>
                <a:lnTo>
                  <a:pt x="58" y="147"/>
                </a:lnTo>
                <a:lnTo>
                  <a:pt x="46" y="159"/>
                </a:lnTo>
                <a:lnTo>
                  <a:pt x="28" y="152"/>
                </a:lnTo>
                <a:lnTo>
                  <a:pt x="0" y="147"/>
                </a:lnTo>
                <a:lnTo>
                  <a:pt x="13" y="170"/>
                </a:lnTo>
                <a:lnTo>
                  <a:pt x="42" y="189"/>
                </a:lnTo>
                <a:lnTo>
                  <a:pt x="73" y="180"/>
                </a:lnTo>
                <a:lnTo>
                  <a:pt x="100" y="176"/>
                </a:lnTo>
                <a:lnTo>
                  <a:pt x="111" y="194"/>
                </a:lnTo>
                <a:lnTo>
                  <a:pt x="127" y="197"/>
                </a:lnTo>
                <a:lnTo>
                  <a:pt x="150" y="153"/>
                </a:lnTo>
                <a:lnTo>
                  <a:pt x="153" y="125"/>
                </a:lnTo>
                <a:lnTo>
                  <a:pt x="196" y="132"/>
                </a:lnTo>
                <a:lnTo>
                  <a:pt x="229" y="102"/>
                </a:lnTo>
                <a:lnTo>
                  <a:pt x="220" y="86"/>
                </a:lnTo>
                <a:lnTo>
                  <a:pt x="243" y="75"/>
                </a:lnTo>
                <a:lnTo>
                  <a:pt x="247" y="45"/>
                </a:lnTo>
                <a:lnTo>
                  <a:pt x="246" y="3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2" name="Freeform 166"/>
          <p:cNvSpPr>
            <a:spLocks/>
          </p:cNvSpPr>
          <p:nvPr/>
        </p:nvSpPr>
        <p:spPr bwMode="auto">
          <a:xfrm>
            <a:off x="6116068" y="3351074"/>
            <a:ext cx="81555" cy="67605"/>
          </a:xfrm>
          <a:custGeom>
            <a:avLst/>
            <a:gdLst>
              <a:gd name="T0" fmla="*/ 246 w 247"/>
              <a:gd name="T1" fmla="*/ 32 h 197"/>
              <a:gd name="T2" fmla="*/ 226 w 247"/>
              <a:gd name="T3" fmla="*/ 27 h 197"/>
              <a:gd name="T4" fmla="*/ 222 w 247"/>
              <a:gd name="T5" fmla="*/ 5 h 197"/>
              <a:gd name="T6" fmla="*/ 189 w 247"/>
              <a:gd name="T7" fmla="*/ 9 h 197"/>
              <a:gd name="T8" fmla="*/ 171 w 247"/>
              <a:gd name="T9" fmla="*/ 0 h 197"/>
              <a:gd name="T10" fmla="*/ 142 w 247"/>
              <a:gd name="T11" fmla="*/ 5 h 197"/>
              <a:gd name="T12" fmla="*/ 127 w 247"/>
              <a:gd name="T13" fmla="*/ 27 h 197"/>
              <a:gd name="T14" fmla="*/ 112 w 247"/>
              <a:gd name="T15" fmla="*/ 35 h 197"/>
              <a:gd name="T16" fmla="*/ 94 w 247"/>
              <a:gd name="T17" fmla="*/ 33 h 197"/>
              <a:gd name="T18" fmla="*/ 61 w 247"/>
              <a:gd name="T19" fmla="*/ 104 h 197"/>
              <a:gd name="T20" fmla="*/ 76 w 247"/>
              <a:gd name="T21" fmla="*/ 116 h 197"/>
              <a:gd name="T22" fmla="*/ 60 w 247"/>
              <a:gd name="T23" fmla="*/ 131 h 197"/>
              <a:gd name="T24" fmla="*/ 58 w 247"/>
              <a:gd name="T25" fmla="*/ 147 h 197"/>
              <a:gd name="T26" fmla="*/ 46 w 247"/>
              <a:gd name="T27" fmla="*/ 159 h 197"/>
              <a:gd name="T28" fmla="*/ 28 w 247"/>
              <a:gd name="T29" fmla="*/ 152 h 197"/>
              <a:gd name="T30" fmla="*/ 0 w 247"/>
              <a:gd name="T31" fmla="*/ 147 h 197"/>
              <a:gd name="T32" fmla="*/ 13 w 247"/>
              <a:gd name="T33" fmla="*/ 170 h 197"/>
              <a:gd name="T34" fmla="*/ 42 w 247"/>
              <a:gd name="T35" fmla="*/ 189 h 197"/>
              <a:gd name="T36" fmla="*/ 73 w 247"/>
              <a:gd name="T37" fmla="*/ 180 h 197"/>
              <a:gd name="T38" fmla="*/ 100 w 247"/>
              <a:gd name="T39" fmla="*/ 176 h 197"/>
              <a:gd name="T40" fmla="*/ 111 w 247"/>
              <a:gd name="T41" fmla="*/ 194 h 197"/>
              <a:gd name="T42" fmla="*/ 127 w 247"/>
              <a:gd name="T43" fmla="*/ 197 h 197"/>
              <a:gd name="T44" fmla="*/ 150 w 247"/>
              <a:gd name="T45" fmla="*/ 153 h 197"/>
              <a:gd name="T46" fmla="*/ 153 w 247"/>
              <a:gd name="T47" fmla="*/ 125 h 197"/>
              <a:gd name="T48" fmla="*/ 196 w 247"/>
              <a:gd name="T49" fmla="*/ 132 h 197"/>
              <a:gd name="T50" fmla="*/ 229 w 247"/>
              <a:gd name="T51" fmla="*/ 102 h 197"/>
              <a:gd name="T52" fmla="*/ 220 w 247"/>
              <a:gd name="T53" fmla="*/ 86 h 197"/>
              <a:gd name="T54" fmla="*/ 243 w 247"/>
              <a:gd name="T55" fmla="*/ 75 h 197"/>
              <a:gd name="T56" fmla="*/ 247 w 247"/>
              <a:gd name="T57" fmla="*/ 45 h 197"/>
              <a:gd name="T58" fmla="*/ 246 w 247"/>
              <a:gd name="T59" fmla="*/ 32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47" h="197">
                <a:moveTo>
                  <a:pt x="246" y="32"/>
                </a:moveTo>
                <a:lnTo>
                  <a:pt x="226" y="27"/>
                </a:lnTo>
                <a:lnTo>
                  <a:pt x="222" y="5"/>
                </a:lnTo>
                <a:lnTo>
                  <a:pt x="189" y="9"/>
                </a:lnTo>
                <a:lnTo>
                  <a:pt x="171" y="0"/>
                </a:lnTo>
                <a:lnTo>
                  <a:pt x="142" y="5"/>
                </a:lnTo>
                <a:lnTo>
                  <a:pt x="127" y="27"/>
                </a:lnTo>
                <a:lnTo>
                  <a:pt x="112" y="35"/>
                </a:lnTo>
                <a:lnTo>
                  <a:pt x="94" y="33"/>
                </a:lnTo>
                <a:lnTo>
                  <a:pt x="61" y="104"/>
                </a:lnTo>
                <a:lnTo>
                  <a:pt x="76" y="116"/>
                </a:lnTo>
                <a:lnTo>
                  <a:pt x="60" y="131"/>
                </a:lnTo>
                <a:lnTo>
                  <a:pt x="58" y="147"/>
                </a:lnTo>
                <a:lnTo>
                  <a:pt x="46" y="159"/>
                </a:lnTo>
                <a:lnTo>
                  <a:pt x="28" y="152"/>
                </a:lnTo>
                <a:lnTo>
                  <a:pt x="0" y="147"/>
                </a:lnTo>
                <a:lnTo>
                  <a:pt x="13" y="170"/>
                </a:lnTo>
                <a:lnTo>
                  <a:pt x="42" y="189"/>
                </a:lnTo>
                <a:lnTo>
                  <a:pt x="73" y="180"/>
                </a:lnTo>
                <a:lnTo>
                  <a:pt x="100" y="176"/>
                </a:lnTo>
                <a:lnTo>
                  <a:pt x="111" y="194"/>
                </a:lnTo>
                <a:lnTo>
                  <a:pt x="127" y="197"/>
                </a:lnTo>
                <a:lnTo>
                  <a:pt x="150" y="153"/>
                </a:lnTo>
                <a:lnTo>
                  <a:pt x="153" y="125"/>
                </a:lnTo>
                <a:lnTo>
                  <a:pt x="196" y="132"/>
                </a:lnTo>
                <a:lnTo>
                  <a:pt x="229" y="102"/>
                </a:lnTo>
                <a:lnTo>
                  <a:pt x="220" y="86"/>
                </a:lnTo>
                <a:lnTo>
                  <a:pt x="243" y="75"/>
                </a:lnTo>
                <a:lnTo>
                  <a:pt x="247" y="45"/>
                </a:lnTo>
                <a:lnTo>
                  <a:pt x="246" y="3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3" name="Freeform 166"/>
          <p:cNvSpPr>
            <a:spLocks/>
          </p:cNvSpPr>
          <p:nvPr/>
        </p:nvSpPr>
        <p:spPr bwMode="auto">
          <a:xfrm>
            <a:off x="6159016" y="3351074"/>
            <a:ext cx="81555" cy="67605"/>
          </a:xfrm>
          <a:custGeom>
            <a:avLst/>
            <a:gdLst>
              <a:gd name="T0" fmla="*/ 246 w 247"/>
              <a:gd name="T1" fmla="*/ 32 h 197"/>
              <a:gd name="T2" fmla="*/ 226 w 247"/>
              <a:gd name="T3" fmla="*/ 27 h 197"/>
              <a:gd name="T4" fmla="*/ 222 w 247"/>
              <a:gd name="T5" fmla="*/ 5 h 197"/>
              <a:gd name="T6" fmla="*/ 189 w 247"/>
              <a:gd name="T7" fmla="*/ 9 h 197"/>
              <a:gd name="T8" fmla="*/ 171 w 247"/>
              <a:gd name="T9" fmla="*/ 0 h 197"/>
              <a:gd name="T10" fmla="*/ 142 w 247"/>
              <a:gd name="T11" fmla="*/ 5 h 197"/>
              <a:gd name="T12" fmla="*/ 127 w 247"/>
              <a:gd name="T13" fmla="*/ 27 h 197"/>
              <a:gd name="T14" fmla="*/ 112 w 247"/>
              <a:gd name="T15" fmla="*/ 35 h 197"/>
              <a:gd name="T16" fmla="*/ 94 w 247"/>
              <a:gd name="T17" fmla="*/ 33 h 197"/>
              <a:gd name="T18" fmla="*/ 61 w 247"/>
              <a:gd name="T19" fmla="*/ 104 h 197"/>
              <a:gd name="T20" fmla="*/ 76 w 247"/>
              <a:gd name="T21" fmla="*/ 116 h 197"/>
              <a:gd name="T22" fmla="*/ 60 w 247"/>
              <a:gd name="T23" fmla="*/ 131 h 197"/>
              <a:gd name="T24" fmla="*/ 58 w 247"/>
              <a:gd name="T25" fmla="*/ 147 h 197"/>
              <a:gd name="T26" fmla="*/ 46 w 247"/>
              <a:gd name="T27" fmla="*/ 159 h 197"/>
              <a:gd name="T28" fmla="*/ 28 w 247"/>
              <a:gd name="T29" fmla="*/ 152 h 197"/>
              <a:gd name="T30" fmla="*/ 0 w 247"/>
              <a:gd name="T31" fmla="*/ 147 h 197"/>
              <a:gd name="T32" fmla="*/ 13 w 247"/>
              <a:gd name="T33" fmla="*/ 170 h 197"/>
              <a:gd name="T34" fmla="*/ 42 w 247"/>
              <a:gd name="T35" fmla="*/ 189 h 197"/>
              <a:gd name="T36" fmla="*/ 73 w 247"/>
              <a:gd name="T37" fmla="*/ 180 h 197"/>
              <a:gd name="T38" fmla="*/ 100 w 247"/>
              <a:gd name="T39" fmla="*/ 176 h 197"/>
              <a:gd name="T40" fmla="*/ 111 w 247"/>
              <a:gd name="T41" fmla="*/ 194 h 197"/>
              <a:gd name="T42" fmla="*/ 127 w 247"/>
              <a:gd name="T43" fmla="*/ 197 h 197"/>
              <a:gd name="T44" fmla="*/ 150 w 247"/>
              <a:gd name="T45" fmla="*/ 153 h 197"/>
              <a:gd name="T46" fmla="*/ 153 w 247"/>
              <a:gd name="T47" fmla="*/ 125 h 197"/>
              <a:gd name="T48" fmla="*/ 196 w 247"/>
              <a:gd name="T49" fmla="*/ 132 h 197"/>
              <a:gd name="T50" fmla="*/ 229 w 247"/>
              <a:gd name="T51" fmla="*/ 102 h 197"/>
              <a:gd name="T52" fmla="*/ 220 w 247"/>
              <a:gd name="T53" fmla="*/ 86 h 197"/>
              <a:gd name="T54" fmla="*/ 243 w 247"/>
              <a:gd name="T55" fmla="*/ 75 h 197"/>
              <a:gd name="T56" fmla="*/ 247 w 247"/>
              <a:gd name="T57" fmla="*/ 45 h 197"/>
              <a:gd name="T58" fmla="*/ 246 w 247"/>
              <a:gd name="T59" fmla="*/ 32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47" h="197">
                <a:moveTo>
                  <a:pt x="246" y="32"/>
                </a:moveTo>
                <a:lnTo>
                  <a:pt x="226" y="27"/>
                </a:lnTo>
                <a:lnTo>
                  <a:pt x="222" y="5"/>
                </a:lnTo>
                <a:lnTo>
                  <a:pt x="189" y="9"/>
                </a:lnTo>
                <a:lnTo>
                  <a:pt x="171" y="0"/>
                </a:lnTo>
                <a:lnTo>
                  <a:pt x="142" y="5"/>
                </a:lnTo>
                <a:lnTo>
                  <a:pt x="127" y="27"/>
                </a:lnTo>
                <a:lnTo>
                  <a:pt x="112" y="35"/>
                </a:lnTo>
                <a:lnTo>
                  <a:pt x="94" y="33"/>
                </a:lnTo>
                <a:lnTo>
                  <a:pt x="61" y="104"/>
                </a:lnTo>
                <a:lnTo>
                  <a:pt x="76" y="116"/>
                </a:lnTo>
                <a:lnTo>
                  <a:pt x="60" y="131"/>
                </a:lnTo>
                <a:lnTo>
                  <a:pt x="58" y="147"/>
                </a:lnTo>
                <a:lnTo>
                  <a:pt x="46" y="159"/>
                </a:lnTo>
                <a:lnTo>
                  <a:pt x="28" y="152"/>
                </a:lnTo>
                <a:lnTo>
                  <a:pt x="0" y="147"/>
                </a:lnTo>
                <a:lnTo>
                  <a:pt x="13" y="170"/>
                </a:lnTo>
                <a:lnTo>
                  <a:pt x="42" y="189"/>
                </a:lnTo>
                <a:lnTo>
                  <a:pt x="73" y="180"/>
                </a:lnTo>
                <a:lnTo>
                  <a:pt x="100" y="176"/>
                </a:lnTo>
                <a:lnTo>
                  <a:pt x="111" y="194"/>
                </a:lnTo>
                <a:lnTo>
                  <a:pt x="127" y="197"/>
                </a:lnTo>
                <a:lnTo>
                  <a:pt x="150" y="153"/>
                </a:lnTo>
                <a:lnTo>
                  <a:pt x="153" y="125"/>
                </a:lnTo>
                <a:lnTo>
                  <a:pt x="196" y="132"/>
                </a:lnTo>
                <a:lnTo>
                  <a:pt x="229" y="102"/>
                </a:lnTo>
                <a:lnTo>
                  <a:pt x="220" y="86"/>
                </a:lnTo>
                <a:lnTo>
                  <a:pt x="243" y="75"/>
                </a:lnTo>
                <a:lnTo>
                  <a:pt x="247" y="45"/>
                </a:lnTo>
                <a:lnTo>
                  <a:pt x="246" y="3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4" name="Freeform 166"/>
          <p:cNvSpPr>
            <a:spLocks/>
          </p:cNvSpPr>
          <p:nvPr/>
        </p:nvSpPr>
        <p:spPr bwMode="auto">
          <a:xfrm>
            <a:off x="6116068" y="3493950"/>
            <a:ext cx="81555" cy="67605"/>
          </a:xfrm>
          <a:custGeom>
            <a:avLst/>
            <a:gdLst>
              <a:gd name="T0" fmla="*/ 246 w 247"/>
              <a:gd name="T1" fmla="*/ 32 h 197"/>
              <a:gd name="T2" fmla="*/ 226 w 247"/>
              <a:gd name="T3" fmla="*/ 27 h 197"/>
              <a:gd name="T4" fmla="*/ 222 w 247"/>
              <a:gd name="T5" fmla="*/ 5 h 197"/>
              <a:gd name="T6" fmla="*/ 189 w 247"/>
              <a:gd name="T7" fmla="*/ 9 h 197"/>
              <a:gd name="T8" fmla="*/ 171 w 247"/>
              <a:gd name="T9" fmla="*/ 0 h 197"/>
              <a:gd name="T10" fmla="*/ 142 w 247"/>
              <a:gd name="T11" fmla="*/ 5 h 197"/>
              <a:gd name="T12" fmla="*/ 127 w 247"/>
              <a:gd name="T13" fmla="*/ 27 h 197"/>
              <a:gd name="T14" fmla="*/ 112 w 247"/>
              <a:gd name="T15" fmla="*/ 35 h 197"/>
              <a:gd name="T16" fmla="*/ 94 w 247"/>
              <a:gd name="T17" fmla="*/ 33 h 197"/>
              <a:gd name="T18" fmla="*/ 61 w 247"/>
              <a:gd name="T19" fmla="*/ 104 h 197"/>
              <a:gd name="T20" fmla="*/ 76 w 247"/>
              <a:gd name="T21" fmla="*/ 116 h 197"/>
              <a:gd name="T22" fmla="*/ 60 w 247"/>
              <a:gd name="T23" fmla="*/ 131 h 197"/>
              <a:gd name="T24" fmla="*/ 58 w 247"/>
              <a:gd name="T25" fmla="*/ 147 h 197"/>
              <a:gd name="T26" fmla="*/ 46 w 247"/>
              <a:gd name="T27" fmla="*/ 159 h 197"/>
              <a:gd name="T28" fmla="*/ 28 w 247"/>
              <a:gd name="T29" fmla="*/ 152 h 197"/>
              <a:gd name="T30" fmla="*/ 0 w 247"/>
              <a:gd name="T31" fmla="*/ 147 h 197"/>
              <a:gd name="T32" fmla="*/ 13 w 247"/>
              <a:gd name="T33" fmla="*/ 170 h 197"/>
              <a:gd name="T34" fmla="*/ 42 w 247"/>
              <a:gd name="T35" fmla="*/ 189 h 197"/>
              <a:gd name="T36" fmla="*/ 73 w 247"/>
              <a:gd name="T37" fmla="*/ 180 h 197"/>
              <a:gd name="T38" fmla="*/ 100 w 247"/>
              <a:gd name="T39" fmla="*/ 176 h 197"/>
              <a:gd name="T40" fmla="*/ 111 w 247"/>
              <a:gd name="T41" fmla="*/ 194 h 197"/>
              <a:gd name="T42" fmla="*/ 127 w 247"/>
              <a:gd name="T43" fmla="*/ 197 h 197"/>
              <a:gd name="T44" fmla="*/ 150 w 247"/>
              <a:gd name="T45" fmla="*/ 153 h 197"/>
              <a:gd name="T46" fmla="*/ 153 w 247"/>
              <a:gd name="T47" fmla="*/ 125 h 197"/>
              <a:gd name="T48" fmla="*/ 196 w 247"/>
              <a:gd name="T49" fmla="*/ 132 h 197"/>
              <a:gd name="T50" fmla="*/ 229 w 247"/>
              <a:gd name="T51" fmla="*/ 102 h 197"/>
              <a:gd name="T52" fmla="*/ 220 w 247"/>
              <a:gd name="T53" fmla="*/ 86 h 197"/>
              <a:gd name="T54" fmla="*/ 243 w 247"/>
              <a:gd name="T55" fmla="*/ 75 h 197"/>
              <a:gd name="T56" fmla="*/ 247 w 247"/>
              <a:gd name="T57" fmla="*/ 45 h 197"/>
              <a:gd name="T58" fmla="*/ 246 w 247"/>
              <a:gd name="T59" fmla="*/ 32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47" h="197">
                <a:moveTo>
                  <a:pt x="246" y="32"/>
                </a:moveTo>
                <a:lnTo>
                  <a:pt x="226" y="27"/>
                </a:lnTo>
                <a:lnTo>
                  <a:pt x="222" y="5"/>
                </a:lnTo>
                <a:lnTo>
                  <a:pt x="189" y="9"/>
                </a:lnTo>
                <a:lnTo>
                  <a:pt x="171" y="0"/>
                </a:lnTo>
                <a:lnTo>
                  <a:pt x="142" y="5"/>
                </a:lnTo>
                <a:lnTo>
                  <a:pt x="127" y="27"/>
                </a:lnTo>
                <a:lnTo>
                  <a:pt x="112" y="35"/>
                </a:lnTo>
                <a:lnTo>
                  <a:pt x="94" y="33"/>
                </a:lnTo>
                <a:lnTo>
                  <a:pt x="61" y="104"/>
                </a:lnTo>
                <a:lnTo>
                  <a:pt x="76" y="116"/>
                </a:lnTo>
                <a:lnTo>
                  <a:pt x="60" y="131"/>
                </a:lnTo>
                <a:lnTo>
                  <a:pt x="58" y="147"/>
                </a:lnTo>
                <a:lnTo>
                  <a:pt x="46" y="159"/>
                </a:lnTo>
                <a:lnTo>
                  <a:pt x="28" y="152"/>
                </a:lnTo>
                <a:lnTo>
                  <a:pt x="0" y="147"/>
                </a:lnTo>
                <a:lnTo>
                  <a:pt x="13" y="170"/>
                </a:lnTo>
                <a:lnTo>
                  <a:pt x="42" y="189"/>
                </a:lnTo>
                <a:lnTo>
                  <a:pt x="73" y="180"/>
                </a:lnTo>
                <a:lnTo>
                  <a:pt x="100" y="176"/>
                </a:lnTo>
                <a:lnTo>
                  <a:pt x="111" y="194"/>
                </a:lnTo>
                <a:lnTo>
                  <a:pt x="127" y="197"/>
                </a:lnTo>
                <a:lnTo>
                  <a:pt x="150" y="153"/>
                </a:lnTo>
                <a:lnTo>
                  <a:pt x="153" y="125"/>
                </a:lnTo>
                <a:lnTo>
                  <a:pt x="196" y="132"/>
                </a:lnTo>
                <a:lnTo>
                  <a:pt x="229" y="102"/>
                </a:lnTo>
                <a:lnTo>
                  <a:pt x="220" y="86"/>
                </a:lnTo>
                <a:lnTo>
                  <a:pt x="243" y="75"/>
                </a:lnTo>
                <a:lnTo>
                  <a:pt x="247" y="45"/>
                </a:lnTo>
                <a:lnTo>
                  <a:pt x="246" y="3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15" name="Oval 614"/>
          <p:cNvSpPr/>
          <p:nvPr/>
        </p:nvSpPr>
        <p:spPr bwMode="auto">
          <a:xfrm>
            <a:off x="5879316" y="3223380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616" name="Oval 615"/>
          <p:cNvSpPr/>
          <p:nvPr/>
        </p:nvSpPr>
        <p:spPr bwMode="auto">
          <a:xfrm>
            <a:off x="5797190" y="3279841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pic>
        <p:nvPicPr>
          <p:cNvPr id="617" name="Picture 2" descr="http://mysyngenta/News/FRSS/Documents/en/SaintSauveur_1.JPG"/>
          <p:cNvPicPr>
            <a:picLocks noChangeAspect="1" noChangeArrowheads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0836" y="3940479"/>
            <a:ext cx="702429" cy="50575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18" name="Rectangle 12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814073" y="4455977"/>
            <a:ext cx="801501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Saint Sauveur </a:t>
            </a:r>
            <a:br>
              <a:rPr lang="en-GB" sz="900" b="1"/>
            </a:br>
            <a:r>
              <a:rPr lang="en-GB" sz="900"/>
              <a:t>France</a:t>
            </a:r>
          </a:p>
        </p:txBody>
      </p:sp>
      <p:pic>
        <p:nvPicPr>
          <p:cNvPr id="619" name="Picture 2"/>
          <p:cNvPicPr>
            <a:picLocks noChangeAspect="1" noChangeArrowheads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77752" y="5246886"/>
            <a:ext cx="776189" cy="564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20" name="Picture 2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0248" y="2401165"/>
            <a:ext cx="666943" cy="495767"/>
          </a:xfrm>
          <a:prstGeom prst="rect">
            <a:avLst/>
          </a:prstGeom>
          <a:ln>
            <a:noFill/>
          </a:ln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1" name="Oval 620"/>
          <p:cNvSpPr/>
          <p:nvPr/>
        </p:nvSpPr>
        <p:spPr bwMode="auto">
          <a:xfrm>
            <a:off x="5902170" y="3103670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622" name="Oval 621"/>
          <p:cNvSpPr/>
          <p:nvPr/>
        </p:nvSpPr>
        <p:spPr bwMode="auto">
          <a:xfrm>
            <a:off x="5682930" y="3246372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623" name="Oval 622"/>
          <p:cNvSpPr/>
          <p:nvPr/>
        </p:nvSpPr>
        <p:spPr bwMode="auto">
          <a:xfrm>
            <a:off x="5644427" y="3065110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pic>
        <p:nvPicPr>
          <p:cNvPr id="624" name="Picture 3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2277" y="1096249"/>
            <a:ext cx="763448" cy="49889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5" name="Picture 2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0409" y="4767659"/>
            <a:ext cx="780257" cy="52149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6" name="Rectangle 12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517350" y="5322259"/>
            <a:ext cx="448841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Alachua</a:t>
            </a:r>
          </a:p>
          <a:p>
            <a:pPr algn="ctr" defTabSz="977900">
              <a:lnSpc>
                <a:spcPct val="85000"/>
              </a:lnSpc>
            </a:pPr>
            <a:r>
              <a:rPr lang="en-GB" sz="900"/>
              <a:t>US</a:t>
            </a:r>
          </a:p>
        </p:txBody>
      </p:sp>
      <p:pic>
        <p:nvPicPr>
          <p:cNvPr id="627" name="Picture 3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0681" y="3866853"/>
            <a:ext cx="686722" cy="47075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8" name="Picture 4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121" y="1690419"/>
            <a:ext cx="761999" cy="45243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9" name="Rectangle 12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595164" y="2186219"/>
            <a:ext cx="397546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Clinton</a:t>
            </a:r>
          </a:p>
          <a:p>
            <a:pPr algn="ctr" defTabSz="977900">
              <a:lnSpc>
                <a:spcPct val="85000"/>
              </a:lnSpc>
            </a:pPr>
            <a:r>
              <a:rPr lang="en-GB" sz="900"/>
              <a:t>US</a:t>
            </a:r>
          </a:p>
        </p:txBody>
      </p:sp>
      <p:pic>
        <p:nvPicPr>
          <p:cNvPr id="630" name="Picture 6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470" y="2521005"/>
            <a:ext cx="694013" cy="51617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1" name="Rectangle 12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204814" y="3080964"/>
            <a:ext cx="320602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Slater</a:t>
            </a:r>
          </a:p>
          <a:p>
            <a:pPr algn="ctr" defTabSz="977900">
              <a:lnSpc>
                <a:spcPct val="85000"/>
              </a:lnSpc>
            </a:pPr>
            <a:r>
              <a:rPr lang="en-GB" sz="900"/>
              <a:t>US</a:t>
            </a:r>
          </a:p>
        </p:txBody>
      </p:sp>
      <p:pic>
        <p:nvPicPr>
          <p:cNvPr id="632" name="Picture 7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6065" y="1836931"/>
            <a:ext cx="729306" cy="46836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3" name="Rectangle 12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630191" y="2342258"/>
            <a:ext cx="429606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Stanton</a:t>
            </a:r>
          </a:p>
          <a:p>
            <a:pPr algn="ctr" defTabSz="977900">
              <a:lnSpc>
                <a:spcPct val="85000"/>
              </a:lnSpc>
            </a:pPr>
            <a:r>
              <a:rPr lang="en-GB" sz="900"/>
              <a:t>US</a:t>
            </a:r>
          </a:p>
        </p:txBody>
      </p:sp>
      <p:cxnSp>
        <p:nvCxnSpPr>
          <p:cNvPr id="634" name="Straight Connector 633"/>
          <p:cNvCxnSpPr>
            <a:stCxn id="593" idx="6"/>
            <a:endCxn id="610" idx="1"/>
          </p:cNvCxnSpPr>
          <p:nvPr/>
        </p:nvCxnSpPr>
        <p:spPr bwMode="auto">
          <a:xfrm flipV="1">
            <a:off x="7946277" y="3361712"/>
            <a:ext cx="501374" cy="10225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635" name="Rectangle 12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914499" y="4385647"/>
            <a:ext cx="493726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Sarrians </a:t>
            </a:r>
            <a:br>
              <a:rPr lang="en-GB" sz="900" b="1"/>
            </a:br>
            <a:r>
              <a:rPr lang="en-GB" sz="900"/>
              <a:t>France</a:t>
            </a:r>
          </a:p>
        </p:txBody>
      </p:sp>
      <p:sp>
        <p:nvSpPr>
          <p:cNvPr id="636" name="Rectangle 12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176525" y="2941808"/>
            <a:ext cx="788677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Bad Salzuflen </a:t>
            </a:r>
            <a:br>
              <a:rPr lang="en-GB" sz="900" b="1"/>
            </a:br>
            <a:r>
              <a:rPr lang="en-GB" sz="900"/>
              <a:t>Germany</a:t>
            </a:r>
          </a:p>
        </p:txBody>
      </p:sp>
      <p:sp>
        <p:nvSpPr>
          <p:cNvPr id="637" name="Rectangle 128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033655" y="1596374"/>
            <a:ext cx="416781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Ghent </a:t>
            </a:r>
            <a:br>
              <a:rPr lang="en-GB" sz="900" b="1"/>
            </a:br>
            <a:r>
              <a:rPr lang="en-GB" sz="900"/>
              <a:t>Belgium</a:t>
            </a:r>
          </a:p>
        </p:txBody>
      </p:sp>
      <p:pic>
        <p:nvPicPr>
          <p:cNvPr id="638" name="Picture 8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5358" y="3453052"/>
            <a:ext cx="702630" cy="51203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>
            <a:outerShdw blurRad="88900" dist="762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9" name="Rectangle 128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525417" y="4008415"/>
            <a:ext cx="589905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77900">
              <a:lnSpc>
                <a:spcPct val="85000"/>
              </a:lnSpc>
            </a:pPr>
            <a:r>
              <a:rPr lang="en-GB" sz="900" b="1"/>
              <a:t>Woodland</a:t>
            </a:r>
            <a:r>
              <a:rPr lang="en-GB" sz="900"/>
              <a:t> </a:t>
            </a:r>
            <a:br>
              <a:rPr lang="en-GB" sz="900"/>
            </a:br>
            <a:r>
              <a:rPr lang="en-GB" sz="900"/>
              <a:t>US</a:t>
            </a:r>
          </a:p>
        </p:txBody>
      </p:sp>
      <p:sp>
        <p:nvSpPr>
          <p:cNvPr id="640" name="Oval 639"/>
          <p:cNvSpPr/>
          <p:nvPr/>
        </p:nvSpPr>
        <p:spPr bwMode="auto">
          <a:xfrm>
            <a:off x="4154512" y="3720676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641" name="Oval 640"/>
          <p:cNvSpPr/>
          <p:nvPr/>
        </p:nvSpPr>
        <p:spPr bwMode="auto">
          <a:xfrm>
            <a:off x="4049197" y="3722683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642" name="Oval 641"/>
          <p:cNvSpPr/>
          <p:nvPr/>
        </p:nvSpPr>
        <p:spPr bwMode="auto">
          <a:xfrm>
            <a:off x="3921568" y="3646704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643" name="Oval 642"/>
          <p:cNvSpPr/>
          <p:nvPr/>
        </p:nvSpPr>
        <p:spPr bwMode="auto">
          <a:xfrm>
            <a:off x="3832165" y="3587658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sp>
        <p:nvSpPr>
          <p:cNvPr id="644" name="Oval 643"/>
          <p:cNvSpPr/>
          <p:nvPr/>
        </p:nvSpPr>
        <p:spPr bwMode="auto">
          <a:xfrm>
            <a:off x="3835287" y="3486955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cxnSp>
        <p:nvCxnSpPr>
          <p:cNvPr id="645" name="Straight Connector 644"/>
          <p:cNvCxnSpPr>
            <a:stCxn id="597" idx="0"/>
            <a:endCxn id="594" idx="3"/>
          </p:cNvCxnSpPr>
          <p:nvPr/>
        </p:nvCxnSpPr>
        <p:spPr bwMode="auto">
          <a:xfrm flipV="1">
            <a:off x="6809586" y="4150384"/>
            <a:ext cx="238232" cy="482869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46" name="Straight Connector 645"/>
          <p:cNvCxnSpPr/>
          <p:nvPr/>
        </p:nvCxnSpPr>
        <p:spPr bwMode="auto">
          <a:xfrm flipH="1" flipV="1">
            <a:off x="5549959" y="1916636"/>
            <a:ext cx="151791" cy="1185892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47" name="Straight Connector 646"/>
          <p:cNvCxnSpPr/>
          <p:nvPr/>
        </p:nvCxnSpPr>
        <p:spPr bwMode="auto">
          <a:xfrm flipV="1">
            <a:off x="5777945" y="1596373"/>
            <a:ext cx="118943" cy="1573146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48" name="Straight Connector 647"/>
          <p:cNvCxnSpPr/>
          <p:nvPr/>
        </p:nvCxnSpPr>
        <p:spPr bwMode="auto">
          <a:xfrm flipV="1">
            <a:off x="5854184" y="2260391"/>
            <a:ext cx="205152" cy="832524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49" name="Straight Connector 648"/>
          <p:cNvCxnSpPr>
            <a:endCxn id="620" idx="1"/>
          </p:cNvCxnSpPr>
          <p:nvPr/>
        </p:nvCxnSpPr>
        <p:spPr bwMode="auto">
          <a:xfrm flipV="1">
            <a:off x="6006513" y="2649049"/>
            <a:ext cx="1203734" cy="520133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51" name="Straight Connector 650"/>
          <p:cNvCxnSpPr/>
          <p:nvPr/>
        </p:nvCxnSpPr>
        <p:spPr bwMode="auto">
          <a:xfrm flipH="1" flipV="1">
            <a:off x="2933003" y="2540826"/>
            <a:ext cx="959305" cy="980705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52" name="Straight Connector 651"/>
          <p:cNvCxnSpPr>
            <a:endCxn id="631" idx="3"/>
          </p:cNvCxnSpPr>
          <p:nvPr/>
        </p:nvCxnSpPr>
        <p:spPr bwMode="auto">
          <a:xfrm flipH="1" flipV="1">
            <a:off x="2525417" y="3198689"/>
            <a:ext cx="1366645" cy="418177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53" name="Straight Connector 652"/>
          <p:cNvCxnSpPr>
            <a:stCxn id="627" idx="0"/>
          </p:cNvCxnSpPr>
          <p:nvPr/>
        </p:nvCxnSpPr>
        <p:spPr bwMode="auto">
          <a:xfrm flipH="1" flipV="1">
            <a:off x="5863906" y="3339604"/>
            <a:ext cx="280136" cy="527248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54" name="Straight Connector 653"/>
          <p:cNvCxnSpPr/>
          <p:nvPr/>
        </p:nvCxnSpPr>
        <p:spPr bwMode="auto">
          <a:xfrm flipV="1">
            <a:off x="5397980" y="3311656"/>
            <a:ext cx="360439" cy="608609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55" name="Straight Connector 654"/>
          <p:cNvCxnSpPr/>
          <p:nvPr/>
        </p:nvCxnSpPr>
        <p:spPr bwMode="auto">
          <a:xfrm flipV="1">
            <a:off x="3921568" y="3968695"/>
            <a:ext cx="200524" cy="778937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56" name="Straight Connector 655"/>
          <p:cNvCxnSpPr/>
          <p:nvPr/>
        </p:nvCxnSpPr>
        <p:spPr bwMode="auto">
          <a:xfrm flipH="1" flipV="1">
            <a:off x="4784003" y="4944577"/>
            <a:ext cx="192661" cy="310035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57" name="Straight Connector 656"/>
          <p:cNvCxnSpPr>
            <a:endCxn id="609" idx="1"/>
          </p:cNvCxnSpPr>
          <p:nvPr/>
        </p:nvCxnSpPr>
        <p:spPr bwMode="auto">
          <a:xfrm flipV="1">
            <a:off x="4257063" y="3347606"/>
            <a:ext cx="160968" cy="431538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58" name="Straight Connector 657"/>
          <p:cNvCxnSpPr/>
          <p:nvPr/>
        </p:nvCxnSpPr>
        <p:spPr bwMode="auto">
          <a:xfrm flipV="1">
            <a:off x="4120489" y="2723737"/>
            <a:ext cx="90485" cy="1074358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59" name="Straight Connector 658"/>
          <p:cNvCxnSpPr>
            <a:endCxn id="629" idx="2"/>
          </p:cNvCxnSpPr>
          <p:nvPr/>
        </p:nvCxnSpPr>
        <p:spPr bwMode="auto">
          <a:xfrm flipH="1" flipV="1">
            <a:off x="3793938" y="2421668"/>
            <a:ext cx="212209" cy="1232719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60" name="Straight Connector 659"/>
          <p:cNvCxnSpPr/>
          <p:nvPr/>
        </p:nvCxnSpPr>
        <p:spPr bwMode="auto">
          <a:xfrm flipV="1">
            <a:off x="2927106" y="3869525"/>
            <a:ext cx="590245" cy="485106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661" name="Straight Connector 660"/>
          <p:cNvCxnSpPr>
            <a:endCxn id="638" idx="3"/>
          </p:cNvCxnSpPr>
          <p:nvPr/>
        </p:nvCxnSpPr>
        <p:spPr bwMode="auto">
          <a:xfrm flipH="1" flipV="1">
            <a:off x="3147988" y="3709070"/>
            <a:ext cx="303636" cy="21098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662" name="TextBox 661"/>
          <p:cNvSpPr txBox="1"/>
          <p:nvPr/>
        </p:nvSpPr>
        <p:spPr>
          <a:xfrm>
            <a:off x="7639495" y="1072321"/>
            <a:ext cx="2704451" cy="737303"/>
          </a:xfrm>
          <a:prstGeom prst="rect">
            <a:avLst/>
          </a:prstGeom>
          <a:noFill/>
          <a:ln w="9525">
            <a:solidFill>
              <a:schemeClr val="tx1">
                <a:lumMod val="75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1" dirty="0">
                <a:solidFill>
                  <a:schemeClr val="tx1">
                    <a:lumMod val="75000"/>
                  </a:schemeClr>
                </a:solidFill>
              </a:rPr>
              <a:t>Over 140 R&amp;D sites around the world supported by many field locations</a:t>
            </a:r>
            <a:endParaRPr lang="en-US" sz="1400" dirty="0"/>
          </a:p>
        </p:txBody>
      </p:sp>
      <p:sp>
        <p:nvSpPr>
          <p:cNvPr id="663" name="Oval 662"/>
          <p:cNvSpPr/>
          <p:nvPr/>
        </p:nvSpPr>
        <p:spPr bwMode="auto">
          <a:xfrm>
            <a:off x="7531298" y="4089819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cxnSp>
        <p:nvCxnSpPr>
          <p:cNvPr id="664" name="Straight Connector 663"/>
          <p:cNvCxnSpPr>
            <a:endCxn id="663" idx="7"/>
          </p:cNvCxnSpPr>
          <p:nvPr/>
        </p:nvCxnSpPr>
        <p:spPr bwMode="auto">
          <a:xfrm flipH="1" flipV="1">
            <a:off x="7627684" y="4106356"/>
            <a:ext cx="1045095" cy="78098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665" name="TextBox 1164"/>
          <p:cNvSpPr txBox="1">
            <a:spLocks noChangeArrowheads="1"/>
          </p:cNvSpPr>
          <p:nvPr/>
        </p:nvSpPr>
        <p:spPr bwMode="auto">
          <a:xfrm>
            <a:off x="8639297" y="4459301"/>
            <a:ext cx="846386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977900">
              <a:lnSpc>
                <a:spcPct val="85000"/>
              </a:lnSpc>
            </a:lvl1pPr>
          </a:lstStyle>
          <a:p>
            <a:pPr algn="ctr"/>
            <a:r>
              <a:rPr lang="de-CH" sz="900" b="1"/>
              <a:t>General Santos</a:t>
            </a:r>
            <a:br>
              <a:rPr lang="de-CH" sz="900"/>
            </a:br>
            <a:r>
              <a:rPr lang="de-CH" sz="900"/>
              <a:t>Philippines</a:t>
            </a:r>
          </a:p>
        </p:txBody>
      </p:sp>
      <p:sp>
        <p:nvSpPr>
          <p:cNvPr id="666" name="Oval 665"/>
          <p:cNvSpPr/>
          <p:nvPr/>
        </p:nvSpPr>
        <p:spPr bwMode="auto">
          <a:xfrm>
            <a:off x="7109327" y="4008414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cxnSp>
        <p:nvCxnSpPr>
          <p:cNvPr id="667" name="Straight Connector 666"/>
          <p:cNvCxnSpPr>
            <a:endCxn id="666" idx="5"/>
          </p:cNvCxnSpPr>
          <p:nvPr/>
        </p:nvCxnSpPr>
        <p:spPr bwMode="auto">
          <a:xfrm flipH="1" flipV="1">
            <a:off x="7205713" y="4104799"/>
            <a:ext cx="465107" cy="494202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668" name="TextBox 1164"/>
          <p:cNvSpPr txBox="1">
            <a:spLocks noChangeArrowheads="1"/>
          </p:cNvSpPr>
          <p:nvPr/>
        </p:nvSpPr>
        <p:spPr bwMode="auto">
          <a:xfrm>
            <a:off x="7443431" y="5186365"/>
            <a:ext cx="596317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977900">
              <a:lnSpc>
                <a:spcPct val="85000"/>
              </a:lnSpc>
            </a:lvl1pPr>
          </a:lstStyle>
          <a:p>
            <a:pPr algn="ctr"/>
            <a:r>
              <a:rPr lang="de-CH" sz="900" b="1"/>
              <a:t>Hyderabad</a:t>
            </a:r>
            <a:br>
              <a:rPr lang="de-CH" sz="900"/>
            </a:br>
            <a:r>
              <a:rPr lang="de-CH" sz="900"/>
              <a:t>India</a:t>
            </a:r>
          </a:p>
        </p:txBody>
      </p:sp>
      <p:sp>
        <p:nvSpPr>
          <p:cNvPr id="669" name="Oval 668"/>
          <p:cNvSpPr/>
          <p:nvPr/>
        </p:nvSpPr>
        <p:spPr bwMode="auto">
          <a:xfrm>
            <a:off x="7984370" y="4294604"/>
            <a:ext cx="112922" cy="112922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hangingPunct="0">
              <a:spcAft>
                <a:spcPts val="600"/>
              </a:spcAft>
            </a:pPr>
            <a:endParaRPr lang="en-GB"/>
          </a:p>
        </p:txBody>
      </p:sp>
      <p:cxnSp>
        <p:nvCxnSpPr>
          <p:cNvPr id="670" name="Straight Connector 669"/>
          <p:cNvCxnSpPr>
            <a:endCxn id="669" idx="5"/>
          </p:cNvCxnSpPr>
          <p:nvPr/>
        </p:nvCxnSpPr>
        <p:spPr bwMode="auto">
          <a:xfrm flipH="1" flipV="1">
            <a:off x="8080755" y="4390990"/>
            <a:ext cx="626954" cy="641581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671" name="TextBox 1164"/>
          <p:cNvSpPr txBox="1">
            <a:spLocks noChangeArrowheads="1"/>
          </p:cNvSpPr>
          <p:nvPr/>
        </p:nvSpPr>
        <p:spPr bwMode="auto">
          <a:xfrm>
            <a:off x="8896340" y="5323017"/>
            <a:ext cx="442429" cy="235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defTabSz="977900">
              <a:lnSpc>
                <a:spcPct val="85000"/>
              </a:lnSpc>
            </a:lvl1pPr>
          </a:lstStyle>
          <a:p>
            <a:pPr algn="ctr"/>
            <a:r>
              <a:rPr lang="de-CH" sz="900" b="1"/>
              <a:t>TakFah</a:t>
            </a:r>
            <a:br>
              <a:rPr lang="de-CH" sz="900"/>
            </a:br>
            <a:r>
              <a:rPr lang="de-CH" sz="900"/>
              <a:t>Thailand</a:t>
            </a:r>
          </a:p>
        </p:txBody>
      </p:sp>
      <p:pic>
        <p:nvPicPr>
          <p:cNvPr id="672" name="Picture 1" descr="Description: cid:image006.jpg@01D14D34.07470CB0"/>
          <p:cNvPicPr>
            <a:picLocks noChangeAspect="1"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473"/>
          <a:stretch/>
        </p:blipFill>
        <p:spPr bwMode="auto">
          <a:xfrm>
            <a:off x="7365123" y="4637190"/>
            <a:ext cx="752400" cy="507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3" name="Picture 2" descr="Description: cid:image002.jpg@01D14D34.07470CB0"/>
          <p:cNvPicPr>
            <a:picLocks noChangeAspect="1" noChangeArrowheads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2680"/>
          <a:stretch/>
        </p:blipFill>
        <p:spPr bwMode="auto">
          <a:xfrm>
            <a:off x="8672778" y="3923707"/>
            <a:ext cx="752400" cy="494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DEDB2813-7A8F-A4B0-CA7D-A38E81020096}"/>
              </a:ext>
            </a:extLst>
          </p:cNvPr>
          <p:cNvGrpSpPr/>
          <p:nvPr/>
        </p:nvGrpSpPr>
        <p:grpSpPr>
          <a:xfrm>
            <a:off x="5950911" y="2011915"/>
            <a:ext cx="4412470" cy="3649903"/>
            <a:chOff x="5950911" y="2011915"/>
            <a:chExt cx="4412470" cy="3649903"/>
          </a:xfrm>
        </p:grpSpPr>
        <p:cxnSp>
          <p:nvCxnSpPr>
            <p:cNvPr id="650" name="Straight Connector 649"/>
            <p:cNvCxnSpPr>
              <a:cxnSpLocks/>
              <a:stCxn id="474" idx="11"/>
            </p:cNvCxnSpPr>
            <p:nvPr/>
          </p:nvCxnSpPr>
          <p:spPr bwMode="auto">
            <a:xfrm flipH="1" flipV="1">
              <a:off x="5950911" y="3311656"/>
              <a:ext cx="1648316" cy="635901"/>
            </a:xfrm>
            <a:prstGeom prst="line">
              <a:avLst/>
            </a:prstGeom>
            <a:solidFill>
              <a:schemeClr val="accent2"/>
            </a:solidFill>
            <a:ln w="12700" cap="flat" cmpd="sng" algn="ctr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pic>
          <p:nvPicPr>
            <p:cNvPr id="3" name="Picture 2" descr="A tall grass and flowers in a field&#10;&#10;Description automatically generated">
              <a:extLst>
                <a:ext uri="{FF2B5EF4-FFF2-40B4-BE49-F238E27FC236}">
                  <a16:creationId xmlns:a16="http://schemas.microsoft.com/office/drawing/2014/main" id="{162FA4B3-A652-3023-99B8-714B05CC67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5954" y="2011915"/>
              <a:ext cx="2737427" cy="3649903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4E5B138-2A7C-B5EA-4CAD-C56E0401A302}"/>
              </a:ext>
            </a:extLst>
          </p:cNvPr>
          <p:cNvSpPr txBox="1"/>
          <p:nvPr/>
        </p:nvSpPr>
        <p:spPr bwMode="auto">
          <a:xfrm>
            <a:off x="8117523" y="5760240"/>
            <a:ext cx="2058290" cy="257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Stein, Switzerland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14D2C065-818A-699E-BD22-7501F7EB1B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05780" y="6381328"/>
            <a:ext cx="601392" cy="476672"/>
          </a:xfrm>
        </p:spPr>
        <p:txBody>
          <a:bodyPr/>
          <a:lstStyle/>
          <a:p>
            <a:fld id="{B607D717-EBD7-4547-9BED-5BE954E67841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AB86A5E9-C7C7-785A-2DE2-574A2BDE24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07171" y="6381328"/>
            <a:ext cx="7678000" cy="476672"/>
          </a:xfrm>
        </p:spPr>
        <p:txBody>
          <a:bodyPr/>
          <a:lstStyle/>
          <a:p>
            <a:pPr>
              <a:defRPr/>
            </a:pPr>
            <a:r>
              <a:rPr lang="en-US" dirty="0"/>
              <a:t>Classification: </a:t>
            </a:r>
            <a:r>
              <a:rPr lang="en-US" altLang="ja-JP" dirty="0"/>
              <a:t>PUBL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323915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8AB8D17-168E-6CA8-E020-33307C6927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Classification: </a:t>
            </a:r>
            <a:r>
              <a:rPr lang="en-US" altLang="ja-JP" dirty="0"/>
              <a:t>PUBLIC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DA4669-527B-5460-25DF-2784DE7004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05BBFC-09D9-8BD1-135B-F85FDF888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Introducing DSTA</a:t>
            </a:r>
            <a:endParaRPr lang="en-US" dirty="0"/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9D1718BF-4955-CD69-8B79-4162E1087D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2402032"/>
              </p:ext>
            </p:extLst>
          </p:nvPr>
        </p:nvGraphicFramePr>
        <p:xfrm>
          <a:off x="2524259" y="887254"/>
          <a:ext cx="7544302" cy="47275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14E3F96-B874-27DB-5904-9AADC88E78DF}"/>
              </a:ext>
            </a:extLst>
          </p:cNvPr>
          <p:cNvSpPr txBox="1"/>
          <p:nvPr/>
        </p:nvSpPr>
        <p:spPr bwMode="auto">
          <a:xfrm>
            <a:off x="6094412" y="-152400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E7D883-9A4B-6E42-665A-0FC0EA268991}"/>
              </a:ext>
            </a:extLst>
          </p:cNvPr>
          <p:cNvSpPr txBox="1"/>
          <p:nvPr/>
        </p:nvSpPr>
        <p:spPr bwMode="auto">
          <a:xfrm>
            <a:off x="3789680" y="5263369"/>
            <a:ext cx="139192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Data</a:t>
            </a:r>
            <a:br>
              <a:rPr lang="en-US" sz="1800" kern="0" dirty="0">
                <a:solidFill>
                  <a:srgbClr val="626469"/>
                </a:solidFill>
                <a:latin typeface="Arial"/>
              </a:rPr>
            </a:br>
            <a:r>
              <a:rPr lang="en-US" sz="1800" kern="0" dirty="0">
                <a:solidFill>
                  <a:srgbClr val="626469"/>
                </a:solidFill>
                <a:latin typeface="Arial"/>
              </a:rPr>
              <a:t>Analysi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F092CF-D011-EAE1-B1EE-A264B943FC49}"/>
              </a:ext>
            </a:extLst>
          </p:cNvPr>
          <p:cNvSpPr txBox="1"/>
          <p:nvPr/>
        </p:nvSpPr>
        <p:spPr bwMode="auto">
          <a:xfrm>
            <a:off x="2773680" y="4145410"/>
            <a:ext cx="139192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Hypothesi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F2D76D1-CA3B-B7A3-805A-CC688304921A}"/>
              </a:ext>
            </a:extLst>
          </p:cNvPr>
          <p:cNvSpPr txBox="1"/>
          <p:nvPr/>
        </p:nvSpPr>
        <p:spPr bwMode="auto">
          <a:xfrm>
            <a:off x="2541948" y="1957801"/>
            <a:ext cx="139192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Develop</a:t>
            </a:r>
          </a:p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Desig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6AEB863-DEEB-15FD-1F56-C21F709503AB}"/>
              </a:ext>
            </a:extLst>
          </p:cNvPr>
          <p:cNvSpPr txBox="1"/>
          <p:nvPr/>
        </p:nvSpPr>
        <p:spPr bwMode="auto">
          <a:xfrm>
            <a:off x="3990849" y="550735"/>
            <a:ext cx="139192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Design Evalua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7E34FAB-A802-A31D-CABA-975ECA8E2CB2}"/>
              </a:ext>
            </a:extLst>
          </p:cNvPr>
          <p:cNvSpPr txBox="1"/>
          <p:nvPr/>
        </p:nvSpPr>
        <p:spPr bwMode="auto">
          <a:xfrm>
            <a:off x="7024495" y="480501"/>
            <a:ext cx="139192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Prioritize</a:t>
            </a:r>
          </a:p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Synthesi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6041A40-1B55-8351-5B3B-78FE7DB898F1}"/>
              </a:ext>
            </a:extLst>
          </p:cNvPr>
          <p:cNvSpPr txBox="1"/>
          <p:nvPr/>
        </p:nvSpPr>
        <p:spPr bwMode="auto">
          <a:xfrm>
            <a:off x="8710528" y="3648083"/>
            <a:ext cx="139192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Run Assay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3D5C9DC-C878-8EA0-C969-8AEC9732C208}"/>
              </a:ext>
            </a:extLst>
          </p:cNvPr>
          <p:cNvSpPr txBox="1"/>
          <p:nvPr/>
        </p:nvSpPr>
        <p:spPr bwMode="auto">
          <a:xfrm>
            <a:off x="8568815" y="1818423"/>
            <a:ext cx="139192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Synthesi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3BB9AF2-A8B7-55CD-1BB3-5EB7E6392B60}"/>
              </a:ext>
            </a:extLst>
          </p:cNvPr>
          <p:cNvSpPr txBox="1"/>
          <p:nvPr/>
        </p:nvSpPr>
        <p:spPr bwMode="auto">
          <a:xfrm>
            <a:off x="7855943" y="5239407"/>
            <a:ext cx="139192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Compound Selection</a:t>
            </a:r>
          </a:p>
        </p:txBody>
      </p:sp>
      <p:sp>
        <p:nvSpPr>
          <p:cNvPr id="26" name="Flowchart: Terminator 25">
            <a:extLst>
              <a:ext uri="{FF2B5EF4-FFF2-40B4-BE49-F238E27FC236}">
                <a16:creationId xmlns:a16="http://schemas.microsoft.com/office/drawing/2014/main" id="{266D61A4-CA99-0B96-26F5-42D9D995509D}"/>
              </a:ext>
            </a:extLst>
          </p:cNvPr>
          <p:cNvSpPr/>
          <p:nvPr/>
        </p:nvSpPr>
        <p:spPr bwMode="auto">
          <a:xfrm>
            <a:off x="6413500" y="2196137"/>
            <a:ext cx="1701800" cy="657259"/>
          </a:xfrm>
          <a:prstGeom prst="flowChartTerminator">
            <a:avLst/>
          </a:prstGeom>
          <a:noFill/>
          <a:ln w="571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8017461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8AB8D17-168E-6CA8-E020-33307C6927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Classification: </a:t>
            </a:r>
            <a:r>
              <a:rPr lang="en-US" altLang="ja-JP" dirty="0"/>
              <a:t>PUBLIC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1DA4669-527B-5460-25DF-2784DE7004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05BBFC-09D9-8BD1-135B-F85FDF888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hat is our data? 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14E3F96-B874-27DB-5904-9AADC88E78DF}"/>
              </a:ext>
            </a:extLst>
          </p:cNvPr>
          <p:cNvSpPr txBox="1"/>
          <p:nvPr/>
        </p:nvSpPr>
        <p:spPr bwMode="auto">
          <a:xfrm>
            <a:off x="6094412" y="-152400"/>
            <a:ext cx="9144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E824A48B-A138-7DC6-7B41-34942E984F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3042180"/>
              </p:ext>
            </p:extLst>
          </p:nvPr>
        </p:nvGraphicFramePr>
        <p:xfrm>
          <a:off x="543893" y="1057032"/>
          <a:ext cx="7074519" cy="47439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" name="Thought Bubble: Cloud 23">
            <a:extLst>
              <a:ext uri="{FF2B5EF4-FFF2-40B4-BE49-F238E27FC236}">
                <a16:creationId xmlns:a16="http://schemas.microsoft.com/office/drawing/2014/main" id="{71ABC7F9-C082-05D8-9284-AA032D4601AF}"/>
              </a:ext>
            </a:extLst>
          </p:cNvPr>
          <p:cNvSpPr/>
          <p:nvPr/>
        </p:nvSpPr>
        <p:spPr bwMode="auto">
          <a:xfrm>
            <a:off x="6551612" y="304800"/>
            <a:ext cx="3700141" cy="1832709"/>
          </a:xfrm>
          <a:prstGeom prst="cloudCallout">
            <a:avLst>
              <a:gd name="adj1" fmla="val -29269"/>
              <a:gd name="adj2" fmla="val 93379"/>
            </a:avLst>
          </a:prstGeom>
          <a:ln>
            <a:headEnd type="none" w="sm" len="sm"/>
            <a:tailEnd type="none" w="sm" len="sm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2400" kern="0" dirty="0">
                <a:solidFill>
                  <a:srgbClr val="626469"/>
                </a:solidFill>
                <a:latin typeface="Arial"/>
              </a:rPr>
              <a:t>I want to make a new compound…</a:t>
            </a:r>
          </a:p>
        </p:txBody>
      </p:sp>
      <p:sp>
        <p:nvSpPr>
          <p:cNvPr id="25" name="Thought Bubble: Cloud 24">
            <a:extLst>
              <a:ext uri="{FF2B5EF4-FFF2-40B4-BE49-F238E27FC236}">
                <a16:creationId xmlns:a16="http://schemas.microsoft.com/office/drawing/2014/main" id="{DF4ECE29-B760-7EA0-B545-E262ABE99F57}"/>
              </a:ext>
            </a:extLst>
          </p:cNvPr>
          <p:cNvSpPr/>
          <p:nvPr/>
        </p:nvSpPr>
        <p:spPr bwMode="auto">
          <a:xfrm rot="466323" flipH="1">
            <a:off x="8264696" y="2357518"/>
            <a:ext cx="3593117" cy="2142963"/>
          </a:xfrm>
          <a:prstGeom prst="cloudCallout">
            <a:avLst>
              <a:gd name="adj1" fmla="val -36964"/>
              <a:gd name="adj2" fmla="val 91226"/>
            </a:avLst>
          </a:prstGeom>
          <a:ln>
            <a:headEnd type="none" w="sm" len="sm"/>
            <a:tailEnd type="none" w="sm" len="sm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2400" kern="0" dirty="0">
                <a:solidFill>
                  <a:srgbClr val="626469"/>
                </a:solidFill>
                <a:latin typeface="Arial"/>
              </a:rPr>
              <a:t>How do I make this compound?</a:t>
            </a:r>
          </a:p>
        </p:txBody>
      </p:sp>
      <p:sp>
        <p:nvSpPr>
          <p:cNvPr id="27" name="Thought Bubble: Cloud 26">
            <a:extLst>
              <a:ext uri="{FF2B5EF4-FFF2-40B4-BE49-F238E27FC236}">
                <a16:creationId xmlns:a16="http://schemas.microsoft.com/office/drawing/2014/main" id="{2C642721-63D1-4F64-890D-EA6618A03E0E}"/>
              </a:ext>
            </a:extLst>
          </p:cNvPr>
          <p:cNvSpPr/>
          <p:nvPr/>
        </p:nvSpPr>
        <p:spPr bwMode="auto">
          <a:xfrm rot="466323" flipH="1">
            <a:off x="8253592" y="2364837"/>
            <a:ext cx="3604377" cy="2141427"/>
          </a:xfrm>
          <a:prstGeom prst="cloudCallout">
            <a:avLst>
              <a:gd name="adj1" fmla="val -36964"/>
              <a:gd name="adj2" fmla="val 91226"/>
            </a:avLst>
          </a:prstGeom>
          <a:ln>
            <a:headEnd type="none" w="sm" len="sm"/>
            <a:tailEnd type="none" w="sm" len="sm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2400" kern="0" dirty="0">
                <a:solidFill>
                  <a:srgbClr val="626469"/>
                </a:solidFill>
                <a:latin typeface="Arial"/>
              </a:rPr>
              <a:t>How did I make this other compound?</a:t>
            </a:r>
          </a:p>
        </p:txBody>
      </p:sp>
    </p:spTree>
    <p:extLst>
      <p:ext uri="{BB962C8B-B14F-4D97-AF65-F5344CB8AC3E}">
        <p14:creationId xmlns:p14="http://schemas.microsoft.com/office/powerpoint/2010/main" val="804444934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5" grpId="1" animBg="1"/>
      <p:bldP spid="2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ー 1">
            <a:extLst>
              <a:ext uri="{FF2B5EF4-FFF2-40B4-BE49-F238E27FC236}">
                <a16:creationId xmlns:a16="http://schemas.microsoft.com/office/drawing/2014/main" id="{F4DCD750-4C86-0806-1813-9C65658EB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0449" y="3126968"/>
            <a:ext cx="5400600" cy="1944216"/>
          </a:xfrm>
        </p:spPr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chemeClr val="tx2"/>
                </a:solidFill>
              </a:rPr>
              <a:t>Syngenta reaction data</a:t>
            </a:r>
          </a:p>
          <a:p>
            <a:endParaRPr lang="en-US" sz="1400" dirty="0"/>
          </a:p>
          <a:p>
            <a:r>
              <a:rPr lang="en-US" sz="1400" b="1" dirty="0"/>
              <a:t>Libraries and Reaction </a:t>
            </a:r>
            <a:r>
              <a:rPr lang="en-US" sz="1400" b="1" dirty="0" err="1"/>
              <a:t>Optimisation</a:t>
            </a:r>
            <a:r>
              <a:rPr lang="en-US" sz="1400" b="1" dirty="0"/>
              <a:t> protocols: </a:t>
            </a:r>
            <a:r>
              <a:rPr lang="en-US" sz="1400" dirty="0"/>
              <a:t>Offline XL format only (before 2020)  </a:t>
            </a:r>
          </a:p>
          <a:p>
            <a:r>
              <a:rPr lang="en-US" sz="1400" b="1" dirty="0"/>
              <a:t>Electronic Lab Notebook: </a:t>
            </a:r>
          </a:p>
          <a:p>
            <a:pPr lvl="1"/>
            <a:r>
              <a:rPr lang="en-US" sz="1400" dirty="0"/>
              <a:t>Only 60% of ELN reaction scheme usable for modelling</a:t>
            </a:r>
          </a:p>
          <a:p>
            <a:pPr lvl="1"/>
            <a:r>
              <a:rPr lang="en-US" sz="1400" dirty="0"/>
              <a:t>Reaction conditions unexploitable</a:t>
            </a:r>
          </a:p>
          <a:p>
            <a:pPr lvl="1"/>
            <a:r>
              <a:rPr lang="en-US" sz="1400" dirty="0"/>
              <a:t>Large scale protocols in embedded files</a:t>
            </a:r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4C63CD19-123D-D6C7-AA9D-5B5A3A740F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05761" y="6381328"/>
            <a:ext cx="7678000" cy="476672"/>
          </a:xfrm>
        </p:spPr>
        <p:txBody>
          <a:bodyPr/>
          <a:lstStyle/>
          <a:p>
            <a:pPr>
              <a:defRPr/>
            </a:pPr>
            <a:r>
              <a:rPr lang="en-US"/>
              <a:t>Classification: PUBLIC</a:t>
            </a:r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97BCAB63-0CC7-07F2-2502-7DF3F4A6AE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07D717-EBD7-4547-9BED-5BE954E67841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24781B7D-74B7-CCEF-3F8E-2515A1700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f the future is already here where is the impact?</a:t>
            </a:r>
            <a:br>
              <a:rPr lang="en-US" dirty="0"/>
            </a:br>
            <a:endParaRPr lang="en-US" dirty="0"/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895AE19E-ACCB-748A-EDB7-1461AAF49821}"/>
              </a:ext>
            </a:extLst>
          </p:cNvPr>
          <p:cNvSpPr txBox="1"/>
          <p:nvPr/>
        </p:nvSpPr>
        <p:spPr bwMode="auto">
          <a:xfrm>
            <a:off x="2494012" y="996697"/>
            <a:ext cx="609467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8C8F0D97-CA5E-4C70-2D7B-406D5A89DACB}"/>
              </a:ext>
            </a:extLst>
          </p:cNvPr>
          <p:cNvSpPr txBox="1"/>
          <p:nvPr/>
        </p:nvSpPr>
        <p:spPr bwMode="auto">
          <a:xfrm>
            <a:off x="1184345" y="1228690"/>
            <a:ext cx="999662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000" i="1"/>
              <a:t>"We see computers everywhere except in the productivity statistics” R. Solow (1987)</a:t>
            </a:r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3F0AEFCB-96A7-AABA-CDD4-563C73357462}"/>
              </a:ext>
            </a:extLst>
          </p:cNvPr>
          <p:cNvSpPr txBox="1"/>
          <p:nvPr/>
        </p:nvSpPr>
        <p:spPr bwMode="auto">
          <a:xfrm>
            <a:off x="1005761" y="2219876"/>
            <a:ext cx="999662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2400" b="1" kern="0" dirty="0">
                <a:solidFill>
                  <a:schemeClr val="accent3"/>
                </a:solidFill>
                <a:latin typeface="Arial"/>
              </a:rPr>
              <a:t>The technology is here but not the FAIR reaction data to make it disruptive</a:t>
            </a:r>
          </a:p>
        </p:txBody>
      </p:sp>
      <p:sp>
        <p:nvSpPr>
          <p:cNvPr id="22" name="コンテンツ プレースホルダー 1">
            <a:extLst>
              <a:ext uri="{FF2B5EF4-FFF2-40B4-BE49-F238E27FC236}">
                <a16:creationId xmlns:a16="http://schemas.microsoft.com/office/drawing/2014/main" id="{894DB7F5-AB56-3A11-110E-39D3A58A8594}"/>
              </a:ext>
            </a:extLst>
          </p:cNvPr>
          <p:cNvSpPr txBox="1">
            <a:spLocks/>
          </p:cNvSpPr>
          <p:nvPr/>
        </p:nvSpPr>
        <p:spPr bwMode="auto">
          <a:xfrm>
            <a:off x="5855918" y="3126968"/>
            <a:ext cx="6215157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5750" indent="-285750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●"/>
              <a:defRPr kumimoji="1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6275" indent="-27622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kumimoji="1" sz="1800">
                <a:solidFill>
                  <a:schemeClr val="tx1"/>
                </a:solidFill>
                <a:latin typeface="+mn-lt"/>
              </a:defRPr>
            </a:lvl2pPr>
            <a:lvl3pPr marL="1144588" indent="-287338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kumimoji="1" sz="1800">
                <a:solidFill>
                  <a:schemeClr val="tx1"/>
                </a:solidFill>
                <a:latin typeface="+mn-lt"/>
              </a:defRPr>
            </a:lvl3pPr>
            <a:lvl4pPr marL="1619250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charset="0"/>
              <a:buChar char="-"/>
              <a:defRPr kumimoji="1" sz="1800">
                <a:solidFill>
                  <a:schemeClr val="tx1"/>
                </a:solidFill>
                <a:latin typeface="+mn-lt"/>
              </a:defRPr>
            </a:lvl4pPr>
            <a:lvl5pPr marL="2093913" indent="-295275" algn="l" defTabSz="957263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Char char="•"/>
              <a:defRPr kumimoji="1" sz="1800">
                <a:solidFill>
                  <a:schemeClr val="tx1"/>
                </a:solidFill>
                <a:latin typeface="+mn-lt"/>
              </a:defRPr>
            </a:lvl5pPr>
            <a:lvl6pPr marL="25511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6pPr>
            <a:lvl7pPr marL="30083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7pPr>
            <a:lvl8pPr marL="34655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8pPr>
            <a:lvl9pPr marL="3922713" indent="-295275" algn="l" defTabSz="957263" rtl="0" eaLnBrk="1" fontAlgn="base" hangingPunct="1">
              <a:spcBef>
                <a:spcPct val="0"/>
              </a:spcBef>
              <a:spcAft>
                <a:spcPct val="25000"/>
              </a:spcAft>
              <a:buClr>
                <a:schemeClr val="tx2"/>
              </a:buClr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US" b="1" kern="0" dirty="0">
                <a:solidFill>
                  <a:schemeClr val="accent1"/>
                </a:solidFill>
              </a:rPr>
              <a:t>Public reaction data </a:t>
            </a:r>
          </a:p>
          <a:p>
            <a:endParaRPr lang="en-US" sz="1400" kern="0" dirty="0"/>
          </a:p>
          <a:p>
            <a:r>
              <a:rPr lang="en-US" sz="1400" kern="0" dirty="0"/>
              <a:t>Large volumes of data but highly biased and not sufficiently diverse</a:t>
            </a:r>
          </a:p>
          <a:p>
            <a:r>
              <a:rPr lang="en-US" sz="1400" kern="0" dirty="0"/>
              <a:t>Yield and conditions prediction for very common reactions are not possible</a:t>
            </a:r>
          </a:p>
          <a:p>
            <a:pPr lvl="1"/>
            <a:r>
              <a:rPr lang="en-US" sz="1400" b="1" dirty="0">
                <a:effectLst/>
              </a:rPr>
              <a:t>Suzuki coupling: Machine Learning is no better than “popularity based” metrics</a:t>
            </a:r>
          </a:p>
          <a:p>
            <a:pPr marL="857250" lvl="2" indent="0">
              <a:buNone/>
            </a:pPr>
            <a:r>
              <a:rPr lang="en-US" sz="1000" dirty="0">
                <a:effectLst/>
              </a:rPr>
              <a:t>Beker, W.; Roszak, R.; </a:t>
            </a:r>
            <a:r>
              <a:rPr lang="en-US" sz="1000" dirty="0" err="1">
                <a:effectLst/>
              </a:rPr>
              <a:t>Wołos</a:t>
            </a:r>
            <a:r>
              <a:rPr lang="en-US" sz="1000" dirty="0">
                <a:effectLst/>
              </a:rPr>
              <a:t>, A.; </a:t>
            </a:r>
            <a:r>
              <a:rPr lang="en-US" sz="1000" dirty="0" err="1">
                <a:effectLst/>
              </a:rPr>
              <a:t>Angello</a:t>
            </a:r>
            <a:r>
              <a:rPr lang="en-US" sz="1000" dirty="0">
                <a:effectLst/>
              </a:rPr>
              <a:t>, N. H.; Rathore, V.; Burke, M. D.; </a:t>
            </a:r>
            <a:r>
              <a:rPr lang="en-US" sz="1000" dirty="0" err="1">
                <a:effectLst/>
              </a:rPr>
              <a:t>Grzybowski</a:t>
            </a:r>
            <a:r>
              <a:rPr lang="en-US" sz="1000" dirty="0">
                <a:effectLst/>
              </a:rPr>
              <a:t>, B. A. Machine Learning May Sometimes Simply Capture Literature Popularity Trends: A Case Study of Heterocyclic Suzuki–</a:t>
            </a:r>
            <a:r>
              <a:rPr lang="en-US" sz="1000" dirty="0" err="1">
                <a:effectLst/>
              </a:rPr>
              <a:t>Miyaura</a:t>
            </a:r>
            <a:r>
              <a:rPr lang="en-US" sz="1000" dirty="0">
                <a:effectLst/>
              </a:rPr>
              <a:t> Coupling. </a:t>
            </a:r>
            <a:r>
              <a:rPr lang="en-US" sz="1000" i="1" dirty="0">
                <a:effectLst/>
              </a:rPr>
              <a:t>J. Am. Chem. Soc.</a:t>
            </a:r>
            <a:r>
              <a:rPr lang="en-US" sz="1000" dirty="0">
                <a:effectLst/>
              </a:rPr>
              <a:t> </a:t>
            </a:r>
            <a:r>
              <a:rPr lang="en-US" sz="1000" b="1" dirty="0">
                <a:effectLst/>
              </a:rPr>
              <a:t>2022</a:t>
            </a:r>
            <a:r>
              <a:rPr lang="en-US" sz="1000" dirty="0">
                <a:effectLst/>
              </a:rPr>
              <a:t>, </a:t>
            </a:r>
            <a:r>
              <a:rPr lang="en-US" sz="1000" i="1" dirty="0">
                <a:effectLst/>
              </a:rPr>
              <a:t>144</a:t>
            </a:r>
            <a:r>
              <a:rPr lang="en-US" sz="1000" dirty="0">
                <a:effectLst/>
              </a:rPr>
              <a:t> (11), 4819–4827. </a:t>
            </a:r>
            <a:r>
              <a:rPr lang="en-US" sz="1000" dirty="0">
                <a:effectLst/>
                <a:hlinkClick r:id="rId3"/>
              </a:rPr>
              <a:t>https://doi.org/10.1021/jacs.1c12005</a:t>
            </a:r>
            <a:r>
              <a:rPr lang="en-US" sz="1000" dirty="0">
                <a:effectLst/>
              </a:rPr>
              <a:t> </a:t>
            </a:r>
            <a:endParaRPr lang="en-US" sz="1000" dirty="0"/>
          </a:p>
          <a:p>
            <a:pPr lvl="1"/>
            <a:r>
              <a:rPr lang="en-US" sz="1400" b="1" kern="0" dirty="0"/>
              <a:t>No general C-N coupling yield prediction possible</a:t>
            </a:r>
          </a:p>
          <a:p>
            <a:pPr marL="857250" lvl="2" indent="0">
              <a:buNone/>
            </a:pPr>
            <a:r>
              <a:rPr lang="en-US" sz="1000" kern="0" dirty="0" err="1"/>
              <a:t>Fitzner</a:t>
            </a:r>
            <a:r>
              <a:rPr lang="en-US" sz="1000" kern="0" dirty="0"/>
              <a:t>, M.; </a:t>
            </a:r>
            <a:r>
              <a:rPr lang="en-US" sz="1000" kern="0" dirty="0" err="1"/>
              <a:t>Wuitschik</a:t>
            </a:r>
            <a:r>
              <a:rPr lang="en-US" sz="1000" kern="0" dirty="0"/>
              <a:t>, G.; Koller, R.; Adam, J.-M.; Schindler, T. Machine Learning C–N Couplings: Obstacles for a General-Purpose Reaction Yield Prediction. </a:t>
            </a:r>
            <a:r>
              <a:rPr lang="en-US" sz="1000" i="1" kern="0" dirty="0"/>
              <a:t>ACS Omega </a:t>
            </a:r>
            <a:r>
              <a:rPr lang="en-US" sz="1000" b="1" kern="0" dirty="0"/>
              <a:t>2023</a:t>
            </a:r>
            <a:r>
              <a:rPr lang="en-US" sz="1000" kern="0" dirty="0"/>
              <a:t>. </a:t>
            </a:r>
            <a:r>
              <a:rPr lang="en-US" sz="1000" kern="0" dirty="0">
                <a:hlinkClick r:id="rId4"/>
              </a:rPr>
              <a:t>https://doi.org/10.1021/acsomega.2c05546</a:t>
            </a:r>
            <a:r>
              <a:rPr lang="en-US" sz="1000" kern="0" dirty="0"/>
              <a:t>  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DCFE75E-2508-4318-89AB-802951536C01}"/>
              </a:ext>
            </a:extLst>
          </p:cNvPr>
          <p:cNvSpPr txBox="1"/>
          <p:nvPr/>
        </p:nvSpPr>
        <p:spPr bwMode="auto">
          <a:xfrm>
            <a:off x="2818903" y="6381328"/>
            <a:ext cx="672751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dirty="0" err="1">
                <a:effectLst/>
              </a:rPr>
              <a:t>Jablonka</a:t>
            </a:r>
            <a:r>
              <a:rPr lang="en-US" dirty="0">
                <a:effectLst/>
              </a:rPr>
              <a:t>, K. M.; </a:t>
            </a:r>
            <a:r>
              <a:rPr lang="en-US" dirty="0" err="1">
                <a:effectLst/>
              </a:rPr>
              <a:t>Patiny</a:t>
            </a:r>
            <a:r>
              <a:rPr lang="en-US" dirty="0">
                <a:effectLst/>
              </a:rPr>
              <a:t>, L.; Smit, B. Making the Collective Knowledge of Chemistry Open and Machine Actionable. </a:t>
            </a:r>
            <a:r>
              <a:rPr lang="en-US" i="1" dirty="0">
                <a:effectLst/>
              </a:rPr>
              <a:t>Nat. Chem.</a:t>
            </a:r>
            <a:r>
              <a:rPr lang="en-US" dirty="0">
                <a:effectLst/>
              </a:rPr>
              <a:t> </a:t>
            </a:r>
            <a:r>
              <a:rPr lang="en-US" b="1" dirty="0">
                <a:effectLst/>
              </a:rPr>
              <a:t>2022</a:t>
            </a:r>
            <a:r>
              <a:rPr lang="en-US" dirty="0">
                <a:effectLst/>
              </a:rPr>
              <a:t>, </a:t>
            </a:r>
            <a:r>
              <a:rPr lang="en-US" i="1" dirty="0">
                <a:effectLst/>
              </a:rPr>
              <a:t>14</a:t>
            </a:r>
            <a:r>
              <a:rPr lang="en-US" dirty="0">
                <a:effectLst/>
              </a:rPr>
              <a:t> (4), 365–376. </a:t>
            </a:r>
            <a:r>
              <a:rPr lang="en-US" dirty="0">
                <a:effectLst/>
                <a:hlinkClick r:id="rId5"/>
              </a:rPr>
              <a:t>https://doi.org/10.1038/s41557-022-00910-7</a:t>
            </a:r>
            <a:r>
              <a:rPr lang="en-US" dirty="0">
                <a:effectLst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263684"/>
      </p:ext>
    </p:extLst>
  </p:cSld>
  <p:clrMapOvr>
    <a:masterClrMapping/>
  </p:clrMapOvr>
  <p:transition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9462F0D-0667-0641-986B-9ACDAE5793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9462F0D-0667-0641-986B-9ACDAE579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8">
            <a:extLst>
              <a:ext uri="{FF2B5EF4-FFF2-40B4-BE49-F238E27FC236}">
                <a16:creationId xmlns:a16="http://schemas.microsoft.com/office/drawing/2014/main" id="{49B61B5A-FECA-6A4C-8472-45AB71D876EF}"/>
              </a:ext>
            </a:extLst>
          </p:cNvPr>
          <p:cNvSpPr/>
          <p:nvPr/>
        </p:nvSpPr>
        <p:spPr bwMode="auto">
          <a:xfrm>
            <a:off x="108284" y="1549992"/>
            <a:ext cx="11971421" cy="3695775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defTabSz="914126" eaLnBrk="0" hangingPunct="0">
              <a:spcAft>
                <a:spcPts val="600"/>
              </a:spcAft>
            </a:pPr>
            <a:endParaRPr lang="de-CH"/>
          </a:p>
        </p:txBody>
      </p:sp>
      <p:pic>
        <p:nvPicPr>
          <p:cNvPr id="5126" name="Picture 6">
            <a:extLst>
              <a:ext uri="{FF2B5EF4-FFF2-40B4-BE49-F238E27FC236}">
                <a16:creationId xmlns:a16="http://schemas.microsoft.com/office/drawing/2014/main" id="{03FD4F6A-92B2-4869-9DDB-2EE64E749F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4538" y="1680916"/>
            <a:ext cx="8684348" cy="3433926"/>
          </a:xfrm>
          <a:prstGeom prst="rect">
            <a:avLst/>
          </a:prstGeom>
          <a:noFill/>
          <a:effectLst>
            <a:outerShdw blurRad="50800" dist="50800" sx="1000" sy="1000" algn="ctr" rotWithShape="0">
              <a:schemeClr val="bg1"/>
            </a:outerShdw>
            <a:reflection endPos="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8F92D29D-B629-4D8F-A5E6-F51B9BFDAAF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Classification: PUBLIC</a:t>
            </a:r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0C9F11A7-3B14-466B-ABB0-9AE773ACD8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kumimoji="1" lang="en-US" altLang="ja-JP"/>
              <a:t>Connecting all reaction data together to create powerful network effects</a:t>
            </a:r>
            <a:endParaRPr kumimoji="1" lang="ja-JP" altLang="en-US"/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2EF888B-0BD0-41BD-B820-E92401C31A1F}"/>
              </a:ext>
            </a:extLst>
          </p:cNvPr>
          <p:cNvSpPr txBox="1"/>
          <p:nvPr/>
        </p:nvSpPr>
        <p:spPr bwMode="auto">
          <a:xfrm>
            <a:off x="4630572" y="3301105"/>
            <a:ext cx="60927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en-US"/>
          </a:p>
        </p:txBody>
      </p:sp>
      <p:pic>
        <p:nvPicPr>
          <p:cNvPr id="13" name="Picture 21" descr="Logo, company name&#10;&#10;Description automatically generated">
            <a:extLst>
              <a:ext uri="{FF2B5EF4-FFF2-40B4-BE49-F238E27FC236}">
                <a16:creationId xmlns:a16="http://schemas.microsoft.com/office/drawing/2014/main" id="{E455A871-F262-4F81-AE91-E2F5C1DE1D3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492" t="24334" r="66447" b="44547"/>
          <a:stretch/>
        </p:blipFill>
        <p:spPr>
          <a:xfrm>
            <a:off x="2685199" y="1761768"/>
            <a:ext cx="647666" cy="538308"/>
          </a:xfrm>
          <a:prstGeom prst="rect">
            <a:avLst/>
          </a:prstGeom>
        </p:spPr>
      </p:pic>
      <p:pic>
        <p:nvPicPr>
          <p:cNvPr id="14" name="Picture 23" descr="Logo, company name&#10;&#10;Description automatically generated">
            <a:extLst>
              <a:ext uri="{FF2B5EF4-FFF2-40B4-BE49-F238E27FC236}">
                <a16:creationId xmlns:a16="http://schemas.microsoft.com/office/drawing/2014/main" id="{88F60678-895E-48DE-89D9-B8B566E317A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004" t="25484" r="40899" b="44178"/>
          <a:stretch/>
        </p:blipFill>
        <p:spPr>
          <a:xfrm>
            <a:off x="2699952" y="2283441"/>
            <a:ext cx="602433" cy="538308"/>
          </a:xfrm>
          <a:prstGeom prst="rect">
            <a:avLst/>
          </a:prstGeom>
        </p:spPr>
      </p:pic>
      <p:pic>
        <p:nvPicPr>
          <p:cNvPr id="15" name="Picture 24">
            <a:extLst>
              <a:ext uri="{FF2B5EF4-FFF2-40B4-BE49-F238E27FC236}">
                <a16:creationId xmlns:a16="http://schemas.microsoft.com/office/drawing/2014/main" id="{E24F1D2E-37E5-4024-A5AB-FEE4455BFE0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3322" y="2910400"/>
            <a:ext cx="602433" cy="429032"/>
          </a:xfrm>
          <a:prstGeom prst="rect">
            <a:avLst/>
          </a:prstGeom>
        </p:spPr>
      </p:pic>
      <p:sp>
        <p:nvSpPr>
          <p:cNvPr id="5" name="左中かっこ 4">
            <a:extLst>
              <a:ext uri="{FF2B5EF4-FFF2-40B4-BE49-F238E27FC236}">
                <a16:creationId xmlns:a16="http://schemas.microsoft.com/office/drawing/2014/main" id="{E39C8FA4-4CFC-459C-A8DA-4825A30CA044}"/>
              </a:ext>
            </a:extLst>
          </p:cNvPr>
          <p:cNvSpPr/>
          <p:nvPr/>
        </p:nvSpPr>
        <p:spPr bwMode="auto">
          <a:xfrm>
            <a:off x="2349996" y="1847540"/>
            <a:ext cx="194697" cy="1699786"/>
          </a:xfrm>
          <a:prstGeom prst="leftBrace">
            <a:avLst/>
          </a:prstGeom>
          <a:ln>
            <a:headEnd type="none" w="sm" len="sm"/>
            <a:tailEnd type="none" w="sm" len="sm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4D02EBF-91C6-4C8C-B498-908118B5ADAC}"/>
              </a:ext>
            </a:extLst>
          </p:cNvPr>
          <p:cNvSpPr txBox="1"/>
          <p:nvPr/>
        </p:nvSpPr>
        <p:spPr bwMode="auto">
          <a:xfrm>
            <a:off x="275675" y="1804952"/>
            <a:ext cx="1827849" cy="719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600" b="1" kern="0">
                <a:solidFill>
                  <a:srgbClr val="626469"/>
                </a:solidFill>
                <a:latin typeface="Arial"/>
              </a:rPr>
              <a:t>High Quality data</a:t>
            </a:r>
          </a:p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panose="020B0604020202020204" pitchFamily="34" charset="0"/>
              <a:buChar char="•"/>
            </a:pPr>
            <a:r>
              <a:rPr lang="en-US" sz="1600" kern="0">
                <a:solidFill>
                  <a:srgbClr val="626469"/>
                </a:solidFill>
                <a:latin typeface="Arial"/>
              </a:rPr>
              <a:t>Tailored interfaces</a:t>
            </a:r>
          </a:p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panose="020B0604020202020204" pitchFamily="34" charset="0"/>
              <a:buChar char="•"/>
            </a:pPr>
            <a:r>
              <a:rPr lang="en-US" sz="1600" kern="0">
                <a:solidFill>
                  <a:srgbClr val="626469"/>
                </a:solidFill>
                <a:latin typeface="Arial"/>
              </a:rPr>
              <a:t>Negative results</a:t>
            </a:r>
          </a:p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panose="020B0604020202020204" pitchFamily="34" charset="0"/>
              <a:buChar char="•"/>
            </a:pPr>
            <a:r>
              <a:rPr lang="en-US" sz="1600" kern="0">
                <a:solidFill>
                  <a:srgbClr val="626469"/>
                </a:solidFill>
                <a:latin typeface="Arial"/>
              </a:rPr>
              <a:t>High relevance</a:t>
            </a:r>
          </a:p>
        </p:txBody>
      </p:sp>
      <p:sp>
        <p:nvSpPr>
          <p:cNvPr id="17" name="左中かっこ 16">
            <a:extLst>
              <a:ext uri="{FF2B5EF4-FFF2-40B4-BE49-F238E27FC236}">
                <a16:creationId xmlns:a16="http://schemas.microsoft.com/office/drawing/2014/main" id="{6448A535-04D2-4DB6-BDD5-F56B8C157CE3}"/>
              </a:ext>
            </a:extLst>
          </p:cNvPr>
          <p:cNvSpPr/>
          <p:nvPr/>
        </p:nvSpPr>
        <p:spPr bwMode="auto">
          <a:xfrm>
            <a:off x="2297620" y="3643392"/>
            <a:ext cx="247073" cy="1162675"/>
          </a:xfrm>
          <a:prstGeom prst="leftBrace">
            <a:avLst/>
          </a:prstGeom>
          <a:ln>
            <a:headEnd type="none" w="sm" len="sm"/>
            <a:tailEnd type="none" w="sm" len="sm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EADA1D9-BAF1-4F1F-9C8B-C15850A7529A}"/>
              </a:ext>
            </a:extLst>
          </p:cNvPr>
          <p:cNvSpPr txBox="1"/>
          <p:nvPr/>
        </p:nvSpPr>
        <p:spPr bwMode="auto">
          <a:xfrm>
            <a:off x="326661" y="3724615"/>
            <a:ext cx="2528852" cy="892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600" b="1" kern="0" dirty="0">
                <a:solidFill>
                  <a:srgbClr val="626469"/>
                </a:solidFill>
                <a:latin typeface="Arial"/>
              </a:rPr>
              <a:t>High Volume Data</a:t>
            </a:r>
          </a:p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626469"/>
                </a:solidFill>
                <a:latin typeface="Arial"/>
              </a:rPr>
              <a:t>Lower quality</a:t>
            </a:r>
          </a:p>
          <a:p>
            <a:pPr marL="285750" indent="-285750" defTabSz="957263">
              <a:spcAft>
                <a:spcPts val="600"/>
              </a:spcAft>
              <a:buClr>
                <a:srgbClr val="5F7800"/>
              </a:buClr>
              <a:buFont typeface="Arial" panose="020B0604020202020204" pitchFamily="34" charset="0"/>
              <a:buChar char="•"/>
            </a:pPr>
            <a:r>
              <a:rPr lang="en-US" sz="1600" kern="0" dirty="0">
                <a:solidFill>
                  <a:srgbClr val="626469"/>
                </a:solidFill>
                <a:latin typeface="Arial"/>
              </a:rPr>
              <a:t>Large amounts</a:t>
            </a:r>
          </a:p>
        </p:txBody>
      </p:sp>
      <p:sp>
        <p:nvSpPr>
          <p:cNvPr id="8" name="スライド番号プレースホルダー 3">
            <a:extLst>
              <a:ext uri="{FF2B5EF4-FFF2-40B4-BE49-F238E27FC236}">
                <a16:creationId xmlns:a16="http://schemas.microsoft.com/office/drawing/2014/main" id="{A9BA59CD-38E2-4A16-AF15-58BC88EBAB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05780" y="6381328"/>
            <a:ext cx="601392" cy="47667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607D717-EBD7-4547-9BED-5BE954E67841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12" name="Picture 6" descr="Neo4j - Wikipedia">
            <a:extLst>
              <a:ext uri="{FF2B5EF4-FFF2-40B4-BE49-F238E27FC236}">
                <a16:creationId xmlns:a16="http://schemas.microsoft.com/office/drawing/2014/main" id="{44070945-9CCD-E1FA-F606-DBCFDC85BC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6019" y="4268892"/>
            <a:ext cx="1459805" cy="54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2A6E721C-50FC-E857-5AA8-3AF64450FACF}"/>
              </a:ext>
            </a:extLst>
          </p:cNvPr>
          <p:cNvSpPr txBox="1"/>
          <p:nvPr/>
        </p:nvSpPr>
        <p:spPr bwMode="auto">
          <a:xfrm>
            <a:off x="6794993" y="3833838"/>
            <a:ext cx="2542395" cy="349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Document-based</a:t>
            </a:r>
            <a:br>
              <a:rPr lang="en-US" sz="1800" kern="0" dirty="0">
                <a:solidFill>
                  <a:srgbClr val="626469"/>
                </a:solidFill>
                <a:latin typeface="Arial"/>
              </a:rPr>
            </a:br>
            <a:r>
              <a:rPr lang="en-US" sz="1800" kern="0" dirty="0">
                <a:solidFill>
                  <a:srgbClr val="626469"/>
                </a:solidFill>
                <a:latin typeface="Arial"/>
              </a:rPr>
              <a:t>database</a:t>
            </a:r>
          </a:p>
        </p:txBody>
      </p:sp>
      <p:sp>
        <p:nvSpPr>
          <p:cNvPr id="22" name="テキスト ボックス 15">
            <a:extLst>
              <a:ext uri="{FF2B5EF4-FFF2-40B4-BE49-F238E27FC236}">
                <a16:creationId xmlns:a16="http://schemas.microsoft.com/office/drawing/2014/main" id="{B9F26C38-1B99-8E6A-F9EB-F61401C69554}"/>
              </a:ext>
            </a:extLst>
          </p:cNvPr>
          <p:cNvSpPr txBox="1"/>
          <p:nvPr/>
        </p:nvSpPr>
        <p:spPr bwMode="auto">
          <a:xfrm>
            <a:off x="9748710" y="3934778"/>
            <a:ext cx="2542395" cy="349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1800" kern="0" dirty="0">
                <a:solidFill>
                  <a:srgbClr val="626469"/>
                </a:solidFill>
                <a:latin typeface="Arial"/>
              </a:rPr>
              <a:t>Graph database</a:t>
            </a:r>
          </a:p>
        </p:txBody>
      </p:sp>
      <p:sp>
        <p:nvSpPr>
          <p:cNvPr id="23" name="Cylinder 22">
            <a:extLst>
              <a:ext uri="{FF2B5EF4-FFF2-40B4-BE49-F238E27FC236}">
                <a16:creationId xmlns:a16="http://schemas.microsoft.com/office/drawing/2014/main" id="{91E56140-EA8F-3153-B9CC-8A27991BD83C}"/>
              </a:ext>
            </a:extLst>
          </p:cNvPr>
          <p:cNvSpPr/>
          <p:nvPr/>
        </p:nvSpPr>
        <p:spPr bwMode="auto">
          <a:xfrm>
            <a:off x="9748710" y="3014593"/>
            <a:ext cx="1669264" cy="710022"/>
          </a:xfrm>
          <a:prstGeom prst="can">
            <a:avLst/>
          </a:prstGeom>
          <a:solidFill>
            <a:schemeClr val="accent2">
              <a:lumMod val="20000"/>
              <a:lumOff val="80000"/>
            </a:schemeClr>
          </a:solidFill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7263">
              <a:spcAft>
                <a:spcPts val="600"/>
              </a:spcAft>
              <a:buClr>
                <a:srgbClr val="5F7800"/>
              </a:buClr>
            </a:pPr>
            <a:r>
              <a:rPr lang="en-US" sz="1100" kern="0" dirty="0">
                <a:solidFill>
                  <a:srgbClr val="626469"/>
                </a:solidFill>
                <a:latin typeface="Abadi" panose="020F0502020204030204" pitchFamily="34" charset="0"/>
              </a:rPr>
              <a:t>Network of Organic Chemistry</a:t>
            </a:r>
          </a:p>
        </p:txBody>
      </p:sp>
      <p:pic>
        <p:nvPicPr>
          <p:cNvPr id="25" name="Picture 24" descr="A logo of a moon with stars and dots&#10;&#10;Description automatically generated">
            <a:extLst>
              <a:ext uri="{FF2B5EF4-FFF2-40B4-BE49-F238E27FC236}">
                <a16:creationId xmlns:a16="http://schemas.microsoft.com/office/drawing/2014/main" id="{D1EC81A5-FB48-1C7B-C013-677A814EAC3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8061" y="1787193"/>
            <a:ext cx="993715" cy="116479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5BC8B8C-26C4-2FD3-C97B-33AD308F41D2}"/>
              </a:ext>
            </a:extLst>
          </p:cNvPr>
          <p:cNvSpPr/>
          <p:nvPr/>
        </p:nvSpPr>
        <p:spPr bwMode="auto">
          <a:xfrm>
            <a:off x="8926066" y="1787194"/>
            <a:ext cx="2676652" cy="3156596"/>
          </a:xfrm>
          <a:prstGeom prst="rect">
            <a:avLst/>
          </a:prstGeom>
          <a:solidFill>
            <a:schemeClr val="bg1"/>
          </a:solidFill>
          <a:ln w="6350" cap="flat" cmpd="sng" algn="ctr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defTabSz="957263">
              <a:spcAft>
                <a:spcPts val="600"/>
              </a:spcAft>
              <a:buClr>
                <a:srgbClr val="5F7800"/>
              </a:buClr>
              <a:buFont typeface="Arial" charset="0"/>
              <a:buChar char="●"/>
            </a:pPr>
            <a:endParaRPr lang="en-US" sz="1800" kern="0" dirty="0" err="1">
              <a:solidFill>
                <a:srgbClr val="626469"/>
              </a:solidFill>
              <a:latin typeface="Arial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17B5F09-38B2-601A-B4FD-6CD8ACA1A6D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7085" y="1148154"/>
            <a:ext cx="11364911" cy="4305901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C940806-A996-DCFE-D886-35F009E0D18C}"/>
              </a:ext>
            </a:extLst>
          </p:cNvPr>
          <p:cNvSpPr txBox="1"/>
          <p:nvPr/>
        </p:nvSpPr>
        <p:spPr bwMode="auto">
          <a:xfrm>
            <a:off x="10161066" y="2865037"/>
            <a:ext cx="1084758" cy="933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57263">
              <a:spcAft>
                <a:spcPts val="600"/>
              </a:spcAft>
              <a:buClr>
                <a:srgbClr val="5F7800"/>
              </a:buClr>
            </a:pPr>
            <a:r>
              <a:rPr lang="en-US" sz="7200" kern="0" dirty="0">
                <a:solidFill>
                  <a:srgbClr val="748493"/>
                </a:solidFill>
                <a:latin typeface="Arial"/>
              </a:rPr>
              <a:t>?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3B57E0C-0312-DDE5-0A47-CE3797291282}"/>
              </a:ext>
            </a:extLst>
          </p:cNvPr>
          <p:cNvGrpSpPr/>
          <p:nvPr/>
        </p:nvGrpSpPr>
        <p:grpSpPr>
          <a:xfrm>
            <a:off x="9037418" y="1716803"/>
            <a:ext cx="967905" cy="1707412"/>
            <a:chOff x="9037418" y="1716803"/>
            <a:chExt cx="967905" cy="1707412"/>
          </a:xfrm>
        </p:grpSpPr>
        <p:pic>
          <p:nvPicPr>
            <p:cNvPr id="24" name="Picture 23" descr="A logo of a moon and stars&#10;&#10;Description automatically generated">
              <a:extLst>
                <a:ext uri="{FF2B5EF4-FFF2-40B4-BE49-F238E27FC236}">
                  <a16:creationId xmlns:a16="http://schemas.microsoft.com/office/drawing/2014/main" id="{473174D9-FE6C-30FA-1556-7921575DB7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artisticGlowEdges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3570" t="8629" r="34827" b="10906"/>
            <a:stretch/>
          </p:blipFill>
          <p:spPr>
            <a:xfrm>
              <a:off x="9037418" y="1716803"/>
              <a:ext cx="967905" cy="1386213"/>
            </a:xfrm>
            <a:prstGeom prst="rect">
              <a:avLst/>
            </a:prstGeom>
          </p:spPr>
        </p:pic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E92DF96B-2C74-8FD2-A49B-3B0E4345B95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132412" y="3424215"/>
              <a:ext cx="777915" cy="0"/>
            </a:xfrm>
            <a:prstGeom prst="straightConnector1">
              <a:avLst/>
            </a:prstGeom>
            <a:solidFill>
              <a:schemeClr val="accent2"/>
            </a:solidFill>
            <a:ln w="38100" cap="flat" cmpd="sng" algn="ctr">
              <a:solidFill>
                <a:srgbClr val="748493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784418825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A blue sky with clouds&#10;&#10;Description automatically generated">
            <a:extLst>
              <a:ext uri="{FF2B5EF4-FFF2-40B4-BE49-F238E27FC236}">
                <a16:creationId xmlns:a16="http://schemas.microsoft.com/office/drawing/2014/main" id="{070C1899-AAEB-C745-2CB0-734788194E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19" b="11089"/>
          <a:stretch/>
        </p:blipFill>
        <p:spPr bwMode="auto">
          <a:xfrm>
            <a:off x="20" y="10"/>
            <a:ext cx="12188805" cy="685799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69A95858-5BF1-2E32-078D-5B9F97B2019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B607D717-EBD7-4547-9BED-5BE954E67841}" type="slidenum">
              <a:rPr lang="de-DE" smtClean="0"/>
              <a:pPr>
                <a:spcAft>
                  <a:spcPts val="600"/>
                </a:spcAft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3750315"/>
      </p:ext>
    </p:extLst>
  </p:cSld>
  <p:clrMapOvr>
    <a:masterClrMapping/>
  </p:clrMapOvr>
  <p:transition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313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Every Visible Star in the Night Sky, in One Map">
            <a:extLst>
              <a:ext uri="{FF2B5EF4-FFF2-40B4-BE49-F238E27FC236}">
                <a16:creationId xmlns:a16="http://schemas.microsoft.com/office/drawing/2014/main" id="{1A108860-8E7A-5FDD-43FA-61F57FA543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95" b="1596"/>
          <a:stretch/>
        </p:blipFill>
        <p:spPr bwMode="auto">
          <a:xfrm>
            <a:off x="0" y="10"/>
            <a:ext cx="12188805" cy="685799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3C1EB8E1-5310-4C6C-35D7-7999AA478DB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B607D717-EBD7-4547-9BED-5BE954E67841}" type="slidenum">
              <a:rPr lang="de-DE" smtClean="0"/>
              <a:pPr>
                <a:spcAft>
                  <a:spcPts val="600"/>
                </a:spcAft>
              </a:pPr>
              <a:t>9</a:t>
            </a:fld>
            <a:endParaRPr lang="de-DE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A58F425-465E-D7B0-D2FD-0C68DA10C97C}"/>
              </a:ext>
            </a:extLst>
          </p:cNvPr>
          <p:cNvGrpSpPr/>
          <p:nvPr/>
        </p:nvGrpSpPr>
        <p:grpSpPr>
          <a:xfrm>
            <a:off x="3228653" y="405353"/>
            <a:ext cx="5731497" cy="4901938"/>
            <a:chOff x="3525625" y="226243"/>
            <a:chExt cx="5731497" cy="490193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42CFF29-B31D-6A8D-9A35-D4A5ACF15154}"/>
                </a:ext>
              </a:extLst>
            </p:cNvPr>
            <p:cNvSpPr/>
            <p:nvPr/>
          </p:nvSpPr>
          <p:spPr bwMode="auto">
            <a:xfrm>
              <a:off x="3525625" y="226243"/>
              <a:ext cx="5731497" cy="4901938"/>
            </a:xfrm>
            <a:prstGeom prst="rect">
              <a:avLst/>
            </a:prstGeom>
            <a:gradFill>
              <a:gsLst>
                <a:gs pos="40000">
                  <a:srgbClr val="13132D"/>
                </a:gs>
                <a:gs pos="0">
                  <a:srgbClr val="13132D"/>
                </a:gs>
                <a:gs pos="96000">
                  <a:srgbClr val="13132D">
                    <a:alpha val="0"/>
                  </a:srgbClr>
                </a:gs>
              </a:gsLst>
              <a:path path="circle">
                <a:fillToRect l="50000" t="50000" r="50000" b="50000"/>
              </a:path>
            </a:gradFill>
            <a:ln w="6350" cap="flat" cmpd="sng" algn="ctr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 defTabSz="957263">
                <a:spcAft>
                  <a:spcPts val="600"/>
                </a:spcAft>
                <a:buClr>
                  <a:srgbClr val="5F7800"/>
                </a:buClr>
                <a:buFont typeface="Arial" charset="0"/>
                <a:buChar char="●"/>
              </a:pPr>
              <a:endParaRPr lang="en-US" sz="1800" kern="0" dirty="0" err="1">
                <a:solidFill>
                  <a:srgbClr val="626469"/>
                </a:solidFill>
                <a:latin typeface="Arial"/>
              </a:endParaRPr>
            </a:p>
          </p:txBody>
        </p:sp>
        <p:pic>
          <p:nvPicPr>
            <p:cNvPr id="10" name="Picture 9" descr="A logo with a moon and stars&#10;&#10;Description automatically generated">
              <a:extLst>
                <a:ext uri="{FF2B5EF4-FFF2-40B4-BE49-F238E27FC236}">
                  <a16:creationId xmlns:a16="http://schemas.microsoft.com/office/drawing/2014/main" id="{DEE514BD-67B7-F3CD-4BEC-FE7192EA25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748" t="4359" r="29435" b="11205"/>
            <a:stretch/>
          </p:blipFill>
          <p:spPr>
            <a:xfrm>
              <a:off x="4576714" y="542038"/>
              <a:ext cx="3629318" cy="4119514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3635547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KIP" val="SKIP"/>
  <p:tag name="RNROPT" val="Object 13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100.375"/>
  <p:tag name="LLEFT" val=" 9.75"/>
</p:tagLst>
</file>

<file path=ppt/theme/theme1.xml><?xml version="1.0" encoding="utf-8"?>
<a:theme xmlns:a="http://schemas.openxmlformats.org/drawingml/2006/main" name="Landscape_Template">
  <a:themeElements>
    <a:clrScheme name="Syngenta 2007">
      <a:dk1>
        <a:srgbClr val="626469"/>
      </a:dk1>
      <a:lt1>
        <a:srgbClr val="FFFFFF"/>
      </a:lt1>
      <a:dk2>
        <a:srgbClr val="5F7800"/>
      </a:dk2>
      <a:lt2>
        <a:srgbClr val="FFB400"/>
      </a:lt2>
      <a:accent1>
        <a:srgbClr val="00A0BE"/>
      </a:accent1>
      <a:accent2>
        <a:srgbClr val="AAB400"/>
      </a:accent2>
      <a:accent3>
        <a:srgbClr val="EB8200"/>
      </a:accent3>
      <a:accent4>
        <a:srgbClr val="82C8DC"/>
      </a:accent4>
      <a:accent5>
        <a:srgbClr val="FFB400"/>
      </a:accent5>
      <a:accent6>
        <a:srgbClr val="5F7800"/>
      </a:accent6>
      <a:hlink>
        <a:srgbClr val="EB8200"/>
      </a:hlink>
      <a:folHlink>
        <a:srgbClr val="82C8DC"/>
      </a:folHlink>
    </a:clrScheme>
    <a:fontScheme name="Printout Syngenta 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6350" cap="flat" cmpd="sng" algn="ctr">
          <a:noFill/>
          <a:prstDash val="solid"/>
          <a:round/>
          <a:headEnd type="none" w="sm" len="sm"/>
          <a:tailEnd type="none" w="sm" len="sm"/>
        </a:ln>
        <a:effectLst/>
      </a:spPr>
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defTabSz="957263">
          <a:spcAft>
            <a:spcPts val="600"/>
          </a:spcAft>
          <a:buClr>
            <a:srgbClr val="5F7800"/>
          </a:buClr>
          <a:buFont typeface="Arial" charset="0"/>
          <a:buChar char="●"/>
          <a:defRPr sz="1800" kern="0" dirty="0" err="1" smtClean="0">
            <a:solidFill>
              <a:srgbClr val="626469"/>
            </a:solidFill>
            <a:latin typeface="Arial"/>
          </a:defRPr>
        </a:defPPr>
      </a:lstStyle>
    </a:spDef>
    <a:lnDef>
      <a:spPr bwMode="auto"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 marL="285750" indent="-285750" defTabSz="957263">
          <a:spcAft>
            <a:spcPts val="600"/>
          </a:spcAft>
          <a:buClr>
            <a:srgbClr val="5F7800"/>
          </a:buClr>
          <a:buFont typeface="Arial" charset="0"/>
          <a:buChar char="●"/>
          <a:defRPr sz="1800" kern="0" dirty="0" err="1" smtClean="0">
            <a:solidFill>
              <a:srgbClr val="626469"/>
            </a:solidFill>
            <a:latin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yngenta 16-9 classification IUO.potm  -  Read-Only" id="{582EA6DB-1B56-49CD-AE0C-8E11E4FEA088}" vid="{991D369F-A2A9-47EE-BC61-2769EFDC0FDE}"/>
    </a:ext>
  </a:extLst>
</a:theme>
</file>

<file path=ppt/theme/theme2.xml><?xml version="1.0" encoding="utf-8"?>
<a:theme xmlns:a="http://schemas.openxmlformats.org/drawingml/2006/main" name="1_Landscape_Template">
  <a:themeElements>
    <a:clrScheme name="Syngenta 2007">
      <a:dk1>
        <a:srgbClr val="626469"/>
      </a:dk1>
      <a:lt1>
        <a:srgbClr val="FFFFFF"/>
      </a:lt1>
      <a:dk2>
        <a:srgbClr val="5F7800"/>
      </a:dk2>
      <a:lt2>
        <a:srgbClr val="FFB400"/>
      </a:lt2>
      <a:accent1>
        <a:srgbClr val="00A0BE"/>
      </a:accent1>
      <a:accent2>
        <a:srgbClr val="AAB400"/>
      </a:accent2>
      <a:accent3>
        <a:srgbClr val="EB8200"/>
      </a:accent3>
      <a:accent4>
        <a:srgbClr val="82C8DC"/>
      </a:accent4>
      <a:accent5>
        <a:srgbClr val="FFB400"/>
      </a:accent5>
      <a:accent6>
        <a:srgbClr val="5F7800"/>
      </a:accent6>
      <a:hlink>
        <a:srgbClr val="EB8200"/>
      </a:hlink>
      <a:folHlink>
        <a:srgbClr val="82C8DC"/>
      </a:folHlink>
    </a:clrScheme>
    <a:fontScheme name="Printout Syngenta 200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95000"/>
          </a:schemeClr>
        </a:solidFill>
        <a:ln w="6350" cap="flat" cmpd="sng" algn="ctr">
          <a:noFill/>
          <a:prstDash val="solid"/>
          <a:round/>
          <a:headEnd type="none" w="sm" len="sm"/>
          <a:tailEnd type="none" w="sm" len="sm"/>
        </a:ln>
        <a:effectLst/>
      </a:spPr>
      <a:bodyPr rot="0" spcFirstLastPara="0" vertOverflow="overflow" horzOverflow="overflow" vert="horz" wrap="square" lIns="144000" tIns="144000" rIns="144000" bIns="144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l" defTabSz="957263">
          <a:spcAft>
            <a:spcPts val="600"/>
          </a:spcAft>
          <a:buClr>
            <a:srgbClr val="5F7800"/>
          </a:buClr>
          <a:buFont typeface="Arial" charset="0"/>
          <a:buChar char="●"/>
          <a:defRPr sz="1800" kern="0" dirty="0" err="1" smtClean="0">
            <a:solidFill>
              <a:srgbClr val="626469"/>
            </a:solidFill>
            <a:latin typeface="Arial"/>
          </a:defRPr>
        </a:defPPr>
      </a:lstStyle>
    </a:spDef>
    <a:lnDef>
      <a:spPr bwMode="auto">
        <a:solidFill>
          <a:schemeClr val="accent2"/>
        </a:solidFill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 marL="285750" indent="-285750" defTabSz="957263">
          <a:spcAft>
            <a:spcPts val="600"/>
          </a:spcAft>
          <a:buClr>
            <a:srgbClr val="5F7800"/>
          </a:buClr>
          <a:buFont typeface="Arial" charset="0"/>
          <a:buChar char="●"/>
          <a:defRPr sz="1800" kern="0" dirty="0" err="1" smtClean="0">
            <a:solidFill>
              <a:srgbClr val="626469"/>
            </a:solidFill>
            <a:latin typeface="Arial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yngenta 16-9 classification IUO5.potm  -  Read-Only" id="{D18D53C5-2A61-4ABE-ADFF-8B46DFFD93A2}" vid="{15981E78-ABC5-47FF-9499-D2D9FD7041A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lcf76f155ced4ddcb4097134ff3c332f xmlns="3922773d-4a81-485f-85ac-2117e117c956">
      <Terms xmlns="http://schemas.microsoft.com/office/infopath/2007/PartnerControls"/>
    </lcf76f155ced4ddcb4097134ff3c332f>
    <TaxCatchAll xmlns="b0e7a50b-43cf-49c8-b016-99166e138200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C0375CDA20D14C94536790458311DE" ma:contentTypeVersion="12" ma:contentTypeDescription="Create a new document." ma:contentTypeScope="" ma:versionID="fb5ab2c397a60953ef7a1000857e52c1">
  <xsd:schema xmlns:xsd="http://www.w3.org/2001/XMLSchema" xmlns:xs="http://www.w3.org/2001/XMLSchema" xmlns:p="http://schemas.microsoft.com/office/2006/metadata/properties" xmlns:ns2="3922773d-4a81-485f-85ac-2117e117c956" xmlns:ns3="b0e7a50b-43cf-49c8-b016-99166e138200" targetNamespace="http://schemas.microsoft.com/office/2006/metadata/properties" ma:root="true" ma:fieldsID="c5abfcc608c5815d377b55d3c57f5414" ns2:_="" ns3:_="">
    <xsd:import namespace="3922773d-4a81-485f-85ac-2117e117c956"/>
    <xsd:import namespace="b0e7a50b-43cf-49c8-b016-99166e13820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2773d-4a81-485f-85ac-2117e117c95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a62b72aa-f2ad-421f-b636-7f0f87e2f2b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1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e7a50b-43cf-49c8-b016-99166e138200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9d646640-b9c3-4dea-b3b3-f15f53176922}" ma:internalName="TaxCatchAll" ma:showField="CatchAllData" ma:web="b0e7a50b-43cf-49c8-b016-99166e13820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1150CC2-077E-43A8-B572-2B1C8D11BFC3}">
  <ds:schemaRefs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elements/1.1/"/>
    <ds:schemaRef ds:uri="b0e7a50b-43cf-49c8-b016-99166e138200"/>
    <ds:schemaRef ds:uri="3922773d-4a81-485f-85ac-2117e117c956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61EA31F-9D88-43E0-96AF-4B4D475822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922773d-4a81-485f-85ac-2117e117c956"/>
    <ds:schemaRef ds:uri="b0e7a50b-43cf-49c8-b016-99166e1382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67A67B7-8A1E-4C01-A60E-0D5D4124C1A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819</TotalTime>
  <Words>1236</Words>
  <Application>Microsoft Office PowerPoint</Application>
  <PresentationFormat>Custom</PresentationFormat>
  <Paragraphs>240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badi</vt:lpstr>
      <vt:lpstr>Arial</vt:lpstr>
      <vt:lpstr>Calibri</vt:lpstr>
      <vt:lpstr>Times New Roman</vt:lpstr>
      <vt:lpstr>Landscape_Template</vt:lpstr>
      <vt:lpstr>1_Landscape_Template</vt:lpstr>
      <vt:lpstr>think-cell Folie</vt:lpstr>
      <vt:lpstr>Noctis: revealing chemical pathways in reaction data </vt:lpstr>
      <vt:lpstr>PowerPoint Presentation</vt:lpstr>
      <vt:lpstr>PowerPoint Presentation</vt:lpstr>
      <vt:lpstr>Introducing DSTA</vt:lpstr>
      <vt:lpstr>What is our data? </vt:lpstr>
      <vt:lpstr>If the future is already here where is the impact? </vt:lpstr>
      <vt:lpstr>Connecting all reaction data together to create powerful network effects</vt:lpstr>
      <vt:lpstr>PowerPoint Presentation</vt:lpstr>
      <vt:lpstr>PowerPoint Presentation</vt:lpstr>
      <vt:lpstr>What is inside?</vt:lpstr>
      <vt:lpstr>Noctis: population of the graph DB</vt:lpstr>
      <vt:lpstr>How does text become a graph ?</vt:lpstr>
      <vt:lpstr>Synthesis tree</vt:lpstr>
      <vt:lpstr>Synthesis route</vt:lpstr>
      <vt:lpstr>(near)Future plans: bringing together predictions and reaction data</vt:lpstr>
      <vt:lpstr>Future plans: data model extension</vt:lpstr>
      <vt:lpstr>Future plans: knowledge graph + LM = chemical Netflix? </vt:lpstr>
      <vt:lpstr>The last slide</vt:lpstr>
      <vt:lpstr>PowerPoint Presentation</vt:lpstr>
      <vt:lpstr>Do we need a DSTA?   Introducing the «Property Space problem»</vt:lpstr>
    </vt:vector>
  </TitlesOfParts>
  <Company>Syngent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Subtitle</dc:title>
  <dc:creator>Jeanmart Stephane CHST</dc:creator>
  <cp:lastModifiedBy>Nataliya Lopanitsyna</cp:lastModifiedBy>
  <cp:revision>8</cp:revision>
  <cp:lastPrinted>2017-08-21T11:01:42Z</cp:lastPrinted>
  <dcterms:created xsi:type="dcterms:W3CDTF">2020-03-02T16:22:02Z</dcterms:created>
  <dcterms:modified xsi:type="dcterms:W3CDTF">2024-05-16T07:1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C0375CDA20D14C94536790458311DE</vt:lpwstr>
  </property>
  <property fmtid="{D5CDD505-2E9C-101B-9397-08002B2CF9AE}" pid="3" name="Document Use">
    <vt:lpwstr>Global</vt:lpwstr>
  </property>
  <property fmtid="{D5CDD505-2E9C-101B-9397-08002B2CF9AE}" pid="4" name="Domain">
    <vt:lpwstr>Organization</vt:lpwstr>
  </property>
  <property fmtid="{D5CDD505-2E9C-101B-9397-08002B2CF9AE}" pid="5" name="Main Functions">
    <vt:lpwstr>Communication</vt:lpwstr>
  </property>
  <property fmtid="{D5CDD505-2E9C-101B-9397-08002B2CF9AE}" pid="6" name="Business">
    <vt:lpwstr>R&amp;D (general)</vt:lpwstr>
  </property>
  <property fmtid="{D5CDD505-2E9C-101B-9397-08002B2CF9AE}" pid="7" name="To be shared with guests">
    <vt:lpwstr>false</vt:lpwstr>
  </property>
  <property fmtid="{D5CDD505-2E9C-101B-9397-08002B2CF9AE}" pid="8" name="MediaServiceImageTags">
    <vt:lpwstr/>
  </property>
</Properties>
</file>